
<file path=[Content_Types].xml><?xml version="1.0" encoding="utf-8"?>
<Types xmlns="http://schemas.openxmlformats.org/package/2006/content-types">
  <Default Extension="bin" ContentType="application/vnd.openxmlformats-officedocument.oleObject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7" r:id="rId1"/>
  </p:sldMasterIdLst>
  <p:notesMasterIdLst>
    <p:notesMasterId r:id="rId54"/>
  </p:notesMasterIdLst>
  <p:sldIdLst>
    <p:sldId id="297" r:id="rId2"/>
    <p:sldId id="260" r:id="rId3"/>
    <p:sldId id="261" r:id="rId4"/>
    <p:sldId id="305" r:id="rId5"/>
    <p:sldId id="268" r:id="rId6"/>
    <p:sldId id="313" r:id="rId7"/>
    <p:sldId id="262" r:id="rId8"/>
    <p:sldId id="269" r:id="rId9"/>
    <p:sldId id="264" r:id="rId10"/>
    <p:sldId id="318" r:id="rId11"/>
    <p:sldId id="263" r:id="rId12"/>
    <p:sldId id="265" r:id="rId13"/>
    <p:sldId id="266" r:id="rId14"/>
    <p:sldId id="306" r:id="rId15"/>
    <p:sldId id="270" r:id="rId16"/>
    <p:sldId id="271" r:id="rId17"/>
    <p:sldId id="298" r:id="rId18"/>
    <p:sldId id="293" r:id="rId19"/>
    <p:sldId id="307" r:id="rId20"/>
    <p:sldId id="274" r:id="rId21"/>
    <p:sldId id="275" r:id="rId22"/>
    <p:sldId id="312" r:id="rId23"/>
    <p:sldId id="311" r:id="rId24"/>
    <p:sldId id="295" r:id="rId25"/>
    <p:sldId id="276" r:id="rId26"/>
    <p:sldId id="310" r:id="rId27"/>
    <p:sldId id="323" r:id="rId28"/>
    <p:sldId id="324" r:id="rId29"/>
    <p:sldId id="325" r:id="rId30"/>
    <p:sldId id="278" r:id="rId31"/>
    <p:sldId id="279" r:id="rId32"/>
    <p:sldId id="319" r:id="rId33"/>
    <p:sldId id="280" r:id="rId34"/>
    <p:sldId id="281" r:id="rId35"/>
    <p:sldId id="282" r:id="rId36"/>
    <p:sldId id="320" r:id="rId37"/>
    <p:sldId id="326" r:id="rId38"/>
    <p:sldId id="327" r:id="rId39"/>
    <p:sldId id="308" r:id="rId40"/>
    <p:sldId id="283" r:id="rId41"/>
    <p:sldId id="284" r:id="rId42"/>
    <p:sldId id="285" r:id="rId43"/>
    <p:sldId id="286" r:id="rId44"/>
    <p:sldId id="287" r:id="rId45"/>
    <p:sldId id="288" r:id="rId46"/>
    <p:sldId id="289" r:id="rId47"/>
    <p:sldId id="317" r:id="rId48"/>
    <p:sldId id="314" r:id="rId49"/>
    <p:sldId id="315" r:id="rId50"/>
    <p:sldId id="309" r:id="rId51"/>
    <p:sldId id="291" r:id="rId52"/>
    <p:sldId id="296" r:id="rId53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000FF"/>
    <a:srgbClr val="800000"/>
    <a:srgbClr val="00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903"/>
    <p:restoredTop sz="72461" autoAdjust="0"/>
  </p:normalViewPr>
  <p:slideViewPr>
    <p:cSldViewPr>
      <p:cViewPr varScale="1">
        <p:scale>
          <a:sx n="120" d="100"/>
          <a:sy n="120" d="100"/>
        </p:scale>
        <p:origin x="1600" y="19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tableStyles" Target="tableStyles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microsoft.com/office/2016/11/relationships/changesInfo" Target="changesInfos/changesInfo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heme" Target="theme/theme1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chlesinger, Sebastian" userId="d814e6c9-e9fb-4b77-84f7-ccd8aa3529bb" providerId="ADAL" clId="{6807D76D-E75E-CD49-8FF1-556128A3C54F}"/>
    <pc:docChg chg="modSld">
      <pc:chgData name="Schlesinger, Sebastian" userId="d814e6c9-e9fb-4b77-84f7-ccd8aa3529bb" providerId="ADAL" clId="{6807D76D-E75E-CD49-8FF1-556128A3C54F}" dt="2025-04-16T14:50:51.518" v="98" actId="1076"/>
      <pc:docMkLst>
        <pc:docMk/>
      </pc:docMkLst>
      <pc:sldChg chg="modSp mod">
        <pc:chgData name="Schlesinger, Sebastian" userId="d814e6c9-e9fb-4b77-84f7-ccd8aa3529bb" providerId="ADAL" clId="{6807D76D-E75E-CD49-8FF1-556128A3C54F}" dt="2025-04-16T14:49:49.802" v="85" actId="1037"/>
        <pc:sldMkLst>
          <pc:docMk/>
          <pc:sldMk cId="198875373" sldId="265"/>
        </pc:sldMkLst>
        <pc:spChg chg="mod">
          <ac:chgData name="Schlesinger, Sebastian" userId="d814e6c9-e9fb-4b77-84f7-ccd8aa3529bb" providerId="ADAL" clId="{6807D76D-E75E-CD49-8FF1-556128A3C54F}" dt="2025-04-16T14:49:04.117" v="53" actId="1037"/>
          <ac:spMkLst>
            <pc:docMk/>
            <pc:sldMk cId="198875373" sldId="265"/>
            <ac:spMk id="5" creationId="{00000000-0000-0000-0000-000000000000}"/>
          </ac:spMkLst>
        </pc:spChg>
        <pc:spChg chg="mod">
          <ac:chgData name="Schlesinger, Sebastian" userId="d814e6c9-e9fb-4b77-84f7-ccd8aa3529bb" providerId="ADAL" clId="{6807D76D-E75E-CD49-8FF1-556128A3C54F}" dt="2025-04-16T14:49:24.627" v="79" actId="1037"/>
          <ac:spMkLst>
            <pc:docMk/>
            <pc:sldMk cId="198875373" sldId="265"/>
            <ac:spMk id="6" creationId="{00000000-0000-0000-0000-000000000000}"/>
          </ac:spMkLst>
        </pc:spChg>
        <pc:spChg chg="mod">
          <ac:chgData name="Schlesinger, Sebastian" userId="d814e6c9-e9fb-4b77-84f7-ccd8aa3529bb" providerId="ADAL" clId="{6807D76D-E75E-CD49-8FF1-556128A3C54F}" dt="2025-04-16T14:49:11.404" v="60" actId="1037"/>
          <ac:spMkLst>
            <pc:docMk/>
            <pc:sldMk cId="198875373" sldId="265"/>
            <ac:spMk id="7" creationId="{00000000-0000-0000-0000-000000000000}"/>
          </ac:spMkLst>
        </pc:spChg>
        <pc:spChg chg="mod">
          <ac:chgData name="Schlesinger, Sebastian" userId="d814e6c9-e9fb-4b77-84f7-ccd8aa3529bb" providerId="ADAL" clId="{6807D76D-E75E-CD49-8FF1-556128A3C54F}" dt="2025-04-16T14:49:17.053" v="68" actId="1037"/>
          <ac:spMkLst>
            <pc:docMk/>
            <pc:sldMk cId="198875373" sldId="265"/>
            <ac:spMk id="8" creationId="{00000000-0000-0000-0000-000000000000}"/>
          </ac:spMkLst>
        </pc:spChg>
        <pc:spChg chg="mod">
          <ac:chgData name="Schlesinger, Sebastian" userId="d814e6c9-e9fb-4b77-84f7-ccd8aa3529bb" providerId="ADAL" clId="{6807D76D-E75E-CD49-8FF1-556128A3C54F}" dt="2025-04-16T14:49:49.802" v="85" actId="1037"/>
          <ac:spMkLst>
            <pc:docMk/>
            <pc:sldMk cId="198875373" sldId="265"/>
            <ac:spMk id="10" creationId="{00000000-0000-0000-0000-000000000000}"/>
          </ac:spMkLst>
        </pc:spChg>
        <pc:spChg chg="mod">
          <ac:chgData name="Schlesinger, Sebastian" userId="d814e6c9-e9fb-4b77-84f7-ccd8aa3529bb" providerId="ADAL" clId="{6807D76D-E75E-CD49-8FF1-556128A3C54F}" dt="2025-04-16T14:49:22.028" v="73" actId="1037"/>
          <ac:spMkLst>
            <pc:docMk/>
            <pc:sldMk cId="198875373" sldId="265"/>
            <ac:spMk id="11" creationId="{00000000-0000-0000-0000-000000000000}"/>
          </ac:spMkLst>
        </pc:spChg>
        <pc:spChg chg="mod">
          <ac:chgData name="Schlesinger, Sebastian" userId="d814e6c9-e9fb-4b77-84f7-ccd8aa3529bb" providerId="ADAL" clId="{6807D76D-E75E-CD49-8FF1-556128A3C54F}" dt="2025-04-16T14:49:14.988" v="64" actId="1037"/>
          <ac:spMkLst>
            <pc:docMk/>
            <pc:sldMk cId="198875373" sldId="265"/>
            <ac:spMk id="12" creationId="{00000000-0000-0000-0000-000000000000}"/>
          </ac:spMkLst>
        </pc:spChg>
        <pc:spChg chg="mod">
          <ac:chgData name="Schlesinger, Sebastian" userId="d814e6c9-e9fb-4b77-84f7-ccd8aa3529bb" providerId="ADAL" clId="{6807D76D-E75E-CD49-8FF1-556128A3C54F}" dt="2025-04-16T14:49:08.026" v="56" actId="1037"/>
          <ac:spMkLst>
            <pc:docMk/>
            <pc:sldMk cId="198875373" sldId="265"/>
            <ac:spMk id="13" creationId="{00000000-0000-0000-0000-000000000000}"/>
          </ac:spMkLst>
        </pc:spChg>
      </pc:sldChg>
      <pc:sldChg chg="modSp mod">
        <pc:chgData name="Schlesinger, Sebastian" userId="d814e6c9-e9fb-4b77-84f7-ccd8aa3529bb" providerId="ADAL" clId="{6807D76D-E75E-CD49-8FF1-556128A3C54F}" dt="2025-04-16T14:50:51.518" v="98" actId="1076"/>
        <pc:sldMkLst>
          <pc:docMk/>
          <pc:sldMk cId="2386124151" sldId="266"/>
        </pc:sldMkLst>
        <pc:spChg chg="mod">
          <ac:chgData name="Schlesinger, Sebastian" userId="d814e6c9-e9fb-4b77-84f7-ccd8aa3529bb" providerId="ADAL" clId="{6807D76D-E75E-CD49-8FF1-556128A3C54F}" dt="2025-04-16T14:50:26.890" v="89" actId="1076"/>
          <ac:spMkLst>
            <pc:docMk/>
            <pc:sldMk cId="2386124151" sldId="266"/>
            <ac:spMk id="6" creationId="{00000000-0000-0000-0000-000000000000}"/>
          </ac:spMkLst>
        </pc:spChg>
        <pc:spChg chg="mod">
          <ac:chgData name="Schlesinger, Sebastian" userId="d814e6c9-e9fb-4b77-84f7-ccd8aa3529bb" providerId="ADAL" clId="{6807D76D-E75E-CD49-8FF1-556128A3C54F}" dt="2025-04-16T14:50:17.174" v="86" actId="1076"/>
          <ac:spMkLst>
            <pc:docMk/>
            <pc:sldMk cId="2386124151" sldId="266"/>
            <ac:spMk id="7" creationId="{00000000-0000-0000-0000-000000000000}"/>
          </ac:spMkLst>
        </pc:spChg>
        <pc:spChg chg="mod">
          <ac:chgData name="Schlesinger, Sebastian" userId="d814e6c9-e9fb-4b77-84f7-ccd8aa3529bb" providerId="ADAL" clId="{6807D76D-E75E-CD49-8FF1-556128A3C54F}" dt="2025-04-16T14:50:19.384" v="87" actId="1076"/>
          <ac:spMkLst>
            <pc:docMk/>
            <pc:sldMk cId="2386124151" sldId="266"/>
            <ac:spMk id="8" creationId="{00000000-0000-0000-0000-000000000000}"/>
          </ac:spMkLst>
        </pc:spChg>
        <pc:spChg chg="mod">
          <ac:chgData name="Schlesinger, Sebastian" userId="d814e6c9-e9fb-4b77-84f7-ccd8aa3529bb" providerId="ADAL" clId="{6807D76D-E75E-CD49-8FF1-556128A3C54F}" dt="2025-04-16T14:50:48.866" v="97" actId="1076"/>
          <ac:spMkLst>
            <pc:docMk/>
            <pc:sldMk cId="2386124151" sldId="266"/>
            <ac:spMk id="14" creationId="{00000000-0000-0000-0000-000000000000}"/>
          </ac:spMkLst>
        </pc:spChg>
        <pc:spChg chg="mod">
          <ac:chgData name="Schlesinger, Sebastian" userId="d814e6c9-e9fb-4b77-84f7-ccd8aa3529bb" providerId="ADAL" clId="{6807D76D-E75E-CD49-8FF1-556128A3C54F}" dt="2025-04-16T14:50:38.558" v="93" actId="1076"/>
          <ac:spMkLst>
            <pc:docMk/>
            <pc:sldMk cId="2386124151" sldId="266"/>
            <ac:spMk id="15" creationId="{00000000-0000-0000-0000-000000000000}"/>
          </ac:spMkLst>
        </pc:spChg>
        <pc:spChg chg="mod">
          <ac:chgData name="Schlesinger, Sebastian" userId="d814e6c9-e9fb-4b77-84f7-ccd8aa3529bb" providerId="ADAL" clId="{6807D76D-E75E-CD49-8FF1-556128A3C54F}" dt="2025-04-16T14:50:32.124" v="91" actId="1076"/>
          <ac:spMkLst>
            <pc:docMk/>
            <pc:sldMk cId="2386124151" sldId="266"/>
            <ac:spMk id="18" creationId="{00000000-0000-0000-0000-000000000000}"/>
          </ac:spMkLst>
        </pc:spChg>
        <pc:spChg chg="mod">
          <ac:chgData name="Schlesinger, Sebastian" userId="d814e6c9-e9fb-4b77-84f7-ccd8aa3529bb" providerId="ADAL" clId="{6807D76D-E75E-CD49-8FF1-556128A3C54F}" dt="2025-04-16T14:50:43.190" v="95" actId="1076"/>
          <ac:spMkLst>
            <pc:docMk/>
            <pc:sldMk cId="2386124151" sldId="266"/>
            <ac:spMk id="19" creationId="{00000000-0000-0000-0000-000000000000}"/>
          </ac:spMkLst>
        </pc:spChg>
        <pc:spChg chg="mod">
          <ac:chgData name="Schlesinger, Sebastian" userId="d814e6c9-e9fb-4b77-84f7-ccd8aa3529bb" providerId="ADAL" clId="{6807D76D-E75E-CD49-8FF1-556128A3C54F}" dt="2025-04-16T14:50:22.969" v="88" actId="1076"/>
          <ac:spMkLst>
            <pc:docMk/>
            <pc:sldMk cId="2386124151" sldId="266"/>
            <ac:spMk id="21" creationId="{00000000-0000-0000-0000-000000000000}"/>
          </ac:spMkLst>
        </pc:spChg>
        <pc:spChg chg="mod">
          <ac:chgData name="Schlesinger, Sebastian" userId="d814e6c9-e9fb-4b77-84f7-ccd8aa3529bb" providerId="ADAL" clId="{6807D76D-E75E-CD49-8FF1-556128A3C54F}" dt="2025-04-16T14:50:46.139" v="96" actId="1076"/>
          <ac:spMkLst>
            <pc:docMk/>
            <pc:sldMk cId="2386124151" sldId="266"/>
            <ac:spMk id="22" creationId="{00000000-0000-0000-0000-000000000000}"/>
          </ac:spMkLst>
        </pc:spChg>
        <pc:spChg chg="mod">
          <ac:chgData name="Schlesinger, Sebastian" userId="d814e6c9-e9fb-4b77-84f7-ccd8aa3529bb" providerId="ADAL" clId="{6807D76D-E75E-CD49-8FF1-556128A3C54F}" dt="2025-04-16T14:50:34.728" v="92" actId="1076"/>
          <ac:spMkLst>
            <pc:docMk/>
            <pc:sldMk cId="2386124151" sldId="266"/>
            <ac:spMk id="23" creationId="{00000000-0000-0000-0000-000000000000}"/>
          </ac:spMkLst>
        </pc:spChg>
        <pc:spChg chg="mod">
          <ac:chgData name="Schlesinger, Sebastian" userId="d814e6c9-e9fb-4b77-84f7-ccd8aa3529bb" providerId="ADAL" clId="{6807D76D-E75E-CD49-8FF1-556128A3C54F}" dt="2025-04-16T14:50:29.642" v="90" actId="1076"/>
          <ac:spMkLst>
            <pc:docMk/>
            <pc:sldMk cId="2386124151" sldId="266"/>
            <ac:spMk id="25" creationId="{00000000-0000-0000-0000-000000000000}"/>
          </ac:spMkLst>
        </pc:spChg>
        <pc:spChg chg="mod">
          <ac:chgData name="Schlesinger, Sebastian" userId="d814e6c9-e9fb-4b77-84f7-ccd8aa3529bb" providerId="ADAL" clId="{6807D76D-E75E-CD49-8FF1-556128A3C54F}" dt="2025-04-16T14:50:40.968" v="94" actId="1076"/>
          <ac:spMkLst>
            <pc:docMk/>
            <pc:sldMk cId="2386124151" sldId="266"/>
            <ac:spMk id="26" creationId="{00000000-0000-0000-0000-000000000000}"/>
          </ac:spMkLst>
        </pc:spChg>
        <pc:spChg chg="mod">
          <ac:chgData name="Schlesinger, Sebastian" userId="d814e6c9-e9fb-4b77-84f7-ccd8aa3529bb" providerId="ADAL" clId="{6807D76D-E75E-CD49-8FF1-556128A3C54F}" dt="2025-04-16T14:50:51.518" v="98" actId="1076"/>
          <ac:spMkLst>
            <pc:docMk/>
            <pc:sldMk cId="2386124151" sldId="266"/>
            <ac:spMk id="27" creationId="{00000000-0000-0000-0000-000000000000}"/>
          </ac:spMkLst>
        </pc:spChg>
      </pc:sldChg>
      <pc:sldChg chg="modSp mod">
        <pc:chgData name="Schlesinger, Sebastian" userId="d814e6c9-e9fb-4b77-84f7-ccd8aa3529bb" providerId="ADAL" clId="{6807D76D-E75E-CD49-8FF1-556128A3C54F}" dt="2025-04-16T14:36:36.110" v="43" actId="20577"/>
        <pc:sldMkLst>
          <pc:docMk/>
          <pc:sldMk cId="1677353698" sldId="297"/>
        </pc:sldMkLst>
        <pc:spChg chg="mod">
          <ac:chgData name="Schlesinger, Sebastian" userId="d814e6c9-e9fb-4b77-84f7-ccd8aa3529bb" providerId="ADAL" clId="{6807D76D-E75E-CD49-8FF1-556128A3C54F}" dt="2025-04-16T14:36:36.110" v="43" actId="20577"/>
          <ac:spMkLst>
            <pc:docMk/>
            <pc:sldMk cId="1677353698" sldId="297"/>
            <ac:spMk id="3" creationId="{00000000-0000-0000-0000-000000000000}"/>
          </ac:spMkLst>
        </pc:spChg>
      </pc:sldChg>
      <pc:sldChg chg="modSp mod">
        <pc:chgData name="Schlesinger, Sebastian" userId="d814e6c9-e9fb-4b77-84f7-ccd8aa3529bb" providerId="ADAL" clId="{6807D76D-E75E-CD49-8FF1-556128A3C54F}" dt="2025-04-16T14:48:30.560" v="50" actId="1037"/>
        <pc:sldMkLst>
          <pc:docMk/>
          <pc:sldMk cId="2585481682" sldId="318"/>
        </pc:sldMkLst>
        <pc:spChg chg="mod">
          <ac:chgData name="Schlesinger, Sebastian" userId="d814e6c9-e9fb-4b77-84f7-ccd8aa3529bb" providerId="ADAL" clId="{6807D76D-E75E-CD49-8FF1-556128A3C54F}" dt="2025-04-16T14:48:27.280" v="46" actId="1037"/>
          <ac:spMkLst>
            <pc:docMk/>
            <pc:sldMk cId="2585481682" sldId="318"/>
            <ac:spMk id="13" creationId="{00000000-0000-0000-0000-000000000000}"/>
          </ac:spMkLst>
        </pc:spChg>
        <pc:grpChg chg="mod">
          <ac:chgData name="Schlesinger, Sebastian" userId="d814e6c9-e9fb-4b77-84f7-ccd8aa3529bb" providerId="ADAL" clId="{6807D76D-E75E-CD49-8FF1-556128A3C54F}" dt="2025-04-16T14:48:30.560" v="50" actId="1037"/>
          <ac:grpSpMkLst>
            <pc:docMk/>
            <pc:sldMk cId="2585481682" sldId="318"/>
            <ac:grpSpMk id="16" creationId="{00000000-0000-0000-0000-000000000000}"/>
          </ac:grpSpMkLst>
        </pc:grpChg>
      </pc:sldChg>
    </pc:docChg>
  </pc:docChgLst>
  <pc:docChgLst>
    <pc:chgData name="Schlesinger, Sebastian" userId="d814e6c9-e9fb-4b77-84f7-ccd8aa3529bb" providerId="ADAL" clId="{7A96E5ED-1F63-EC4F-B737-D6A34E6A6C3A}"/>
    <pc:docChg chg="modSld">
      <pc:chgData name="Schlesinger, Sebastian" userId="d814e6c9-e9fb-4b77-84f7-ccd8aa3529bb" providerId="ADAL" clId="{7A96E5ED-1F63-EC4F-B737-D6A34E6A6C3A}" dt="2024-05-28T09:06:19.206" v="30" actId="20577"/>
      <pc:docMkLst>
        <pc:docMk/>
      </pc:docMkLst>
      <pc:sldChg chg="modSp">
        <pc:chgData name="Schlesinger, Sebastian" userId="d814e6c9-e9fb-4b77-84f7-ccd8aa3529bb" providerId="ADAL" clId="{7A96E5ED-1F63-EC4F-B737-D6A34E6A6C3A}" dt="2024-05-28T09:06:19.206" v="30" actId="20577"/>
        <pc:sldMkLst>
          <pc:docMk/>
          <pc:sldMk cId="1727126015" sldId="283"/>
        </pc:sldMkLst>
      </pc:sldChg>
      <pc:sldChg chg="modSp modAnim">
        <pc:chgData name="Schlesinger, Sebastian" userId="d814e6c9-e9fb-4b77-84f7-ccd8aa3529bb" providerId="ADAL" clId="{7A96E5ED-1F63-EC4F-B737-D6A34E6A6C3A}" dt="2024-04-18T11:05:31.820" v="28" actId="20577"/>
        <pc:sldMkLst>
          <pc:docMk/>
          <pc:sldMk cId="3980750950" sldId="285"/>
        </pc:sldMkLst>
      </pc:sldChg>
    </pc:docChg>
  </pc:docChgLst>
  <pc:docChgLst>
    <pc:chgData name="Schlesinger, Sebastian" userId="d814e6c9-e9fb-4b77-84f7-ccd8aa3529bb" providerId="ADAL" clId="{C28C89FB-9F98-4502-B065-6CF9DE62FE33}"/>
    <pc:docChg chg="custSel modSld modMainMaster">
      <pc:chgData name="Schlesinger, Sebastian" userId="d814e6c9-e9fb-4b77-84f7-ccd8aa3529bb" providerId="ADAL" clId="{C28C89FB-9F98-4502-B065-6CF9DE62FE33}" dt="2023-04-16T12:45:31.793" v="215" actId="20577"/>
      <pc:docMkLst>
        <pc:docMk/>
      </pc:docMkLst>
      <pc:sldChg chg="modSp mod">
        <pc:chgData name="Schlesinger, Sebastian" userId="d814e6c9-e9fb-4b77-84f7-ccd8aa3529bb" providerId="ADAL" clId="{C28C89FB-9F98-4502-B065-6CF9DE62FE33}" dt="2023-04-16T12:28:29.801" v="4" actId="27636"/>
        <pc:sldMkLst>
          <pc:docMk/>
          <pc:sldMk cId="817978795" sldId="260"/>
        </pc:sldMkLst>
      </pc:sldChg>
      <pc:sldChg chg="modSp mod">
        <pc:chgData name="Schlesinger, Sebastian" userId="d814e6c9-e9fb-4b77-84f7-ccd8aa3529bb" providerId="ADAL" clId="{C28C89FB-9F98-4502-B065-6CF9DE62FE33}" dt="2023-04-16T12:45:31.793" v="215" actId="20577"/>
        <pc:sldMkLst>
          <pc:docMk/>
          <pc:sldMk cId="1677353698" sldId="297"/>
        </pc:sldMkLst>
      </pc:sldChg>
      <pc:sldMasterChg chg="delSp modSp mod modSldLayout">
        <pc:chgData name="Schlesinger, Sebastian" userId="d814e6c9-e9fb-4b77-84f7-ccd8aa3529bb" providerId="ADAL" clId="{C28C89FB-9F98-4502-B065-6CF9DE62FE33}" dt="2023-04-16T12:33:59.406" v="184" actId="1076"/>
        <pc:sldMasterMkLst>
          <pc:docMk/>
          <pc:sldMasterMk cId="969893917" sldId="2147483667"/>
        </pc:sldMasterMkLst>
        <pc:sldLayoutChg chg="delSp mod">
          <pc:chgData name="Schlesinger, Sebastian" userId="d814e6c9-e9fb-4b77-84f7-ccd8aa3529bb" providerId="ADAL" clId="{C28C89FB-9F98-4502-B065-6CF9DE62FE33}" dt="2023-04-16T12:28:36.447" v="6" actId="478"/>
          <pc:sldLayoutMkLst>
            <pc:docMk/>
            <pc:sldMasterMk cId="969893917" sldId="2147483667"/>
            <pc:sldLayoutMk cId="2835336278" sldId="2147483668"/>
          </pc:sldLayoutMkLst>
        </pc:sldLayoutChg>
        <pc:sldLayoutChg chg="addSp modSp mod">
          <pc:chgData name="Schlesinger, Sebastian" userId="d814e6c9-e9fb-4b77-84f7-ccd8aa3529bb" providerId="ADAL" clId="{C28C89FB-9F98-4502-B065-6CF9DE62FE33}" dt="2023-04-16T12:33:59.406" v="184" actId="1076"/>
          <pc:sldLayoutMkLst>
            <pc:docMk/>
            <pc:sldMasterMk cId="969893917" sldId="2147483667"/>
            <pc:sldLayoutMk cId="2694393101" sldId="2147483674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2EAFE6-9813-498E-8B86-94056EC7EC49}" type="datetimeFigureOut">
              <a:rPr lang="de-DE" smtClean="0"/>
              <a:t>16.04.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EFC71D-FB04-4C19-BE8A-35BB69D6D4E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754195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EFC71D-FB04-4C19-BE8A-35BB69D6D4E5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261417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Rectangle 2"/>
          <p:cNvSpPr>
            <a:spLocks noGrp="1"/>
          </p:cNvSpPr>
          <p:nvPr>
            <p:ph type="body" idx="1"/>
          </p:nvPr>
        </p:nvSpPr>
        <p:spPr bwMode="auto">
          <a:xfrm>
            <a:off x="915988" y="4343400"/>
            <a:ext cx="5026025" cy="4116388"/>
          </a:xfrm>
          <a:noFill/>
        </p:spPr>
        <p:txBody>
          <a:bodyPr wrap="square" lIns="86525" tIns="42504" rIns="86525" bIns="42504" numCol="1" anchor="t" anchorCtr="0" compatLnSpc="1">
            <a:prstTxWarp prst="textNoShape">
              <a:avLst/>
            </a:prstTxWarp>
          </a:bodyPr>
          <a:lstStyle/>
          <a:p>
            <a:pPr marL="0" indent="0">
              <a:buNone/>
            </a:pPr>
            <a:r>
              <a:rPr lang="en-GB"/>
              <a:t>-</a:t>
            </a:r>
            <a:r>
              <a:rPr lang="en-GB" baseline="0"/>
              <a:t> an den MSB der Summanden (Vorzeichen der Operanden) und dem MSB des Ergebnisses</a:t>
            </a:r>
            <a:br>
              <a:rPr lang="en-GB" baseline="0"/>
            </a:br>
            <a:r>
              <a:rPr lang="en-GB" baseline="0"/>
              <a:t>- ein Schritt weiter: Überlauf, falls carry in ungleich carry out</a:t>
            </a:r>
            <a:br>
              <a:rPr lang="en-GB" baseline="0"/>
            </a:br>
            <a:r>
              <a:rPr lang="en-GB" baseline="0"/>
              <a:t>- beide Operanden positiv: carry_out = 0, negatives Ergebnis kann nur durch carry_in entstehen (carry_in = 1)</a:t>
            </a:r>
            <a:br>
              <a:rPr lang="en-GB" baseline="0"/>
            </a:br>
            <a:r>
              <a:rPr lang="en-GB" baseline="0"/>
              <a:t>- beide negativ: carry_out = 1, wenn kein carry_in Ergebnis positiv (carry_in = 0)</a:t>
            </a:r>
            <a:endParaRPr lang="en-GB" dirty="0"/>
          </a:p>
        </p:txBody>
      </p:sp>
      <p:sp>
        <p:nvSpPr>
          <p:cNvPr id="80899" name="Rectangle 3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92113" y="690563"/>
            <a:ext cx="6076950" cy="3419475"/>
          </a:xfrm>
          <a:noFill/>
          <a:ln cap="flat">
            <a:solidFill>
              <a:schemeClr val="tx1"/>
            </a:solidFill>
            <a:miter lim="800000"/>
            <a:headEnd/>
            <a:tailEnd/>
          </a:ln>
        </p:spPr>
      </p:sp>
    </p:spTree>
    <p:extLst>
      <p:ext uri="{BB962C8B-B14F-4D97-AF65-F5344CB8AC3E}">
        <p14:creationId xmlns:p14="http://schemas.microsoft.com/office/powerpoint/2010/main" val="426798104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Rectangle 2"/>
          <p:cNvSpPr>
            <a:spLocks noGrp="1"/>
          </p:cNvSpPr>
          <p:nvPr>
            <p:ph type="body" idx="1"/>
          </p:nvPr>
        </p:nvSpPr>
        <p:spPr bwMode="auto">
          <a:xfrm>
            <a:off x="915988" y="4343400"/>
            <a:ext cx="5026025" cy="4116388"/>
          </a:xfrm>
          <a:noFill/>
        </p:spPr>
        <p:txBody>
          <a:bodyPr wrap="square" lIns="86525" tIns="42504" rIns="86525" bIns="42504" numCol="1" anchor="t" anchorCtr="0" compatLnSpc="1">
            <a:prstTxWarp prst="textNoShape">
              <a:avLst/>
            </a:prstTxWarp>
          </a:bodyPr>
          <a:lstStyle/>
          <a:p>
            <a:pPr marL="0" indent="0">
              <a:buNone/>
            </a:pPr>
            <a:r>
              <a:rPr lang="en-GB"/>
              <a:t>-</a:t>
            </a:r>
            <a:r>
              <a:rPr lang="en-GB" baseline="0"/>
              <a:t> an den MSB der Summanden (Vorzeichen der Operanden) und dem MSB des Ergebnisses</a:t>
            </a:r>
            <a:br>
              <a:rPr lang="en-GB" baseline="0"/>
            </a:br>
            <a:r>
              <a:rPr lang="en-GB" baseline="0"/>
              <a:t>- ein Schritt weiter: Überlauf, falls carry in ungleich carry out</a:t>
            </a:r>
            <a:br>
              <a:rPr lang="en-GB" baseline="0"/>
            </a:br>
            <a:r>
              <a:rPr lang="en-GB" baseline="0"/>
              <a:t>- beide Operanden positiv: carry_out = 0, negatives Ergebnis kann nur durch carry_in entstehen (carry_in = 1)</a:t>
            </a:r>
            <a:br>
              <a:rPr lang="en-GB" baseline="0"/>
            </a:br>
            <a:r>
              <a:rPr lang="en-GB" baseline="0"/>
              <a:t>- beide negativ: carry_out = 1, wenn kein carry_in Ergebnis positiv (carry_in = 0)</a:t>
            </a:r>
            <a:endParaRPr lang="en-GB" dirty="0"/>
          </a:p>
        </p:txBody>
      </p:sp>
      <p:sp>
        <p:nvSpPr>
          <p:cNvPr id="80899" name="Rectangle 3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92113" y="690563"/>
            <a:ext cx="6076950" cy="3419475"/>
          </a:xfrm>
          <a:noFill/>
          <a:ln cap="flat">
            <a:solidFill>
              <a:schemeClr val="tx1"/>
            </a:solidFill>
            <a:miter lim="800000"/>
            <a:headEnd/>
            <a:tailEnd/>
          </a:ln>
        </p:spPr>
      </p:sp>
    </p:spTree>
    <p:extLst>
      <p:ext uri="{BB962C8B-B14F-4D97-AF65-F5344CB8AC3E}">
        <p14:creationId xmlns:p14="http://schemas.microsoft.com/office/powerpoint/2010/main" val="360222942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Schriftliche</a:t>
            </a:r>
            <a:r>
              <a:rPr lang="en-US" dirty="0"/>
              <a:t> Division </a:t>
            </a:r>
            <a:r>
              <a:rPr lang="en-US" dirty="0" err="1"/>
              <a:t>Methode</a:t>
            </a:r>
            <a:endParaRPr lang="en-US" dirty="0"/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r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ginne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von link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us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zu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che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elche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möglichs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urze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bschnit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vidende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r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urch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n Divisor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ile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önne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EFC71D-FB04-4C19-BE8A-35BB69D6D4E5}" type="slidenum">
              <a:rPr lang="de-DE" smtClean="0"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054019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Schriftliche</a:t>
            </a:r>
            <a:r>
              <a:rPr lang="en-US" dirty="0"/>
              <a:t> Division </a:t>
            </a:r>
            <a:r>
              <a:rPr lang="en-US" dirty="0" err="1"/>
              <a:t>Methode</a:t>
            </a:r>
            <a:endParaRPr lang="en-US" dirty="0"/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r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ginne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von link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us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zu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che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elche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möglichs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urze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bschnit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vidende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r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urch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n Divisor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ile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önne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EFC71D-FB04-4C19-BE8A-35BB69D6D4E5}" type="slidenum">
              <a:rPr lang="de-DE" smtClean="0"/>
              <a:t>3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582321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02.05.12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7BCC70A-C715-43C5-8B36-967803F136C5}" type="slidenum">
              <a:rPr lang="en-US" smtClean="0"/>
              <a:pPr>
                <a:defRPr/>
              </a:pPr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214963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02.05.12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7BCC70A-C715-43C5-8B36-967803F136C5}" type="slidenum">
              <a:rPr lang="en-US" smtClean="0"/>
              <a:pPr>
                <a:defRPr/>
              </a:pPr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663048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multiplizier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ie rationale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zimalzahl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kl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m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omma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und der 0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vor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mi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r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Zahl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2.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nach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m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Multiplikationsvorgang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ie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Ziffer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r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m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omma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in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0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tier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ma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in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0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zum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rgebnis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as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rgebnis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gt;=1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tier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ma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in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1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zum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rgebnis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und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zieh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ie 1 von der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Zahl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b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so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ss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eder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in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0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r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m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omma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eh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nach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ähr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ma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eder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mi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chrit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2 fort, also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Multiplikatio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mi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2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w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ese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rgang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ederhol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ma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lang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is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ie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ewünscht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enauigkei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rreich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der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is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r Rest 0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der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is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ich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r Rest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ederhol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EFC71D-FB04-4C19-BE8A-35BB69D6D4E5}" type="slidenum">
              <a:rPr lang="de-DE" smtClean="0"/>
              <a:t>4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0899015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klein</a:t>
            </a:r>
            <a:r>
              <a:rPr lang="en-US" baseline="0" dirty="0"/>
              <a:t> e </a:t>
            </a:r>
            <a:r>
              <a:rPr lang="en-US" baseline="0" dirty="0" err="1"/>
              <a:t>ist</a:t>
            </a:r>
            <a:r>
              <a:rPr lang="en-US" baseline="0" dirty="0"/>
              <a:t> der </a:t>
            </a:r>
            <a:r>
              <a:rPr lang="en-US" baseline="0" dirty="0" err="1"/>
              <a:t>transformierte</a:t>
            </a:r>
            <a:r>
              <a:rPr lang="en-US" baseline="0" dirty="0"/>
              <a:t> </a:t>
            </a:r>
            <a:r>
              <a:rPr lang="en-US" baseline="0" dirty="0" err="1"/>
              <a:t>Exponentwer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EFC71D-FB04-4C19-BE8A-35BB69D6D4E5}" type="slidenum">
              <a:rPr lang="de-DE" smtClean="0"/>
              <a:t>4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98036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92113" y="690563"/>
            <a:ext cx="6076950" cy="3419475"/>
          </a:xfrm>
          <a:noFill/>
          <a:ln cap="flat">
            <a:solidFill>
              <a:schemeClr val="tx1"/>
            </a:solidFill>
            <a:miter lim="800000"/>
            <a:headEnd/>
            <a:tailEnd/>
          </a:ln>
        </p:spPr>
      </p:sp>
      <p:sp>
        <p:nvSpPr>
          <p:cNvPr id="86019" name="Rectangle 3"/>
          <p:cNvSpPr>
            <a:spLocks noGrp="1"/>
          </p:cNvSpPr>
          <p:nvPr>
            <p:ph type="body" idx="1"/>
          </p:nvPr>
        </p:nvSpPr>
        <p:spPr bwMode="auto">
          <a:xfrm>
            <a:off x="915988" y="4343400"/>
            <a:ext cx="5026025" cy="4116388"/>
          </a:xfrm>
          <a:noFill/>
        </p:spPr>
        <p:txBody>
          <a:bodyPr wrap="square" lIns="86525" tIns="42504" rIns="86525" bIns="42504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----- Meeting Notes (02/11/16 15:47) -----</a:t>
            </a:r>
          </a:p>
          <a:p>
            <a:r>
              <a:rPr lang="en-US" dirty="0"/>
              <a:t>2 </a:t>
            </a:r>
            <a:r>
              <a:rPr lang="en-US" dirty="0" err="1"/>
              <a:t>nov</a:t>
            </a:r>
            <a:r>
              <a:rPr lang="en-US" dirty="0"/>
              <a:t> 2016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EFC71D-FB04-4C19-BE8A-35BB69D6D4E5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2814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2 </a:t>
            </a:r>
            <a:r>
              <a:rPr lang="en-US" dirty="0" err="1"/>
              <a:t>hoch</a:t>
            </a:r>
            <a:r>
              <a:rPr lang="en-US" dirty="0"/>
              <a:t> 7 = -128</a:t>
            </a:r>
          </a:p>
          <a:p>
            <a:pPr marL="171450" indent="-171450">
              <a:buFontTx/>
              <a:buChar char="-"/>
            </a:pPr>
            <a:r>
              <a:rPr lang="en-US" dirty="0"/>
              <a:t>2 </a:t>
            </a:r>
            <a:r>
              <a:rPr lang="en-US" dirty="0" err="1"/>
              <a:t>hoch</a:t>
            </a:r>
            <a:r>
              <a:rPr lang="en-US" dirty="0"/>
              <a:t> 6 + 2 </a:t>
            </a:r>
            <a:r>
              <a:rPr lang="en-US" dirty="0" err="1"/>
              <a:t>hoch</a:t>
            </a:r>
            <a:r>
              <a:rPr lang="en-US" dirty="0"/>
              <a:t> 5 + etc. + 2 </a:t>
            </a:r>
            <a:r>
              <a:rPr lang="en-US" dirty="0" err="1"/>
              <a:t>hoch</a:t>
            </a:r>
            <a:r>
              <a:rPr lang="en-US" baseline="0" dirty="0"/>
              <a:t> 0 = 127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EFC71D-FB04-4C19-BE8A-35BB69D6D4E5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514881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orrow = </a:t>
            </a:r>
            <a:r>
              <a:rPr lang="en-US" dirty="0" err="1"/>
              <a:t>Borge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EFC71D-FB04-4C19-BE8A-35BB69D6D4E5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636037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orrow = </a:t>
            </a:r>
            <a:r>
              <a:rPr lang="en-US" dirty="0" err="1"/>
              <a:t>Borge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EFC71D-FB04-4C19-BE8A-35BB69D6D4E5}" type="slidenum">
              <a:rPr lang="de-DE" smtClean="0"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714809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orrow = </a:t>
            </a:r>
            <a:r>
              <a:rPr lang="en-US" dirty="0" err="1"/>
              <a:t>Borge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EFC71D-FB04-4C19-BE8A-35BB69D6D4E5}" type="slidenum">
              <a:rPr lang="de-DE" smtClean="0"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636037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Rectangle 2"/>
          <p:cNvSpPr>
            <a:spLocks noGrp="1"/>
          </p:cNvSpPr>
          <p:nvPr>
            <p:ph type="body" idx="1"/>
          </p:nvPr>
        </p:nvSpPr>
        <p:spPr bwMode="auto">
          <a:xfrm>
            <a:off x="915988" y="4343400"/>
            <a:ext cx="5026025" cy="4116388"/>
          </a:xfrm>
          <a:noFill/>
        </p:spPr>
        <p:txBody>
          <a:bodyPr wrap="square" lIns="86525" tIns="42504" rIns="86525" bIns="42504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9875" name="Rectangle 3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92113" y="690563"/>
            <a:ext cx="6076950" cy="3419475"/>
          </a:xfrm>
          <a:noFill/>
          <a:ln cap="flat">
            <a:solidFill>
              <a:schemeClr val="tx1"/>
            </a:solidFill>
            <a:miter lim="800000"/>
            <a:headEnd/>
            <a:tailEnd/>
          </a:ln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Rectangle 2"/>
          <p:cNvSpPr>
            <a:spLocks noGrp="1"/>
          </p:cNvSpPr>
          <p:nvPr>
            <p:ph type="body" idx="1"/>
          </p:nvPr>
        </p:nvSpPr>
        <p:spPr bwMode="auto">
          <a:xfrm>
            <a:off x="915988" y="4343400"/>
            <a:ext cx="5026025" cy="4116388"/>
          </a:xfrm>
          <a:noFill/>
        </p:spPr>
        <p:txBody>
          <a:bodyPr wrap="square" lIns="86525" tIns="42504" rIns="86525" bIns="42504" numCol="1" anchor="t" anchorCtr="0" compatLnSpc="1">
            <a:prstTxWarp prst="textNoShape">
              <a:avLst/>
            </a:prstTxWarp>
          </a:bodyPr>
          <a:lstStyle/>
          <a:p>
            <a:pPr marL="0" indent="0">
              <a:buNone/>
            </a:pPr>
            <a:r>
              <a:rPr lang="en-GB"/>
              <a:t>-</a:t>
            </a:r>
            <a:r>
              <a:rPr lang="en-GB" baseline="0"/>
              <a:t> an den MSB der Summanden (Vorzeichen der Operanden) und dem MSB des Ergebnisses</a:t>
            </a:r>
            <a:br>
              <a:rPr lang="en-GB" baseline="0"/>
            </a:br>
            <a:r>
              <a:rPr lang="en-GB" baseline="0"/>
              <a:t>- ein Schritt weiter: Überlauf, falls carry in ungleich carry out</a:t>
            </a:r>
            <a:br>
              <a:rPr lang="en-GB" baseline="0"/>
            </a:br>
            <a:r>
              <a:rPr lang="en-GB" baseline="0"/>
              <a:t>- beide Operanden positiv: carry_out = 0, negatives Ergebnis kann nur durch carry_in entstehen (carry_in = 1)</a:t>
            </a:r>
            <a:br>
              <a:rPr lang="en-GB" baseline="0"/>
            </a:br>
            <a:r>
              <a:rPr lang="en-GB" baseline="0"/>
              <a:t>- beide negativ: carry_out = 1, wenn kein carry_in Ergebnis positiv (carry_in = 0)</a:t>
            </a:r>
            <a:endParaRPr lang="en-GB" dirty="0"/>
          </a:p>
        </p:txBody>
      </p:sp>
      <p:sp>
        <p:nvSpPr>
          <p:cNvPr id="80899" name="Rectangle 3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92113" y="690563"/>
            <a:ext cx="6076950" cy="3419475"/>
          </a:xfrm>
          <a:noFill/>
          <a:ln cap="flat">
            <a:solidFill>
              <a:schemeClr val="tx1"/>
            </a:solidFill>
            <a:miter lim="800000"/>
            <a:headEnd/>
            <a:tailEnd/>
          </a:ln>
        </p:spPr>
      </p:sp>
    </p:spTree>
    <p:extLst>
      <p:ext uri="{BB962C8B-B14F-4D97-AF65-F5344CB8AC3E}">
        <p14:creationId xmlns:p14="http://schemas.microsoft.com/office/powerpoint/2010/main" val="20157445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Rectangle 2"/>
          <p:cNvSpPr>
            <a:spLocks noGrp="1"/>
          </p:cNvSpPr>
          <p:nvPr>
            <p:ph type="body" idx="1"/>
          </p:nvPr>
        </p:nvSpPr>
        <p:spPr bwMode="auto">
          <a:xfrm>
            <a:off x="915988" y="4343400"/>
            <a:ext cx="5026025" cy="4116388"/>
          </a:xfrm>
          <a:noFill/>
        </p:spPr>
        <p:txBody>
          <a:bodyPr wrap="square" lIns="86525" tIns="42504" rIns="86525" bIns="42504" numCol="1" anchor="t" anchorCtr="0" compatLnSpc="1">
            <a:prstTxWarp prst="textNoShape">
              <a:avLst/>
            </a:prstTxWarp>
          </a:bodyPr>
          <a:lstStyle/>
          <a:p>
            <a:pPr marL="0" indent="0">
              <a:buNone/>
            </a:pPr>
            <a:r>
              <a:rPr lang="en-GB"/>
              <a:t>-</a:t>
            </a:r>
            <a:r>
              <a:rPr lang="en-GB" baseline="0"/>
              <a:t> an den MSB der Summanden (Vorzeichen der Operanden) und dem MSB des Ergebnisses</a:t>
            </a:r>
            <a:br>
              <a:rPr lang="en-GB" baseline="0"/>
            </a:br>
            <a:r>
              <a:rPr lang="en-GB" baseline="0"/>
              <a:t>- ein Schritt weiter: Überlauf, falls carry in ungleich carry out</a:t>
            </a:r>
            <a:br>
              <a:rPr lang="en-GB" baseline="0"/>
            </a:br>
            <a:r>
              <a:rPr lang="en-GB" baseline="0"/>
              <a:t>- beide Operanden positiv: carry_out = 0, negatives Ergebnis kann nur durch carry_in entstehen (carry_in = 1)</a:t>
            </a:r>
            <a:br>
              <a:rPr lang="en-GB" baseline="0"/>
            </a:br>
            <a:r>
              <a:rPr lang="en-GB" baseline="0"/>
              <a:t>- beide negativ: carry_out = 1, wenn kein carry_in Ergebnis positiv (carry_in = 0)</a:t>
            </a:r>
            <a:endParaRPr lang="en-GB" dirty="0"/>
          </a:p>
        </p:txBody>
      </p:sp>
      <p:sp>
        <p:nvSpPr>
          <p:cNvPr id="80899" name="Rectangle 3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92113" y="690563"/>
            <a:ext cx="6076950" cy="3419475"/>
          </a:xfrm>
          <a:noFill/>
          <a:ln cap="flat">
            <a:solidFill>
              <a:schemeClr val="tx1"/>
            </a:solidFill>
            <a:miter lim="800000"/>
            <a:headEnd/>
            <a:tailEnd/>
          </a:ln>
        </p:spPr>
      </p:sp>
    </p:spTree>
    <p:extLst>
      <p:ext uri="{BB962C8B-B14F-4D97-AF65-F5344CB8AC3E}">
        <p14:creationId xmlns:p14="http://schemas.microsoft.com/office/powerpoint/2010/main" val="2786171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gif"/><Relationship Id="rId5" Type="http://schemas.openxmlformats.org/officeDocument/2006/relationships/image" Target="../media/image8.jpeg"/><Relationship Id="rId4" Type="http://schemas.openxmlformats.org/officeDocument/2006/relationships/image" Target="../media/image7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hell mit Türmch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59627" y="1936750"/>
            <a:ext cx="6401332" cy="1277938"/>
          </a:xfrm>
        </p:spPr>
        <p:txBody>
          <a:bodyPr anchor="t" anchorCtr="0"/>
          <a:lstStyle>
            <a:lvl1pPr marL="0" indent="0" algn="l">
              <a:lnSpc>
                <a:spcPct val="104000"/>
              </a:lnSpc>
              <a:buFont typeface="Arial" panose="020B0604020202020204" pitchFamily="34" charset="0"/>
              <a:buNone/>
              <a:defRPr sz="1798" b="1"/>
            </a:lvl1pPr>
          </a:lstStyle>
          <a:p>
            <a:r>
              <a:rPr lang="de-DE" dirty="0"/>
              <a:t>Titel der Präsentation auf zwei Zeilen einfüg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61282" y="3214688"/>
            <a:ext cx="6401332" cy="792000"/>
          </a:xfrm>
        </p:spPr>
        <p:txBody>
          <a:bodyPr/>
          <a:lstStyle>
            <a:lvl1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899" b="0">
                <a:solidFill>
                  <a:schemeClr val="bg2"/>
                </a:solidFill>
              </a:defRPr>
            </a:lvl1pPr>
            <a:lvl2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899" b="0">
                <a:solidFill>
                  <a:schemeClr val="bg2"/>
                </a:solidFill>
              </a:defRPr>
            </a:lvl2pPr>
            <a:lvl3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899" b="0">
                <a:solidFill>
                  <a:schemeClr val="bg2"/>
                </a:solidFill>
              </a:defRPr>
            </a:lvl3pPr>
            <a:lvl4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899" b="0">
                <a:solidFill>
                  <a:schemeClr val="bg2"/>
                </a:solidFill>
              </a:defRPr>
            </a:lvl4pPr>
            <a:lvl5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899" b="0">
                <a:solidFill>
                  <a:schemeClr val="bg2"/>
                </a:solidFill>
              </a:defRPr>
            </a:lvl5pPr>
            <a:lvl6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899" b="0">
                <a:solidFill>
                  <a:schemeClr val="bg2"/>
                </a:solidFill>
              </a:defRPr>
            </a:lvl6pPr>
            <a:lvl7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899" b="0">
                <a:solidFill>
                  <a:schemeClr val="bg2"/>
                </a:solidFill>
              </a:defRPr>
            </a:lvl7pPr>
            <a:lvl8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899" b="0">
                <a:solidFill>
                  <a:schemeClr val="bg2"/>
                </a:solidFill>
              </a:defRPr>
            </a:lvl8pPr>
            <a:lvl9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899" b="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Untertitel bzw. Kurzbeschreibung der Präsentation</a:t>
            </a:r>
            <a:br>
              <a:rPr lang="de-DE" dirty="0"/>
            </a:br>
            <a:r>
              <a:rPr lang="de-DE" dirty="0"/>
              <a:t>Name: der Referentin / des Referenten</a:t>
            </a:r>
          </a:p>
        </p:txBody>
      </p:sp>
      <p:sp>
        <p:nvSpPr>
          <p:cNvPr id="12" name="Linie"/>
          <p:cNvSpPr/>
          <p:nvPr userDrawn="1"/>
        </p:nvSpPr>
        <p:spPr>
          <a:xfrm>
            <a:off x="0" y="5642640"/>
            <a:ext cx="12192000" cy="27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12"/>
          </a:p>
        </p:txBody>
      </p:sp>
      <p:sp>
        <p:nvSpPr>
          <p:cNvPr id="19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6473257" y="6081105"/>
            <a:ext cx="5358419" cy="468000"/>
          </a:xfrm>
        </p:spPr>
        <p:txBody>
          <a:bodyPr vert="horz" anchor="b" anchorCtr="0"/>
          <a:lstStyle>
            <a:lvl1pPr marL="0" indent="0" algn="r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674" b="0"/>
            </a:lvl1pPr>
            <a:lvl2pPr marL="0" indent="0" algn="r">
              <a:lnSpc>
                <a:spcPct val="110000"/>
              </a:lnSpc>
              <a:spcBef>
                <a:spcPts val="0"/>
              </a:spcBef>
              <a:buNone/>
              <a:defRPr sz="674" b="0"/>
            </a:lvl2pPr>
            <a:lvl3pPr marL="0" indent="0" algn="r">
              <a:lnSpc>
                <a:spcPct val="110000"/>
              </a:lnSpc>
              <a:spcBef>
                <a:spcPts val="0"/>
              </a:spcBef>
              <a:buNone/>
              <a:defRPr sz="674" b="0"/>
            </a:lvl3pPr>
            <a:lvl4pPr marL="0" indent="0" algn="r">
              <a:lnSpc>
                <a:spcPct val="110000"/>
              </a:lnSpc>
              <a:spcBef>
                <a:spcPts val="0"/>
              </a:spcBef>
              <a:buNone/>
              <a:defRPr sz="674" b="0"/>
            </a:lvl4pPr>
            <a:lvl5pPr marL="0" indent="0" algn="r">
              <a:lnSpc>
                <a:spcPct val="110000"/>
              </a:lnSpc>
              <a:spcBef>
                <a:spcPts val="0"/>
              </a:spcBef>
              <a:buNone/>
              <a:defRPr sz="674" b="0"/>
            </a:lvl5pPr>
            <a:lvl6pPr marL="0" indent="0" algn="r">
              <a:lnSpc>
                <a:spcPct val="110000"/>
              </a:lnSpc>
              <a:spcBef>
                <a:spcPts val="0"/>
              </a:spcBef>
              <a:buNone/>
              <a:defRPr sz="674" b="0"/>
            </a:lvl6pPr>
            <a:lvl7pPr marL="0" indent="0" algn="r">
              <a:lnSpc>
                <a:spcPct val="110000"/>
              </a:lnSpc>
              <a:spcBef>
                <a:spcPts val="0"/>
              </a:spcBef>
              <a:buNone/>
              <a:defRPr sz="674" b="0"/>
            </a:lvl7pPr>
            <a:lvl8pPr marL="0" indent="0" algn="r">
              <a:lnSpc>
                <a:spcPct val="110000"/>
              </a:lnSpc>
              <a:spcBef>
                <a:spcPts val="0"/>
              </a:spcBef>
              <a:buNone/>
              <a:defRPr sz="674" b="0"/>
            </a:lvl8pPr>
            <a:lvl9pPr marL="0" indent="0" algn="r">
              <a:lnSpc>
                <a:spcPct val="110000"/>
              </a:lnSpc>
              <a:spcBef>
                <a:spcPts val="0"/>
              </a:spcBef>
              <a:buNone/>
              <a:defRPr sz="674" b="0"/>
            </a:lvl9pPr>
          </a:lstStyle>
          <a:p>
            <a:pPr lvl="0"/>
            <a:r>
              <a:rPr lang="de-DE" dirty="0"/>
              <a:t>Freiraum für Sekundärlogo(s) / Name </a:t>
            </a:r>
            <a:br>
              <a:rPr lang="de-DE" dirty="0"/>
            </a:br>
            <a:r>
              <a:rPr lang="de-DE" dirty="0"/>
              <a:t>des Fachbereichs, Instituts oder SFBs</a:t>
            </a:r>
          </a:p>
        </p:txBody>
      </p:sp>
      <p:grpSp>
        <p:nvGrpSpPr>
          <p:cNvPr id="31" name="Regieanweisungen"/>
          <p:cNvGrpSpPr/>
          <p:nvPr userDrawn="1"/>
        </p:nvGrpSpPr>
        <p:grpSpPr>
          <a:xfrm>
            <a:off x="-2050600" y="-468000"/>
            <a:ext cx="14709415" cy="7776000"/>
            <a:chOff x="-2052737" y="-468000"/>
            <a:chExt cx="14724737" cy="7776000"/>
          </a:xfrm>
        </p:grpSpPr>
        <p:sp>
          <p:nvSpPr>
            <p:cNvPr id="33" name="Hilfslinien"/>
            <p:cNvSpPr txBox="1"/>
            <p:nvPr userDrawn="1"/>
          </p:nvSpPr>
          <p:spPr>
            <a:xfrm rot="10800000" flipH="1" flipV="1">
              <a:off x="360000" y="-468000"/>
              <a:ext cx="11484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77421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506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  <a:r>
                <a:rPr kumimoji="0" lang="de-DE" sz="506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Haken bei Führungslinien setzen</a:t>
              </a:r>
            </a:p>
          </p:txBody>
        </p:sp>
        <p:cxnSp>
          <p:nvCxnSpPr>
            <p:cNvPr id="35" name="Linie"/>
            <p:cNvCxnSpPr/>
            <p:nvPr userDrawn="1"/>
          </p:nvCxnSpPr>
          <p:spPr>
            <a:xfrm>
              <a:off x="11844000" y="-46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Linie"/>
            <p:cNvCxnSpPr/>
            <p:nvPr userDrawn="1"/>
          </p:nvCxnSpPr>
          <p:spPr>
            <a:xfrm>
              <a:off x="360000" y="-46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Linie"/>
            <p:cNvCxnSpPr/>
            <p:nvPr userDrawn="1"/>
          </p:nvCxnSpPr>
          <p:spPr>
            <a:xfrm>
              <a:off x="11844000" y="694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Linie"/>
            <p:cNvCxnSpPr/>
            <p:nvPr userDrawn="1"/>
          </p:nvCxnSpPr>
          <p:spPr>
            <a:xfrm>
              <a:off x="360000" y="694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Zurücksetzen"/>
            <p:cNvSpPr txBox="1"/>
            <p:nvPr userDrawn="1"/>
          </p:nvSpPr>
          <p:spPr>
            <a:xfrm rot="10800000" flipH="1" flipV="1">
              <a:off x="-2052737" y="648000"/>
              <a:ext cx="1944737" cy="54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506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506" b="0" baseline="0" dirty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506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45" name="Layoutwechsel"/>
            <p:cNvSpPr txBox="1"/>
            <p:nvPr userDrawn="1"/>
          </p:nvSpPr>
          <p:spPr>
            <a:xfrm rot="10800000" flipH="1" flipV="1">
              <a:off x="-2052737" y="1"/>
              <a:ext cx="1944737" cy="54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506" b="0" baseline="0" dirty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506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506" b="0" baseline="0" dirty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r" defTabSz="678722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506" b="1" baseline="0" dirty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cxnSp>
          <p:nvCxnSpPr>
            <p:cNvPr id="47" name="Linie"/>
            <p:cNvCxnSpPr/>
            <p:nvPr userDrawn="1"/>
          </p:nvCxnSpPr>
          <p:spPr>
            <a:xfrm>
              <a:off x="12312000" y="2284414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Linie"/>
            <p:cNvCxnSpPr/>
            <p:nvPr userDrawn="1"/>
          </p:nvCxnSpPr>
          <p:spPr>
            <a:xfrm>
              <a:off x="12312000" y="5742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Linie"/>
            <p:cNvCxnSpPr/>
            <p:nvPr userDrawn="1"/>
          </p:nvCxnSpPr>
          <p:spPr>
            <a:xfrm>
              <a:off x="-467999" y="2284414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Linie"/>
            <p:cNvCxnSpPr/>
            <p:nvPr userDrawn="1"/>
          </p:nvCxnSpPr>
          <p:spPr>
            <a:xfrm>
              <a:off x="-468000" y="5742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Linie"/>
            <p:cNvCxnSpPr/>
            <p:nvPr userDrawn="1"/>
          </p:nvCxnSpPr>
          <p:spPr>
            <a:xfrm>
              <a:off x="-467999" y="1440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Linie"/>
            <p:cNvCxnSpPr/>
            <p:nvPr userDrawn="1"/>
          </p:nvCxnSpPr>
          <p:spPr>
            <a:xfrm>
              <a:off x="12312000" y="1438599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>
          <a:xfrm>
            <a:off x="3596255" y="-720000"/>
            <a:ext cx="8235421" cy="360000"/>
          </a:xfrm>
          <a:prstGeom prst="rect">
            <a:avLst/>
          </a:prstGeom>
        </p:spPr>
        <p:txBody>
          <a:bodyPr/>
          <a:lstStyle/>
          <a:p>
            <a:fld id="{672714F1-EF58-449B-A3DB-D1C7E7A3360B}" type="datetime1">
              <a:rPr lang="de-DE" smtClean="0"/>
              <a:t>16.04.25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9625" y="7020000"/>
            <a:ext cx="8271384" cy="360000"/>
          </a:xfrm>
        </p:spPr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004537" y="7020000"/>
            <a:ext cx="827139" cy="360000"/>
          </a:xfrm>
        </p:spPr>
        <p:txBody>
          <a:bodyPr/>
          <a:lstStyle/>
          <a:p>
            <a:fld id="{6C8FC03C-C266-4645-ABC5-645062898383}" type="slidenum">
              <a:rPr lang="de-DE" smtClean="0"/>
              <a:pPr/>
              <a:t>‹#›</a:t>
            </a:fld>
            <a:r>
              <a:rPr lang="de-DE" dirty="0"/>
              <a:t> </a:t>
            </a:r>
            <a:endParaRPr lang="de-DE" sz="787" dirty="0"/>
          </a:p>
        </p:txBody>
      </p:sp>
    </p:spTree>
    <p:extLst>
      <p:ext uri="{BB962C8B-B14F-4D97-AF65-F5344CB8AC3E}">
        <p14:creationId xmlns:p14="http://schemas.microsoft.com/office/powerpoint/2010/main" val="28353362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20" userDrawn="1">
          <p15:clr>
            <a:srgbClr val="FBAE40"/>
          </p15:clr>
        </p15:guide>
        <p15:guide id="2" orient="horz" pos="2025" userDrawn="1">
          <p15:clr>
            <a:srgbClr val="FBAE40"/>
          </p15:clr>
        </p15:guide>
        <p15:guide id="3" pos="404" userDrawn="1">
          <p15:clr>
            <a:srgbClr val="FBAE40"/>
          </p15:clr>
        </p15:guide>
        <p15:guide id="4" pos="1326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6"/>
          <p:cNvPicPr>
            <a:picLocks noChangeAspect="1" noChangeArrowheads="1"/>
          </p:cNvPicPr>
          <p:nvPr userDrawn="1"/>
        </p:nvPicPr>
        <p:blipFill>
          <a:blip r:embed="rId2" cstate="print">
            <a:lum bright="-40000"/>
          </a:blip>
          <a:srcRect/>
          <a:stretch>
            <a:fillRect/>
          </a:stretch>
        </p:blipFill>
        <p:spPr bwMode="auto">
          <a:xfrm>
            <a:off x="8382032" y="-24"/>
            <a:ext cx="2441661" cy="121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3" cstate="print">
            <a:lum bright="-40000" contrast="37000"/>
          </a:blip>
          <a:srcRect t="5687" r="1646"/>
          <a:stretch>
            <a:fillRect/>
          </a:stretch>
        </p:blipFill>
        <p:spPr bwMode="auto">
          <a:xfrm>
            <a:off x="3905238" y="0"/>
            <a:ext cx="4584404" cy="121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7" name="Picture 5"/>
          <p:cNvPicPr>
            <a:picLocks noChangeAspect="1" noChangeArrowheads="1"/>
          </p:cNvPicPr>
          <p:nvPr userDrawn="1"/>
        </p:nvPicPr>
        <p:blipFill>
          <a:blip r:embed="rId4" cstate="print">
            <a:lum bright="-30000"/>
          </a:blip>
          <a:srcRect/>
          <a:stretch>
            <a:fillRect/>
          </a:stretch>
        </p:blipFill>
        <p:spPr bwMode="auto">
          <a:xfrm>
            <a:off x="1809724" y="0"/>
            <a:ext cx="2168849" cy="121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Rechteck 5"/>
          <p:cNvSpPr/>
          <p:nvPr userDrawn="1"/>
        </p:nvSpPr>
        <p:spPr bwMode="auto">
          <a:xfrm>
            <a:off x="10572784" y="0"/>
            <a:ext cx="1619219" cy="1214422"/>
          </a:xfrm>
          <a:prstGeom prst="rect">
            <a:avLst/>
          </a:prstGeom>
          <a:gradFill flip="none" rotWithShape="1">
            <a:gsLst>
              <a:gs pos="0">
                <a:srgbClr val="0070C0"/>
              </a:gs>
              <a:gs pos="100000">
                <a:schemeClr val="accent5">
                  <a:lumMod val="75000"/>
                </a:schemeClr>
              </a:gs>
            </a:gsLst>
            <a:lin ang="5400000" scaled="1"/>
            <a:tileRect/>
          </a:gra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51382" tIns="25691" rIns="51382" bIns="25691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51380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349" b="0" i="0" u="none" strike="noStrike" kern="1200" cap="none" normalizeH="0" baseline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8" name="Rechteck 7"/>
          <p:cNvSpPr/>
          <p:nvPr userDrawn="1"/>
        </p:nvSpPr>
        <p:spPr bwMode="auto">
          <a:xfrm>
            <a:off x="0" y="0"/>
            <a:ext cx="1843920" cy="1214446"/>
          </a:xfrm>
          <a:prstGeom prst="rect">
            <a:avLst/>
          </a:prstGeom>
          <a:gradFill flip="none" rotWithShape="1">
            <a:gsLst>
              <a:gs pos="0">
                <a:srgbClr val="0070C0"/>
              </a:gs>
              <a:gs pos="100000">
                <a:schemeClr val="accent5">
                  <a:lumMod val="75000"/>
                </a:schemeClr>
              </a:gs>
            </a:gsLst>
            <a:lin ang="5400000" scaled="1"/>
            <a:tileRect/>
          </a:gra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51382" tIns="25691" rIns="51382" bIns="25691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51380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349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  <p:pic>
        <p:nvPicPr>
          <p:cNvPr id="9" name="Picture 4" descr="pes-logo-600pt"/>
          <p:cNvPicPr>
            <a:picLocks noChangeAspect="1" noChangeArrowheads="1"/>
          </p:cNvPicPr>
          <p:nvPr userDrawn="1"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95208" y="224837"/>
            <a:ext cx="1636349" cy="47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228600">
              <a:schemeClr val="accent3">
                <a:satMod val="175000"/>
                <a:alpha val="40000"/>
              </a:schemeClr>
            </a:glow>
          </a:effectLst>
        </p:spPr>
      </p:pic>
      <p:sp>
        <p:nvSpPr>
          <p:cNvPr id="10" name="Rectangle 21"/>
          <p:cNvSpPr>
            <a:spLocks noChangeArrowheads="1"/>
          </p:cNvSpPr>
          <p:nvPr userDrawn="1"/>
        </p:nvSpPr>
        <p:spPr bwMode="auto">
          <a:xfrm>
            <a:off x="240003" y="714352"/>
            <a:ext cx="1362924" cy="3442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algn="ctr"/>
            <a:r>
              <a:rPr lang="en-US" sz="506" b="1">
                <a:latin typeface="Calibri" pitchFamily="34" charset="0"/>
              </a:rPr>
              <a:t>Software Engineering </a:t>
            </a:r>
          </a:p>
          <a:p>
            <a:pPr algn="ctr"/>
            <a:r>
              <a:rPr lang="en-US" sz="506" b="1">
                <a:latin typeface="Calibri" pitchFamily="34" charset="0"/>
              </a:rPr>
              <a:t>for Embedded Systems</a:t>
            </a:r>
            <a:endParaRPr lang="de-DE" sz="506" b="1">
              <a:latin typeface="Calibri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>
          <a:xfrm>
            <a:off x="1775520" y="0"/>
            <a:ext cx="8832981" cy="1214422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</a:t>
            </a:r>
            <a:br>
              <a:rPr lang="de-DE" dirty="0"/>
            </a:br>
            <a:r>
              <a:rPr lang="de-DE" dirty="0"/>
              <a:t>Klicken bearbeiten</a:t>
            </a:r>
          </a:p>
        </p:txBody>
      </p:sp>
      <p:sp>
        <p:nvSpPr>
          <p:cNvPr id="18" name="Inhaltsplatzhalter 17"/>
          <p:cNvSpPr>
            <a:spLocks noGrp="1"/>
          </p:cNvSpPr>
          <p:nvPr>
            <p:ph sz="quarter" idx="13"/>
          </p:nvPr>
        </p:nvSpPr>
        <p:spPr>
          <a:xfrm>
            <a:off x="666713" y="1714488"/>
            <a:ext cx="10858539" cy="4500594"/>
          </a:xfrm>
        </p:spPr>
        <p:txBody>
          <a:bodyPr/>
          <a:lstStyle>
            <a:lvl1pPr>
              <a:defRPr sz="1574"/>
            </a:lvl1pPr>
            <a:lvl2pPr>
              <a:defRPr sz="1349"/>
            </a:lvl2pPr>
            <a:lvl3pPr>
              <a:defRPr sz="1124"/>
            </a:lvl3pPr>
            <a:lvl4pPr>
              <a:buSzPct val="100000"/>
              <a:defRPr sz="1012"/>
            </a:lvl4pPr>
            <a:lvl5pPr>
              <a:defRPr sz="1012"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5" name="Grafik 14" descr="tu-logo_2d_sw.gif"/>
          <p:cNvPicPr>
            <a:picLocks noChangeAspect="1"/>
          </p:cNvPicPr>
          <p:nvPr userDrawn="1"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668036" y="214290"/>
            <a:ext cx="1320945" cy="741600"/>
          </a:xfrm>
          <a:prstGeom prst="rect">
            <a:avLst/>
          </a:prstGeom>
        </p:spPr>
      </p:pic>
      <p:sp>
        <p:nvSpPr>
          <p:cNvPr id="19" name="Textfeld 18"/>
          <p:cNvSpPr txBox="1"/>
          <p:nvPr userDrawn="1"/>
        </p:nvSpPr>
        <p:spPr>
          <a:xfrm>
            <a:off x="3023661" y="6571346"/>
            <a:ext cx="6432715" cy="213456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de-DE" sz="787" kern="1200" dirty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rPr>
              <a:t>PES Projekte SS</a:t>
            </a:r>
            <a:r>
              <a:rPr lang="de-DE" sz="787" kern="1200" baseline="0" dirty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rPr>
              <a:t> 2013</a:t>
            </a:r>
            <a:endParaRPr lang="de-DE" sz="787" kern="1200" dirty="0">
              <a:solidFill>
                <a:schemeClr val="tx1"/>
              </a:solidFill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20" name="Textfeld 19"/>
          <p:cNvSpPr txBox="1"/>
          <p:nvPr userDrawn="1"/>
        </p:nvSpPr>
        <p:spPr>
          <a:xfrm>
            <a:off x="10886968" y="6462217"/>
            <a:ext cx="378630" cy="2134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024BC12-5259-40FF-9A6F-67FCAFBCFBEA}" type="slidenum">
              <a:rPr lang="en-US" sz="787" kern="120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rPr>
              <a:pPr/>
              <a:t>‹#›</a:t>
            </a:fld>
            <a:endParaRPr lang="en-US" sz="787" kern="1200">
              <a:solidFill>
                <a:schemeClr val="tx1"/>
              </a:solidFill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4625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19669" y="2073278"/>
            <a:ext cx="5272617" cy="4098925"/>
          </a:xfrm>
        </p:spPr>
        <p:txBody>
          <a:bodyPr/>
          <a:lstStyle>
            <a:lvl1pPr>
              <a:defRPr sz="1650"/>
            </a:lvl1pPr>
            <a:lvl2pPr>
              <a:defRPr sz="150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5484" y="2073278"/>
            <a:ext cx="5272616" cy="4098925"/>
          </a:xfrm>
        </p:spPr>
        <p:txBody>
          <a:bodyPr/>
          <a:lstStyle>
            <a:lvl1pPr>
              <a:defRPr sz="1650"/>
            </a:lvl1pPr>
            <a:lvl2pPr>
              <a:defRPr sz="150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6" name="Rectangle 14"/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144BA04-7133-4637-8CEF-D92D06C9C327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441750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3208381" y="280864"/>
            <a:ext cx="8235421" cy="360000"/>
          </a:xfrm>
          <a:prstGeom prst="rect">
            <a:avLst/>
          </a:prstGeom>
        </p:spPr>
        <p:txBody>
          <a:bodyPr/>
          <a:lstStyle/>
          <a:p>
            <a:fld id="{AA52063F-B4E6-4A0D-A980-6CCC288C37E7}" type="datetime1">
              <a:rPr lang="de-DE" smtClean="0"/>
              <a:t>16.04.25</a:t>
            </a:fld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‹#›</a:t>
            </a:fld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00000" y="1080000"/>
            <a:ext cx="10944000" cy="504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284852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5EB1E78-6541-4117-AE11-83ECD5B83CE7}" type="datetime1">
              <a:rPr lang="de-DE" smtClean="0"/>
              <a:t>16.04.25</a:t>
            </a:fld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5144BA04-7133-4637-8CEF-D92D06C9C327}" type="slidenum">
              <a:rPr lang="de-DE" smtClean="0"/>
              <a:t>‹#›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824835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blau mit Türmch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läche"/>
          <p:cNvSpPr/>
          <p:nvPr userDrawn="1"/>
        </p:nvSpPr>
        <p:spPr>
          <a:xfrm>
            <a:off x="0" y="0"/>
            <a:ext cx="12192000" cy="567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12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59627" y="1936750"/>
            <a:ext cx="6401332" cy="1276350"/>
          </a:xfrm>
        </p:spPr>
        <p:txBody>
          <a:bodyPr anchor="t" anchorCtr="0"/>
          <a:lstStyle>
            <a:lvl1pPr marL="0" indent="0" algn="l">
              <a:lnSpc>
                <a:spcPct val="104000"/>
              </a:lnSpc>
              <a:buFont typeface="Arial" panose="020B0604020202020204" pitchFamily="34" charset="0"/>
              <a:buNone/>
              <a:defRPr sz="1798"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er Präsentation auf zwei Zeilen einfüg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59627" y="3213100"/>
            <a:ext cx="6401332" cy="792000"/>
          </a:xfrm>
        </p:spPr>
        <p:txBody>
          <a:bodyPr/>
          <a:lstStyle>
            <a:lvl1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899" b="0">
                <a:solidFill>
                  <a:schemeClr val="bg1"/>
                </a:solidFill>
              </a:defRPr>
            </a:lvl1pPr>
            <a:lvl2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899" b="0">
                <a:solidFill>
                  <a:schemeClr val="bg1"/>
                </a:solidFill>
              </a:defRPr>
            </a:lvl2pPr>
            <a:lvl3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899" b="0">
                <a:solidFill>
                  <a:schemeClr val="bg1"/>
                </a:solidFill>
              </a:defRPr>
            </a:lvl3pPr>
            <a:lvl4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899" b="0">
                <a:solidFill>
                  <a:schemeClr val="bg1"/>
                </a:solidFill>
              </a:defRPr>
            </a:lvl4pPr>
            <a:lvl5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899" b="0">
                <a:solidFill>
                  <a:schemeClr val="bg1"/>
                </a:solidFill>
              </a:defRPr>
            </a:lvl5pPr>
            <a:lvl6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899" b="0">
                <a:solidFill>
                  <a:schemeClr val="bg1"/>
                </a:solidFill>
              </a:defRPr>
            </a:lvl6pPr>
            <a:lvl7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899" b="0">
                <a:solidFill>
                  <a:schemeClr val="bg1"/>
                </a:solidFill>
              </a:defRPr>
            </a:lvl7pPr>
            <a:lvl8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899" b="0">
                <a:solidFill>
                  <a:schemeClr val="bg1"/>
                </a:solidFill>
              </a:defRPr>
            </a:lvl8pPr>
            <a:lvl9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899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Untertitel bzw. Kurzbeschreibung der Präsentation</a:t>
            </a:r>
            <a:br>
              <a:rPr lang="de-DE" dirty="0"/>
            </a:br>
            <a:r>
              <a:rPr lang="de-DE" dirty="0"/>
              <a:t>Name: der Referentin / des Referenten</a:t>
            </a:r>
          </a:p>
        </p:txBody>
      </p:sp>
      <p:sp>
        <p:nvSpPr>
          <p:cNvPr id="12" name="Linie"/>
          <p:cNvSpPr/>
          <p:nvPr userDrawn="1"/>
        </p:nvSpPr>
        <p:spPr>
          <a:xfrm>
            <a:off x="0" y="5642640"/>
            <a:ext cx="12192000" cy="27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12"/>
          </a:p>
        </p:txBody>
      </p:sp>
      <p:grpSp>
        <p:nvGrpSpPr>
          <p:cNvPr id="29" name="Regieanweisungen"/>
          <p:cNvGrpSpPr/>
          <p:nvPr userDrawn="1"/>
        </p:nvGrpSpPr>
        <p:grpSpPr>
          <a:xfrm>
            <a:off x="-2050600" y="-468000"/>
            <a:ext cx="14709415" cy="7776000"/>
            <a:chOff x="-2052737" y="-468000"/>
            <a:chExt cx="14724737" cy="7776000"/>
          </a:xfrm>
        </p:grpSpPr>
        <p:sp>
          <p:nvSpPr>
            <p:cNvPr id="30" name="Hilfslinien"/>
            <p:cNvSpPr txBox="1"/>
            <p:nvPr userDrawn="1"/>
          </p:nvSpPr>
          <p:spPr>
            <a:xfrm rot="10800000" flipH="1" flipV="1">
              <a:off x="360000" y="-468000"/>
              <a:ext cx="11484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77421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506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  <a:r>
                <a:rPr kumimoji="0" lang="de-DE" sz="506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Haken bei Führungslinien setzen</a:t>
              </a:r>
            </a:p>
          </p:txBody>
        </p:sp>
        <p:cxnSp>
          <p:nvCxnSpPr>
            <p:cNvPr id="31" name="Linie"/>
            <p:cNvCxnSpPr/>
            <p:nvPr userDrawn="1"/>
          </p:nvCxnSpPr>
          <p:spPr>
            <a:xfrm>
              <a:off x="11844000" y="-46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Linie"/>
            <p:cNvCxnSpPr/>
            <p:nvPr userDrawn="1"/>
          </p:nvCxnSpPr>
          <p:spPr>
            <a:xfrm>
              <a:off x="360000" y="-46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Linie"/>
            <p:cNvCxnSpPr/>
            <p:nvPr userDrawn="1"/>
          </p:nvCxnSpPr>
          <p:spPr>
            <a:xfrm>
              <a:off x="11844000" y="694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Linie"/>
            <p:cNvCxnSpPr/>
            <p:nvPr userDrawn="1"/>
          </p:nvCxnSpPr>
          <p:spPr>
            <a:xfrm>
              <a:off x="360000" y="694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Zurücksetzen"/>
            <p:cNvSpPr txBox="1"/>
            <p:nvPr userDrawn="1"/>
          </p:nvSpPr>
          <p:spPr>
            <a:xfrm rot="10800000" flipH="1" flipV="1">
              <a:off x="-2052737" y="648000"/>
              <a:ext cx="1944737" cy="54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506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506" b="0" baseline="0" dirty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506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36" name="Layoutwechsel"/>
            <p:cNvSpPr txBox="1"/>
            <p:nvPr userDrawn="1"/>
          </p:nvSpPr>
          <p:spPr>
            <a:xfrm rot="10800000" flipH="1" flipV="1">
              <a:off x="-2052737" y="1"/>
              <a:ext cx="1944737" cy="54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506" b="0" baseline="0" dirty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506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506" b="0" baseline="0" dirty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r" defTabSz="678722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506" b="1" baseline="0" dirty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cxnSp>
          <p:nvCxnSpPr>
            <p:cNvPr id="37" name="Linie"/>
            <p:cNvCxnSpPr/>
            <p:nvPr userDrawn="1"/>
          </p:nvCxnSpPr>
          <p:spPr>
            <a:xfrm>
              <a:off x="12312000" y="2284414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Linie"/>
            <p:cNvCxnSpPr/>
            <p:nvPr userDrawn="1"/>
          </p:nvCxnSpPr>
          <p:spPr>
            <a:xfrm>
              <a:off x="12312000" y="5742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Linie"/>
            <p:cNvCxnSpPr/>
            <p:nvPr userDrawn="1"/>
          </p:nvCxnSpPr>
          <p:spPr>
            <a:xfrm>
              <a:off x="-467999" y="2284414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Linie"/>
            <p:cNvCxnSpPr/>
            <p:nvPr userDrawn="1"/>
          </p:nvCxnSpPr>
          <p:spPr>
            <a:xfrm>
              <a:off x="-468000" y="5742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Linie"/>
            <p:cNvCxnSpPr/>
            <p:nvPr userDrawn="1"/>
          </p:nvCxnSpPr>
          <p:spPr>
            <a:xfrm>
              <a:off x="-467999" y="1440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Linie"/>
            <p:cNvCxnSpPr/>
            <p:nvPr userDrawn="1"/>
          </p:nvCxnSpPr>
          <p:spPr>
            <a:xfrm>
              <a:off x="12312000" y="1438599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5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6473257" y="6081105"/>
            <a:ext cx="5358419" cy="468000"/>
          </a:xfrm>
        </p:spPr>
        <p:txBody>
          <a:bodyPr vert="horz" anchor="b" anchorCtr="0"/>
          <a:lstStyle>
            <a:lvl1pPr marL="0" indent="0" algn="r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674" b="0"/>
            </a:lvl1pPr>
            <a:lvl2pPr marL="0" indent="0" algn="r">
              <a:lnSpc>
                <a:spcPct val="110000"/>
              </a:lnSpc>
              <a:spcBef>
                <a:spcPts val="0"/>
              </a:spcBef>
              <a:buNone/>
              <a:defRPr sz="674" b="0"/>
            </a:lvl2pPr>
            <a:lvl3pPr marL="0" indent="0" algn="r">
              <a:lnSpc>
                <a:spcPct val="110000"/>
              </a:lnSpc>
              <a:spcBef>
                <a:spcPts val="0"/>
              </a:spcBef>
              <a:buNone/>
              <a:defRPr sz="674" b="0"/>
            </a:lvl3pPr>
            <a:lvl4pPr marL="0" indent="0" algn="r">
              <a:lnSpc>
                <a:spcPct val="110000"/>
              </a:lnSpc>
              <a:spcBef>
                <a:spcPts val="0"/>
              </a:spcBef>
              <a:buNone/>
              <a:defRPr sz="674" b="0"/>
            </a:lvl4pPr>
            <a:lvl5pPr marL="0" indent="0" algn="r">
              <a:lnSpc>
                <a:spcPct val="110000"/>
              </a:lnSpc>
              <a:spcBef>
                <a:spcPts val="0"/>
              </a:spcBef>
              <a:buNone/>
              <a:defRPr sz="674" b="0"/>
            </a:lvl5pPr>
            <a:lvl6pPr marL="0" indent="0" algn="r">
              <a:lnSpc>
                <a:spcPct val="110000"/>
              </a:lnSpc>
              <a:spcBef>
                <a:spcPts val="0"/>
              </a:spcBef>
              <a:buNone/>
              <a:defRPr sz="674" b="0"/>
            </a:lvl6pPr>
            <a:lvl7pPr marL="0" indent="0" algn="r">
              <a:lnSpc>
                <a:spcPct val="110000"/>
              </a:lnSpc>
              <a:spcBef>
                <a:spcPts val="0"/>
              </a:spcBef>
              <a:buNone/>
              <a:defRPr sz="674" b="0"/>
            </a:lvl7pPr>
            <a:lvl8pPr marL="0" indent="0" algn="r">
              <a:lnSpc>
                <a:spcPct val="110000"/>
              </a:lnSpc>
              <a:spcBef>
                <a:spcPts val="0"/>
              </a:spcBef>
              <a:buNone/>
              <a:defRPr sz="674" b="0"/>
            </a:lvl8pPr>
            <a:lvl9pPr marL="0" indent="0" algn="r">
              <a:lnSpc>
                <a:spcPct val="110000"/>
              </a:lnSpc>
              <a:spcBef>
                <a:spcPts val="0"/>
              </a:spcBef>
              <a:buNone/>
              <a:defRPr sz="674" b="0"/>
            </a:lvl9pPr>
          </a:lstStyle>
          <a:p>
            <a:pPr lvl="0"/>
            <a:r>
              <a:rPr lang="de-DE" dirty="0"/>
              <a:t>Freiraum für Sekundärlogo(s) / Name </a:t>
            </a:r>
            <a:br>
              <a:rPr lang="de-DE" dirty="0"/>
            </a:br>
            <a:r>
              <a:rPr lang="de-DE" dirty="0"/>
              <a:t>des Fachbereichs, Instituts oder SFBs</a:t>
            </a:r>
          </a:p>
        </p:txBody>
      </p:sp>
      <p:sp>
        <p:nvSpPr>
          <p:cNvPr id="56" name="Datumsplatzhalter 3"/>
          <p:cNvSpPr>
            <a:spLocks noGrp="1"/>
          </p:cNvSpPr>
          <p:nvPr>
            <p:ph type="dt" sz="half" idx="14"/>
          </p:nvPr>
        </p:nvSpPr>
        <p:spPr>
          <a:xfrm>
            <a:off x="3596255" y="-720000"/>
            <a:ext cx="8235421" cy="360000"/>
          </a:xfrm>
          <a:prstGeom prst="rect">
            <a:avLst/>
          </a:prstGeom>
        </p:spPr>
        <p:txBody>
          <a:bodyPr/>
          <a:lstStyle/>
          <a:p>
            <a:fld id="{4EA5F423-8A15-4ED6-8EA6-EF62C9FDF0DA}" type="datetime1">
              <a:rPr lang="de-DE" smtClean="0"/>
              <a:t>16.04.25</a:t>
            </a:fld>
            <a:endParaRPr lang="de-DE" dirty="0"/>
          </a:p>
        </p:txBody>
      </p:sp>
      <p:sp>
        <p:nvSpPr>
          <p:cNvPr id="57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9625" y="7020000"/>
            <a:ext cx="8271384" cy="360000"/>
          </a:xfrm>
        </p:spPr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58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004537" y="7020000"/>
            <a:ext cx="827139" cy="360000"/>
          </a:xfrm>
        </p:spPr>
        <p:txBody>
          <a:bodyPr/>
          <a:lstStyle/>
          <a:p>
            <a:fld id="{6C8FC03C-C266-4645-ABC5-645062898383}" type="slidenum">
              <a:rPr lang="de-DE" smtClean="0"/>
              <a:pPr/>
              <a:t>‹#›</a:t>
            </a:fld>
            <a:r>
              <a:rPr lang="de-DE" dirty="0"/>
              <a:t> </a:t>
            </a:r>
            <a:endParaRPr lang="de-DE" sz="787" dirty="0"/>
          </a:p>
        </p:txBody>
      </p:sp>
      <p:sp>
        <p:nvSpPr>
          <p:cNvPr id="65" name="Logo"/>
          <p:cNvSpPr>
            <a:spLocks noChangeAspect="1" noEditPoints="1"/>
          </p:cNvSpPr>
          <p:nvPr userDrawn="1"/>
        </p:nvSpPr>
        <p:spPr bwMode="auto">
          <a:xfrm>
            <a:off x="359627" y="304199"/>
            <a:ext cx="2697191" cy="779760"/>
          </a:xfrm>
          <a:custGeom>
            <a:avLst/>
            <a:gdLst>
              <a:gd name="T0" fmla="*/ 6185 w 6233"/>
              <a:gd name="T1" fmla="*/ 1609 h 1800"/>
              <a:gd name="T2" fmla="*/ 6094 w 6233"/>
              <a:gd name="T3" fmla="*/ 1565 h 1800"/>
              <a:gd name="T4" fmla="*/ 6094 w 6233"/>
              <a:gd name="T5" fmla="*/ 1795 h 1800"/>
              <a:gd name="T6" fmla="*/ 6233 w 6233"/>
              <a:gd name="T7" fmla="*/ 1795 h 1800"/>
              <a:gd name="T8" fmla="*/ 6219 w 6233"/>
              <a:gd name="T9" fmla="*/ 1609 h 1800"/>
              <a:gd name="T10" fmla="*/ 5799 w 6233"/>
              <a:gd name="T11" fmla="*/ 1539 h 1800"/>
              <a:gd name="T12" fmla="*/ 5831 w 6233"/>
              <a:gd name="T13" fmla="*/ 1769 h 1800"/>
              <a:gd name="T14" fmla="*/ 5831 w 6233"/>
              <a:gd name="T15" fmla="*/ 1648 h 1800"/>
              <a:gd name="T16" fmla="*/ 5698 w 6233"/>
              <a:gd name="T17" fmla="*/ 1539 h 1800"/>
              <a:gd name="T18" fmla="*/ 5592 w 6233"/>
              <a:gd name="T19" fmla="*/ 1795 h 1800"/>
              <a:gd name="T20" fmla="*/ 5698 w 6233"/>
              <a:gd name="T21" fmla="*/ 1539 h 1800"/>
              <a:gd name="T22" fmla="*/ 5385 w 6233"/>
              <a:gd name="T23" fmla="*/ 1784 h 1800"/>
              <a:gd name="T24" fmla="*/ 5326 w 6233"/>
              <a:gd name="T25" fmla="*/ 1642 h 1800"/>
              <a:gd name="T26" fmla="*/ 5415 w 6233"/>
              <a:gd name="T27" fmla="*/ 1558 h 1800"/>
              <a:gd name="T28" fmla="*/ 5311 w 6233"/>
              <a:gd name="T29" fmla="*/ 1672 h 1800"/>
              <a:gd name="T30" fmla="*/ 5324 w 6233"/>
              <a:gd name="T31" fmla="*/ 1775 h 1800"/>
              <a:gd name="T32" fmla="*/ 4632 w 6233"/>
              <a:gd name="T33" fmla="*/ 1723 h 1800"/>
              <a:gd name="T34" fmla="*/ 4811 w 6233"/>
              <a:gd name="T35" fmla="*/ 1721 h 1800"/>
              <a:gd name="T36" fmla="*/ 4769 w 6233"/>
              <a:gd name="T37" fmla="*/ 1757 h 1800"/>
              <a:gd name="T38" fmla="*/ 4664 w 6233"/>
              <a:gd name="T39" fmla="*/ 1539 h 1800"/>
              <a:gd name="T40" fmla="*/ 4762 w 6233"/>
              <a:gd name="T41" fmla="*/ 1523 h 1800"/>
              <a:gd name="T42" fmla="*/ 4681 w 6233"/>
              <a:gd name="T43" fmla="*/ 1484 h 1800"/>
              <a:gd name="T44" fmla="*/ 4256 w 6233"/>
              <a:gd name="T45" fmla="*/ 1795 h 1800"/>
              <a:gd name="T46" fmla="*/ 4318 w 6233"/>
              <a:gd name="T47" fmla="*/ 1613 h 1800"/>
              <a:gd name="T48" fmla="*/ 4467 w 6233"/>
              <a:gd name="T49" fmla="*/ 1564 h 1800"/>
              <a:gd name="T50" fmla="*/ 4494 w 6233"/>
              <a:gd name="T51" fmla="*/ 1539 h 1800"/>
              <a:gd name="T52" fmla="*/ 4375 w 6233"/>
              <a:gd name="T53" fmla="*/ 1706 h 1800"/>
              <a:gd name="T54" fmla="*/ 0 w 6233"/>
              <a:gd name="T55" fmla="*/ 1662 h 1800"/>
              <a:gd name="T56" fmla="*/ 3798 w 6233"/>
              <a:gd name="T57" fmla="*/ 1103 h 1800"/>
              <a:gd name="T58" fmla="*/ 3798 w 6233"/>
              <a:gd name="T59" fmla="*/ 1103 h 1800"/>
              <a:gd name="T60" fmla="*/ 0 w 6233"/>
              <a:gd name="T61" fmla="*/ 727 h 1800"/>
              <a:gd name="T62" fmla="*/ 1929 w 6233"/>
              <a:gd name="T63" fmla="*/ 0 h 1800"/>
              <a:gd name="T64" fmla="*/ 2026 w 6233"/>
              <a:gd name="T65" fmla="*/ 254 h 1800"/>
              <a:gd name="T66" fmla="*/ 1685 w 6233"/>
              <a:gd name="T67" fmla="*/ 598 h 1800"/>
              <a:gd name="T68" fmla="*/ 1685 w 6233"/>
              <a:gd name="T69" fmla="*/ 598 h 1800"/>
              <a:gd name="T70" fmla="*/ 2323 w 6233"/>
              <a:gd name="T71" fmla="*/ 727 h 1800"/>
              <a:gd name="T72" fmla="*/ 4779 w 6233"/>
              <a:gd name="T73" fmla="*/ 727 h 1800"/>
              <a:gd name="T74" fmla="*/ 4609 w 6233"/>
              <a:gd name="T75" fmla="*/ 727 h 1800"/>
              <a:gd name="T76" fmla="*/ 4351 w 6233"/>
              <a:gd name="T77" fmla="*/ 973 h 1800"/>
              <a:gd name="T78" fmla="*/ 4456 w 6233"/>
              <a:gd name="T79" fmla="*/ 1356 h 1800"/>
              <a:gd name="T80" fmla="*/ 4623 w 6233"/>
              <a:gd name="T81" fmla="*/ 1356 h 1800"/>
              <a:gd name="T82" fmla="*/ 4943 w 6233"/>
              <a:gd name="T83" fmla="*/ 1795 h 1800"/>
              <a:gd name="T84" fmla="*/ 5002 w 6233"/>
              <a:gd name="T85" fmla="*/ 1638 h 1800"/>
              <a:gd name="T86" fmla="*/ 5090 w 6233"/>
              <a:gd name="T87" fmla="*/ 1539 h 1800"/>
              <a:gd name="T88" fmla="*/ 4980 w 6233"/>
              <a:gd name="T89" fmla="*/ 1539 h 1800"/>
              <a:gd name="T90" fmla="*/ 5523 w 6233"/>
              <a:gd name="T91" fmla="*/ 964 h 1800"/>
              <a:gd name="T92" fmla="*/ 5268 w 6233"/>
              <a:gd name="T93" fmla="*/ 727 h 1800"/>
              <a:gd name="T94" fmla="*/ 5093 w 6233"/>
              <a:gd name="T95" fmla="*/ 727 h 1800"/>
              <a:gd name="T96" fmla="*/ 5304 w 6233"/>
              <a:gd name="T97" fmla="*/ 1100 h 1800"/>
              <a:gd name="T98" fmla="*/ 5556 w 6233"/>
              <a:gd name="T99" fmla="*/ 1356 h 1800"/>
              <a:gd name="T100" fmla="*/ 6106 w 6233"/>
              <a:gd name="T101" fmla="*/ 1126 h 1800"/>
              <a:gd name="T102" fmla="*/ 5913 w 6233"/>
              <a:gd name="T103" fmla="*/ 1137 h 1800"/>
              <a:gd name="T104" fmla="*/ 5812 w 6233"/>
              <a:gd name="T105" fmla="*/ 1279 h 1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6233" h="1800">
                <a:moveTo>
                  <a:pt x="6094" y="1565"/>
                </a:moveTo>
                <a:lnTo>
                  <a:pt x="6125" y="1565"/>
                </a:lnTo>
                <a:cubicBezTo>
                  <a:pt x="6140" y="1565"/>
                  <a:pt x="6150" y="1567"/>
                  <a:pt x="6159" y="1570"/>
                </a:cubicBezTo>
                <a:cubicBezTo>
                  <a:pt x="6174" y="1576"/>
                  <a:pt x="6185" y="1592"/>
                  <a:pt x="6185" y="1609"/>
                </a:cubicBezTo>
                <a:cubicBezTo>
                  <a:pt x="6185" y="1626"/>
                  <a:pt x="6181" y="1639"/>
                  <a:pt x="6172" y="1647"/>
                </a:cubicBezTo>
                <a:cubicBezTo>
                  <a:pt x="6161" y="1656"/>
                  <a:pt x="6147" y="1660"/>
                  <a:pt x="6123" y="1660"/>
                </a:cubicBezTo>
                <a:lnTo>
                  <a:pt x="6094" y="1660"/>
                </a:lnTo>
                <a:lnTo>
                  <a:pt x="6094" y="1565"/>
                </a:lnTo>
                <a:close/>
                <a:moveTo>
                  <a:pt x="6124" y="1539"/>
                </a:moveTo>
                <a:lnTo>
                  <a:pt x="6062" y="1539"/>
                </a:lnTo>
                <a:lnTo>
                  <a:pt x="6062" y="1795"/>
                </a:lnTo>
                <a:lnTo>
                  <a:pt x="6094" y="1795"/>
                </a:lnTo>
                <a:lnTo>
                  <a:pt x="6094" y="1679"/>
                </a:lnTo>
                <a:cubicBezTo>
                  <a:pt x="6107" y="1680"/>
                  <a:pt x="6113" y="1683"/>
                  <a:pt x="6124" y="1696"/>
                </a:cubicBezTo>
                <a:cubicBezTo>
                  <a:pt x="6159" y="1739"/>
                  <a:pt x="6185" y="1778"/>
                  <a:pt x="6193" y="1795"/>
                </a:cubicBezTo>
                <a:lnTo>
                  <a:pt x="6233" y="1795"/>
                </a:lnTo>
                <a:cubicBezTo>
                  <a:pt x="6233" y="1795"/>
                  <a:pt x="6182" y="1723"/>
                  <a:pt x="6171" y="1708"/>
                </a:cubicBezTo>
                <a:cubicBezTo>
                  <a:pt x="6165" y="1701"/>
                  <a:pt x="6156" y="1689"/>
                  <a:pt x="6144" y="1679"/>
                </a:cubicBezTo>
                <a:lnTo>
                  <a:pt x="6148" y="1679"/>
                </a:lnTo>
                <a:cubicBezTo>
                  <a:pt x="6191" y="1679"/>
                  <a:pt x="6219" y="1651"/>
                  <a:pt x="6219" y="1609"/>
                </a:cubicBezTo>
                <a:cubicBezTo>
                  <a:pt x="6219" y="1582"/>
                  <a:pt x="6205" y="1565"/>
                  <a:pt x="6193" y="1555"/>
                </a:cubicBezTo>
                <a:cubicBezTo>
                  <a:pt x="6180" y="1545"/>
                  <a:pt x="6161" y="1539"/>
                  <a:pt x="6124" y="1539"/>
                </a:cubicBezTo>
                <a:close/>
                <a:moveTo>
                  <a:pt x="5946" y="1539"/>
                </a:moveTo>
                <a:lnTo>
                  <a:pt x="5799" y="1539"/>
                </a:lnTo>
                <a:lnTo>
                  <a:pt x="5799" y="1795"/>
                </a:lnTo>
                <a:lnTo>
                  <a:pt x="5950" y="1795"/>
                </a:lnTo>
                <a:lnTo>
                  <a:pt x="5950" y="1769"/>
                </a:lnTo>
                <a:lnTo>
                  <a:pt x="5831" y="1769"/>
                </a:lnTo>
                <a:lnTo>
                  <a:pt x="5831" y="1675"/>
                </a:lnTo>
                <a:lnTo>
                  <a:pt x="5924" y="1675"/>
                </a:lnTo>
                <a:lnTo>
                  <a:pt x="5924" y="1648"/>
                </a:lnTo>
                <a:lnTo>
                  <a:pt x="5831" y="1648"/>
                </a:lnTo>
                <a:lnTo>
                  <a:pt x="5831" y="1564"/>
                </a:lnTo>
                <a:lnTo>
                  <a:pt x="5942" y="1564"/>
                </a:lnTo>
                <a:lnTo>
                  <a:pt x="5946" y="1539"/>
                </a:lnTo>
                <a:close/>
                <a:moveTo>
                  <a:pt x="5698" y="1539"/>
                </a:moveTo>
                <a:lnTo>
                  <a:pt x="5519" y="1539"/>
                </a:lnTo>
                <a:lnTo>
                  <a:pt x="5519" y="1565"/>
                </a:lnTo>
                <a:lnTo>
                  <a:pt x="5592" y="1565"/>
                </a:lnTo>
                <a:lnTo>
                  <a:pt x="5592" y="1795"/>
                </a:lnTo>
                <a:lnTo>
                  <a:pt x="5623" y="1795"/>
                </a:lnTo>
                <a:lnTo>
                  <a:pt x="5623" y="1565"/>
                </a:lnTo>
                <a:lnTo>
                  <a:pt x="5696" y="1565"/>
                </a:lnTo>
                <a:lnTo>
                  <a:pt x="5698" y="1539"/>
                </a:lnTo>
                <a:close/>
                <a:moveTo>
                  <a:pt x="5252" y="1753"/>
                </a:moveTo>
                <a:lnTo>
                  <a:pt x="5238" y="1777"/>
                </a:lnTo>
                <a:cubicBezTo>
                  <a:pt x="5264" y="1793"/>
                  <a:pt x="5292" y="1800"/>
                  <a:pt x="5324" y="1800"/>
                </a:cubicBezTo>
                <a:cubicBezTo>
                  <a:pt x="5349" y="1800"/>
                  <a:pt x="5367" y="1795"/>
                  <a:pt x="5385" y="1784"/>
                </a:cubicBezTo>
                <a:cubicBezTo>
                  <a:pt x="5409" y="1770"/>
                  <a:pt x="5422" y="1747"/>
                  <a:pt x="5422" y="1723"/>
                </a:cubicBezTo>
                <a:cubicBezTo>
                  <a:pt x="5422" y="1707"/>
                  <a:pt x="5415" y="1689"/>
                  <a:pt x="5404" y="1678"/>
                </a:cubicBezTo>
                <a:cubicBezTo>
                  <a:pt x="5393" y="1666"/>
                  <a:pt x="5381" y="1659"/>
                  <a:pt x="5357" y="1652"/>
                </a:cubicBezTo>
                <a:lnTo>
                  <a:pt x="5326" y="1642"/>
                </a:lnTo>
                <a:cubicBezTo>
                  <a:pt x="5294" y="1633"/>
                  <a:pt x="5281" y="1621"/>
                  <a:pt x="5281" y="1601"/>
                </a:cubicBezTo>
                <a:cubicBezTo>
                  <a:pt x="5281" y="1574"/>
                  <a:pt x="5301" y="1558"/>
                  <a:pt x="5335" y="1558"/>
                </a:cubicBezTo>
                <a:cubicBezTo>
                  <a:pt x="5358" y="1558"/>
                  <a:pt x="5375" y="1564"/>
                  <a:pt x="5400" y="1580"/>
                </a:cubicBezTo>
                <a:lnTo>
                  <a:pt x="5415" y="1558"/>
                </a:lnTo>
                <a:cubicBezTo>
                  <a:pt x="5389" y="1542"/>
                  <a:pt x="5362" y="1533"/>
                  <a:pt x="5333" y="1533"/>
                </a:cubicBezTo>
                <a:cubicBezTo>
                  <a:pt x="5281" y="1533"/>
                  <a:pt x="5246" y="1563"/>
                  <a:pt x="5246" y="1607"/>
                </a:cubicBezTo>
                <a:cubicBezTo>
                  <a:pt x="5246" y="1623"/>
                  <a:pt x="5252" y="1638"/>
                  <a:pt x="5263" y="1649"/>
                </a:cubicBezTo>
                <a:cubicBezTo>
                  <a:pt x="5274" y="1659"/>
                  <a:pt x="5286" y="1664"/>
                  <a:pt x="5311" y="1672"/>
                </a:cubicBezTo>
                <a:lnTo>
                  <a:pt x="5338" y="1679"/>
                </a:lnTo>
                <a:cubicBezTo>
                  <a:pt x="5371" y="1689"/>
                  <a:pt x="5386" y="1704"/>
                  <a:pt x="5386" y="1727"/>
                </a:cubicBezTo>
                <a:cubicBezTo>
                  <a:pt x="5386" y="1742"/>
                  <a:pt x="5380" y="1754"/>
                  <a:pt x="5367" y="1764"/>
                </a:cubicBezTo>
                <a:cubicBezTo>
                  <a:pt x="5356" y="1772"/>
                  <a:pt x="5345" y="1775"/>
                  <a:pt x="5324" y="1775"/>
                </a:cubicBezTo>
                <a:cubicBezTo>
                  <a:pt x="5297" y="1775"/>
                  <a:pt x="5274" y="1768"/>
                  <a:pt x="5252" y="1753"/>
                </a:cubicBezTo>
                <a:close/>
                <a:moveTo>
                  <a:pt x="4664" y="1539"/>
                </a:moveTo>
                <a:lnTo>
                  <a:pt x="4632" y="1539"/>
                </a:lnTo>
                <a:lnTo>
                  <a:pt x="4632" y="1723"/>
                </a:lnTo>
                <a:cubicBezTo>
                  <a:pt x="4632" y="1734"/>
                  <a:pt x="4633" y="1750"/>
                  <a:pt x="4640" y="1763"/>
                </a:cubicBezTo>
                <a:cubicBezTo>
                  <a:pt x="4655" y="1788"/>
                  <a:pt x="4678" y="1800"/>
                  <a:pt x="4720" y="1800"/>
                </a:cubicBezTo>
                <a:cubicBezTo>
                  <a:pt x="4753" y="1800"/>
                  <a:pt x="4774" y="1793"/>
                  <a:pt x="4791" y="1780"/>
                </a:cubicBezTo>
                <a:cubicBezTo>
                  <a:pt x="4807" y="1767"/>
                  <a:pt x="4811" y="1752"/>
                  <a:pt x="4811" y="1721"/>
                </a:cubicBezTo>
                <a:lnTo>
                  <a:pt x="4811" y="1539"/>
                </a:lnTo>
                <a:lnTo>
                  <a:pt x="4779" y="1539"/>
                </a:lnTo>
                <a:lnTo>
                  <a:pt x="4779" y="1717"/>
                </a:lnTo>
                <a:cubicBezTo>
                  <a:pt x="4779" y="1735"/>
                  <a:pt x="4778" y="1746"/>
                  <a:pt x="4769" y="1757"/>
                </a:cubicBezTo>
                <a:cubicBezTo>
                  <a:pt x="4761" y="1768"/>
                  <a:pt x="4744" y="1774"/>
                  <a:pt x="4722" y="1774"/>
                </a:cubicBezTo>
                <a:cubicBezTo>
                  <a:pt x="4689" y="1774"/>
                  <a:pt x="4674" y="1760"/>
                  <a:pt x="4669" y="1749"/>
                </a:cubicBezTo>
                <a:cubicBezTo>
                  <a:pt x="4665" y="1741"/>
                  <a:pt x="4664" y="1724"/>
                  <a:pt x="4664" y="1712"/>
                </a:cubicBezTo>
                <a:lnTo>
                  <a:pt x="4664" y="1539"/>
                </a:lnTo>
                <a:close/>
                <a:moveTo>
                  <a:pt x="4782" y="1503"/>
                </a:moveTo>
                <a:cubicBezTo>
                  <a:pt x="4782" y="1493"/>
                  <a:pt x="4773" y="1484"/>
                  <a:pt x="4762" y="1484"/>
                </a:cubicBezTo>
                <a:cubicBezTo>
                  <a:pt x="4751" y="1484"/>
                  <a:pt x="4742" y="1493"/>
                  <a:pt x="4742" y="1503"/>
                </a:cubicBezTo>
                <a:cubicBezTo>
                  <a:pt x="4742" y="1514"/>
                  <a:pt x="4751" y="1523"/>
                  <a:pt x="4762" y="1523"/>
                </a:cubicBezTo>
                <a:cubicBezTo>
                  <a:pt x="4774" y="1523"/>
                  <a:pt x="4782" y="1514"/>
                  <a:pt x="4782" y="1503"/>
                </a:cubicBezTo>
                <a:close/>
                <a:moveTo>
                  <a:pt x="4681" y="1523"/>
                </a:moveTo>
                <a:cubicBezTo>
                  <a:pt x="4693" y="1523"/>
                  <a:pt x="4701" y="1514"/>
                  <a:pt x="4701" y="1503"/>
                </a:cubicBezTo>
                <a:cubicBezTo>
                  <a:pt x="4701" y="1493"/>
                  <a:pt x="4692" y="1484"/>
                  <a:pt x="4681" y="1484"/>
                </a:cubicBezTo>
                <a:cubicBezTo>
                  <a:pt x="4670" y="1484"/>
                  <a:pt x="4661" y="1493"/>
                  <a:pt x="4661" y="1503"/>
                </a:cubicBezTo>
                <a:cubicBezTo>
                  <a:pt x="4661" y="1514"/>
                  <a:pt x="4670" y="1523"/>
                  <a:pt x="4681" y="1523"/>
                </a:cubicBezTo>
                <a:close/>
                <a:moveTo>
                  <a:pt x="4279" y="1539"/>
                </a:moveTo>
                <a:lnTo>
                  <a:pt x="4256" y="1795"/>
                </a:lnTo>
                <a:lnTo>
                  <a:pt x="4287" y="1795"/>
                </a:lnTo>
                <a:lnTo>
                  <a:pt x="4302" y="1613"/>
                </a:lnTo>
                <a:cubicBezTo>
                  <a:pt x="4303" y="1598"/>
                  <a:pt x="4304" y="1568"/>
                  <a:pt x="4305" y="1564"/>
                </a:cubicBezTo>
                <a:cubicBezTo>
                  <a:pt x="4306" y="1569"/>
                  <a:pt x="4310" y="1588"/>
                  <a:pt x="4318" y="1613"/>
                </a:cubicBezTo>
                <a:lnTo>
                  <a:pt x="4372" y="1795"/>
                </a:lnTo>
                <a:lnTo>
                  <a:pt x="4399" y="1795"/>
                </a:lnTo>
                <a:lnTo>
                  <a:pt x="4457" y="1604"/>
                </a:lnTo>
                <a:cubicBezTo>
                  <a:pt x="4462" y="1588"/>
                  <a:pt x="4467" y="1566"/>
                  <a:pt x="4467" y="1564"/>
                </a:cubicBezTo>
                <a:cubicBezTo>
                  <a:pt x="4467" y="1566"/>
                  <a:pt x="4468" y="1591"/>
                  <a:pt x="4469" y="1607"/>
                </a:cubicBezTo>
                <a:lnTo>
                  <a:pt x="4485" y="1795"/>
                </a:lnTo>
                <a:lnTo>
                  <a:pt x="4517" y="1795"/>
                </a:lnTo>
                <a:lnTo>
                  <a:pt x="4494" y="1539"/>
                </a:lnTo>
                <a:lnTo>
                  <a:pt x="4447" y="1539"/>
                </a:lnTo>
                <a:lnTo>
                  <a:pt x="4396" y="1709"/>
                </a:lnTo>
                <a:cubicBezTo>
                  <a:pt x="4390" y="1729"/>
                  <a:pt x="4387" y="1749"/>
                  <a:pt x="4386" y="1751"/>
                </a:cubicBezTo>
                <a:cubicBezTo>
                  <a:pt x="4386" y="1748"/>
                  <a:pt x="4382" y="1730"/>
                  <a:pt x="4375" y="1706"/>
                </a:cubicBezTo>
                <a:lnTo>
                  <a:pt x="4326" y="1539"/>
                </a:lnTo>
                <a:lnTo>
                  <a:pt x="4279" y="1539"/>
                </a:lnTo>
                <a:close/>
                <a:moveTo>
                  <a:pt x="3798" y="1662"/>
                </a:moveTo>
                <a:lnTo>
                  <a:pt x="0" y="1662"/>
                </a:lnTo>
                <a:lnTo>
                  <a:pt x="0" y="1796"/>
                </a:lnTo>
                <a:lnTo>
                  <a:pt x="3798" y="1796"/>
                </a:lnTo>
                <a:lnTo>
                  <a:pt x="3798" y="1662"/>
                </a:lnTo>
                <a:close/>
                <a:moveTo>
                  <a:pt x="3798" y="1103"/>
                </a:moveTo>
                <a:lnTo>
                  <a:pt x="0" y="1103"/>
                </a:lnTo>
                <a:lnTo>
                  <a:pt x="0" y="1166"/>
                </a:lnTo>
                <a:lnTo>
                  <a:pt x="3798" y="1166"/>
                </a:lnTo>
                <a:lnTo>
                  <a:pt x="3798" y="1103"/>
                </a:lnTo>
                <a:close/>
                <a:moveTo>
                  <a:pt x="0" y="862"/>
                </a:moveTo>
                <a:lnTo>
                  <a:pt x="1475" y="862"/>
                </a:lnTo>
                <a:lnTo>
                  <a:pt x="1475" y="727"/>
                </a:lnTo>
                <a:lnTo>
                  <a:pt x="0" y="727"/>
                </a:lnTo>
                <a:lnTo>
                  <a:pt x="0" y="862"/>
                </a:lnTo>
                <a:close/>
                <a:moveTo>
                  <a:pt x="1869" y="135"/>
                </a:moveTo>
                <a:lnTo>
                  <a:pt x="1929" y="135"/>
                </a:lnTo>
                <a:lnTo>
                  <a:pt x="1929" y="0"/>
                </a:lnTo>
                <a:lnTo>
                  <a:pt x="1869" y="0"/>
                </a:lnTo>
                <a:lnTo>
                  <a:pt x="1869" y="135"/>
                </a:lnTo>
                <a:close/>
                <a:moveTo>
                  <a:pt x="1772" y="254"/>
                </a:moveTo>
                <a:lnTo>
                  <a:pt x="2026" y="254"/>
                </a:lnTo>
                <a:lnTo>
                  <a:pt x="2026" y="191"/>
                </a:lnTo>
                <a:lnTo>
                  <a:pt x="1772" y="191"/>
                </a:lnTo>
                <a:lnTo>
                  <a:pt x="1772" y="254"/>
                </a:lnTo>
                <a:close/>
                <a:moveTo>
                  <a:pt x="1685" y="598"/>
                </a:moveTo>
                <a:lnTo>
                  <a:pt x="2116" y="598"/>
                </a:lnTo>
                <a:lnTo>
                  <a:pt x="2116" y="463"/>
                </a:lnTo>
                <a:lnTo>
                  <a:pt x="1685" y="463"/>
                </a:lnTo>
                <a:lnTo>
                  <a:pt x="1685" y="598"/>
                </a:lnTo>
                <a:close/>
                <a:moveTo>
                  <a:pt x="2323" y="862"/>
                </a:moveTo>
                <a:lnTo>
                  <a:pt x="3799" y="862"/>
                </a:lnTo>
                <a:lnTo>
                  <a:pt x="3799" y="727"/>
                </a:lnTo>
                <a:lnTo>
                  <a:pt x="2323" y="727"/>
                </a:lnTo>
                <a:lnTo>
                  <a:pt x="2323" y="862"/>
                </a:lnTo>
                <a:close/>
                <a:moveTo>
                  <a:pt x="4760" y="1356"/>
                </a:moveTo>
                <a:lnTo>
                  <a:pt x="4911" y="727"/>
                </a:lnTo>
                <a:lnTo>
                  <a:pt x="4779" y="727"/>
                </a:lnTo>
                <a:lnTo>
                  <a:pt x="4728" y="964"/>
                </a:lnTo>
                <a:cubicBezTo>
                  <a:pt x="4714" y="1025"/>
                  <a:pt x="4696" y="1151"/>
                  <a:pt x="4694" y="1171"/>
                </a:cubicBezTo>
                <a:cubicBezTo>
                  <a:pt x="4694" y="1171"/>
                  <a:pt x="4679" y="1064"/>
                  <a:pt x="4667" y="1006"/>
                </a:cubicBezTo>
                <a:lnTo>
                  <a:pt x="4609" y="727"/>
                </a:lnTo>
                <a:lnTo>
                  <a:pt x="4472" y="727"/>
                </a:lnTo>
                <a:lnTo>
                  <a:pt x="4417" y="979"/>
                </a:lnTo>
                <a:cubicBezTo>
                  <a:pt x="4398" y="1065"/>
                  <a:pt x="4387" y="1154"/>
                  <a:pt x="4384" y="1178"/>
                </a:cubicBezTo>
                <a:cubicBezTo>
                  <a:pt x="4384" y="1178"/>
                  <a:pt x="4376" y="1089"/>
                  <a:pt x="4351" y="973"/>
                </a:cubicBezTo>
                <a:lnTo>
                  <a:pt x="4297" y="727"/>
                </a:lnTo>
                <a:lnTo>
                  <a:pt x="4164" y="727"/>
                </a:lnTo>
                <a:lnTo>
                  <a:pt x="4313" y="1356"/>
                </a:lnTo>
                <a:lnTo>
                  <a:pt x="4456" y="1356"/>
                </a:lnTo>
                <a:lnTo>
                  <a:pt x="4508" y="1100"/>
                </a:lnTo>
                <a:cubicBezTo>
                  <a:pt x="4525" y="1018"/>
                  <a:pt x="4536" y="939"/>
                  <a:pt x="4538" y="924"/>
                </a:cubicBezTo>
                <a:cubicBezTo>
                  <a:pt x="4539" y="947"/>
                  <a:pt x="4549" y="1024"/>
                  <a:pt x="4567" y="1102"/>
                </a:cubicBezTo>
                <a:lnTo>
                  <a:pt x="4623" y="1356"/>
                </a:lnTo>
                <a:lnTo>
                  <a:pt x="4760" y="1356"/>
                </a:lnTo>
                <a:close/>
                <a:moveTo>
                  <a:pt x="4980" y="1539"/>
                </a:moveTo>
                <a:lnTo>
                  <a:pt x="4943" y="1539"/>
                </a:lnTo>
                <a:lnTo>
                  <a:pt x="4943" y="1795"/>
                </a:lnTo>
                <a:lnTo>
                  <a:pt x="4976" y="1795"/>
                </a:lnTo>
                <a:lnTo>
                  <a:pt x="4975" y="1647"/>
                </a:lnTo>
                <a:cubicBezTo>
                  <a:pt x="4974" y="1613"/>
                  <a:pt x="4971" y="1577"/>
                  <a:pt x="4971" y="1577"/>
                </a:cubicBezTo>
                <a:cubicBezTo>
                  <a:pt x="4971" y="1577"/>
                  <a:pt x="4985" y="1607"/>
                  <a:pt x="5002" y="1638"/>
                </a:cubicBezTo>
                <a:lnTo>
                  <a:pt x="5088" y="1795"/>
                </a:lnTo>
                <a:lnTo>
                  <a:pt x="5122" y="1795"/>
                </a:lnTo>
                <a:lnTo>
                  <a:pt x="5122" y="1539"/>
                </a:lnTo>
                <a:lnTo>
                  <a:pt x="5090" y="1539"/>
                </a:lnTo>
                <a:lnTo>
                  <a:pt x="5092" y="1678"/>
                </a:lnTo>
                <a:cubicBezTo>
                  <a:pt x="5092" y="1715"/>
                  <a:pt x="5095" y="1756"/>
                  <a:pt x="5095" y="1756"/>
                </a:cubicBezTo>
                <a:cubicBezTo>
                  <a:pt x="5094" y="1754"/>
                  <a:pt x="5083" y="1727"/>
                  <a:pt x="5070" y="1703"/>
                </a:cubicBezTo>
                <a:lnTo>
                  <a:pt x="4980" y="1539"/>
                </a:lnTo>
                <a:close/>
                <a:moveTo>
                  <a:pt x="5556" y="1356"/>
                </a:moveTo>
                <a:lnTo>
                  <a:pt x="5706" y="727"/>
                </a:lnTo>
                <a:lnTo>
                  <a:pt x="5575" y="727"/>
                </a:lnTo>
                <a:lnTo>
                  <a:pt x="5523" y="964"/>
                </a:lnTo>
                <a:cubicBezTo>
                  <a:pt x="5510" y="1025"/>
                  <a:pt x="5491" y="1151"/>
                  <a:pt x="5489" y="1171"/>
                </a:cubicBezTo>
                <a:cubicBezTo>
                  <a:pt x="5489" y="1171"/>
                  <a:pt x="5474" y="1064"/>
                  <a:pt x="5462" y="1006"/>
                </a:cubicBezTo>
                <a:lnTo>
                  <a:pt x="5405" y="727"/>
                </a:lnTo>
                <a:lnTo>
                  <a:pt x="5268" y="727"/>
                </a:lnTo>
                <a:lnTo>
                  <a:pt x="5212" y="979"/>
                </a:lnTo>
                <a:cubicBezTo>
                  <a:pt x="5193" y="1065"/>
                  <a:pt x="5182" y="1154"/>
                  <a:pt x="5180" y="1178"/>
                </a:cubicBezTo>
                <a:cubicBezTo>
                  <a:pt x="5180" y="1178"/>
                  <a:pt x="5172" y="1089"/>
                  <a:pt x="5147" y="973"/>
                </a:cubicBezTo>
                <a:lnTo>
                  <a:pt x="5093" y="727"/>
                </a:lnTo>
                <a:lnTo>
                  <a:pt x="4960" y="727"/>
                </a:lnTo>
                <a:lnTo>
                  <a:pt x="5109" y="1356"/>
                </a:lnTo>
                <a:lnTo>
                  <a:pt x="5252" y="1356"/>
                </a:lnTo>
                <a:lnTo>
                  <a:pt x="5304" y="1100"/>
                </a:lnTo>
                <a:cubicBezTo>
                  <a:pt x="5321" y="1018"/>
                  <a:pt x="5331" y="939"/>
                  <a:pt x="5333" y="924"/>
                </a:cubicBezTo>
                <a:cubicBezTo>
                  <a:pt x="5335" y="947"/>
                  <a:pt x="5345" y="1024"/>
                  <a:pt x="5363" y="1102"/>
                </a:cubicBezTo>
                <a:lnTo>
                  <a:pt x="5418" y="1356"/>
                </a:lnTo>
                <a:lnTo>
                  <a:pt x="5556" y="1356"/>
                </a:lnTo>
                <a:close/>
                <a:moveTo>
                  <a:pt x="6233" y="1147"/>
                </a:moveTo>
                <a:lnTo>
                  <a:pt x="6233" y="727"/>
                </a:lnTo>
                <a:lnTo>
                  <a:pt x="6106" y="727"/>
                </a:lnTo>
                <a:lnTo>
                  <a:pt x="6106" y="1126"/>
                </a:lnTo>
                <a:cubicBezTo>
                  <a:pt x="6106" y="1159"/>
                  <a:pt x="6106" y="1168"/>
                  <a:pt x="6104" y="1182"/>
                </a:cubicBezTo>
                <a:cubicBezTo>
                  <a:pt x="6099" y="1228"/>
                  <a:pt x="6064" y="1255"/>
                  <a:pt x="6009" y="1255"/>
                </a:cubicBezTo>
                <a:cubicBezTo>
                  <a:pt x="5968" y="1255"/>
                  <a:pt x="5938" y="1239"/>
                  <a:pt x="5924" y="1211"/>
                </a:cubicBezTo>
                <a:cubicBezTo>
                  <a:pt x="5917" y="1198"/>
                  <a:pt x="5913" y="1176"/>
                  <a:pt x="5913" y="1137"/>
                </a:cubicBezTo>
                <a:lnTo>
                  <a:pt x="5913" y="727"/>
                </a:lnTo>
                <a:lnTo>
                  <a:pt x="5785" y="727"/>
                </a:lnTo>
                <a:lnTo>
                  <a:pt x="5785" y="1161"/>
                </a:lnTo>
                <a:cubicBezTo>
                  <a:pt x="5785" y="1221"/>
                  <a:pt x="5791" y="1246"/>
                  <a:pt x="5812" y="1279"/>
                </a:cubicBezTo>
                <a:cubicBezTo>
                  <a:pt x="5847" y="1333"/>
                  <a:pt x="5917" y="1362"/>
                  <a:pt x="6012" y="1362"/>
                </a:cubicBezTo>
                <a:cubicBezTo>
                  <a:pt x="6146" y="1362"/>
                  <a:pt x="6207" y="1294"/>
                  <a:pt x="6224" y="1245"/>
                </a:cubicBezTo>
                <a:cubicBezTo>
                  <a:pt x="6233" y="1218"/>
                  <a:pt x="6233" y="1206"/>
                  <a:pt x="6233" y="1147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51382" tIns="25691" rIns="51382" bIns="25691" numCol="1" anchor="t" anchorCtr="0" compatLnSpc="1">
            <a:prstTxWarp prst="textNoShape">
              <a:avLst/>
            </a:prstTxWarp>
          </a:bodyPr>
          <a:lstStyle/>
          <a:p>
            <a:endParaRPr lang="de-DE" sz="1350" dirty="0"/>
          </a:p>
        </p:txBody>
      </p:sp>
      <p:sp>
        <p:nvSpPr>
          <p:cNvPr id="66" name="wissen.leben"/>
          <p:cNvSpPr>
            <a:spLocks noEditPoints="1"/>
          </p:cNvSpPr>
          <p:nvPr userDrawn="1"/>
        </p:nvSpPr>
        <p:spPr bwMode="auto">
          <a:xfrm>
            <a:off x="358401" y="6323606"/>
            <a:ext cx="1348595" cy="180000"/>
          </a:xfrm>
          <a:custGeom>
            <a:avLst/>
            <a:gdLst>
              <a:gd name="T0" fmla="*/ 3663 w 3750"/>
              <a:gd name="T1" fmla="*/ 144 h 500"/>
              <a:gd name="T2" fmla="*/ 3483 w 3750"/>
              <a:gd name="T3" fmla="*/ 162 h 500"/>
              <a:gd name="T4" fmla="*/ 3567 w 3750"/>
              <a:gd name="T5" fmla="*/ 486 h 500"/>
              <a:gd name="T6" fmla="*/ 3678 w 3750"/>
              <a:gd name="T7" fmla="*/ 265 h 500"/>
              <a:gd name="T8" fmla="*/ 3339 w 3750"/>
              <a:gd name="T9" fmla="*/ 286 h 500"/>
              <a:gd name="T10" fmla="*/ 3339 w 3750"/>
              <a:gd name="T11" fmla="*/ 286 h 500"/>
              <a:gd name="T12" fmla="*/ 3371 w 3750"/>
              <a:gd name="T13" fmla="*/ 179 h 500"/>
              <a:gd name="T14" fmla="*/ 3136 w 3750"/>
              <a:gd name="T15" fmla="*/ 320 h 500"/>
              <a:gd name="T16" fmla="*/ 3381 w 3750"/>
              <a:gd name="T17" fmla="*/ 406 h 500"/>
              <a:gd name="T18" fmla="*/ 3215 w 3750"/>
              <a:gd name="T19" fmla="*/ 339 h 500"/>
              <a:gd name="T20" fmla="*/ 2921 w 3750"/>
              <a:gd name="T21" fmla="*/ 431 h 500"/>
              <a:gd name="T22" fmla="*/ 2922 w 3750"/>
              <a:gd name="T23" fmla="*/ 206 h 500"/>
              <a:gd name="T24" fmla="*/ 2938 w 3750"/>
              <a:gd name="T25" fmla="*/ 144 h 500"/>
              <a:gd name="T26" fmla="*/ 2858 w 3750"/>
              <a:gd name="T27" fmla="*/ 144 h 500"/>
              <a:gd name="T28" fmla="*/ 2777 w 3750"/>
              <a:gd name="T29" fmla="*/ 16 h 500"/>
              <a:gd name="T30" fmla="*/ 2777 w 3750"/>
              <a:gd name="T31" fmla="*/ 486 h 500"/>
              <a:gd name="T32" fmla="*/ 2934 w 3750"/>
              <a:gd name="T33" fmla="*/ 493 h 500"/>
              <a:gd name="T34" fmla="*/ 2506 w 3750"/>
              <a:gd name="T35" fmla="*/ 286 h 500"/>
              <a:gd name="T36" fmla="*/ 2705 w 3750"/>
              <a:gd name="T37" fmla="*/ 339 h 500"/>
              <a:gd name="T38" fmla="*/ 2569 w 3750"/>
              <a:gd name="T39" fmla="*/ 144 h 500"/>
              <a:gd name="T40" fmla="*/ 2579 w 3750"/>
              <a:gd name="T41" fmla="*/ 495 h 500"/>
              <a:gd name="T42" fmla="*/ 2588 w 3750"/>
              <a:gd name="T43" fmla="*/ 439 h 500"/>
              <a:gd name="T44" fmla="*/ 2705 w 3750"/>
              <a:gd name="T45" fmla="*/ 339 h 500"/>
              <a:gd name="T46" fmla="*/ 2348 w 3750"/>
              <a:gd name="T47" fmla="*/ 435 h 500"/>
              <a:gd name="T48" fmla="*/ 2334 w 3750"/>
              <a:gd name="T49" fmla="*/ 1 h 500"/>
              <a:gd name="T50" fmla="*/ 2266 w 3750"/>
              <a:gd name="T51" fmla="*/ 399 h 500"/>
              <a:gd name="T52" fmla="*/ 2168 w 3750"/>
              <a:gd name="T53" fmla="*/ 425 h 500"/>
              <a:gd name="T54" fmla="*/ 2098 w 3750"/>
              <a:gd name="T55" fmla="*/ 500 h 500"/>
              <a:gd name="T56" fmla="*/ 1909 w 3750"/>
              <a:gd name="T57" fmla="*/ 237 h 500"/>
              <a:gd name="T58" fmla="*/ 1708 w 3750"/>
              <a:gd name="T59" fmla="*/ 143 h 500"/>
              <a:gd name="T60" fmla="*/ 1654 w 3750"/>
              <a:gd name="T61" fmla="*/ 486 h 500"/>
              <a:gd name="T62" fmla="*/ 1799 w 3750"/>
              <a:gd name="T63" fmla="*/ 206 h 500"/>
              <a:gd name="T64" fmla="*/ 1909 w 3750"/>
              <a:gd name="T65" fmla="*/ 486 h 500"/>
              <a:gd name="T66" fmla="*/ 1438 w 3750"/>
              <a:gd name="T67" fmla="*/ 199 h 500"/>
              <a:gd name="T68" fmla="*/ 1574 w 3750"/>
              <a:gd name="T69" fmla="*/ 324 h 500"/>
              <a:gd name="T70" fmla="*/ 1336 w 3750"/>
              <a:gd name="T71" fmla="*/ 189 h 500"/>
              <a:gd name="T72" fmla="*/ 1568 w 3750"/>
              <a:gd name="T73" fmla="*/ 451 h 500"/>
              <a:gd name="T74" fmla="*/ 1374 w 3750"/>
              <a:gd name="T75" fmla="*/ 344 h 500"/>
              <a:gd name="T76" fmla="*/ 1233 w 3750"/>
              <a:gd name="T77" fmla="*/ 382 h 500"/>
              <a:gd name="T78" fmla="*/ 1062 w 3750"/>
              <a:gd name="T79" fmla="*/ 239 h 500"/>
              <a:gd name="T80" fmla="*/ 1218 w 3750"/>
              <a:gd name="T81" fmla="*/ 170 h 500"/>
              <a:gd name="T82" fmla="*/ 1063 w 3750"/>
              <a:gd name="T83" fmla="*/ 339 h 500"/>
              <a:gd name="T84" fmla="*/ 1104 w 3750"/>
              <a:gd name="T85" fmla="*/ 441 h 500"/>
              <a:gd name="T86" fmla="*/ 1098 w 3750"/>
              <a:gd name="T87" fmla="*/ 495 h 500"/>
              <a:gd name="T88" fmla="*/ 836 w 3750"/>
              <a:gd name="T89" fmla="*/ 289 h 500"/>
              <a:gd name="T90" fmla="*/ 800 w 3750"/>
              <a:gd name="T91" fmla="*/ 196 h 500"/>
              <a:gd name="T92" fmla="*/ 796 w 3750"/>
              <a:gd name="T93" fmla="*/ 141 h 500"/>
              <a:gd name="T94" fmla="*/ 792 w 3750"/>
              <a:gd name="T95" fmla="*/ 348 h 500"/>
              <a:gd name="T96" fmla="*/ 683 w 3750"/>
              <a:gd name="T97" fmla="*/ 406 h 500"/>
              <a:gd name="T98" fmla="*/ 921 w 3750"/>
              <a:gd name="T99" fmla="*/ 382 h 500"/>
              <a:gd name="T100" fmla="*/ 500 w 3750"/>
              <a:gd name="T101" fmla="*/ 55 h 500"/>
              <a:gd name="T102" fmla="*/ 584 w 3750"/>
              <a:gd name="T103" fmla="*/ 486 h 500"/>
              <a:gd name="T104" fmla="*/ 511 w 3750"/>
              <a:gd name="T105" fmla="*/ 486 h 500"/>
              <a:gd name="T106" fmla="*/ 372 w 3750"/>
              <a:gd name="T107" fmla="*/ 152 h 500"/>
              <a:gd name="T108" fmla="*/ 319 w 3750"/>
              <a:gd name="T109" fmla="*/ 398 h 500"/>
              <a:gd name="T110" fmla="*/ 189 w 3750"/>
              <a:gd name="T111" fmla="*/ 152 h 500"/>
              <a:gd name="T112" fmla="*/ 125 w 3750"/>
              <a:gd name="T113" fmla="*/ 396 h 500"/>
              <a:gd name="T114" fmla="*/ 0 w 3750"/>
              <a:gd name="T115" fmla="*/ 157 h 500"/>
              <a:gd name="T116" fmla="*/ 199 w 3750"/>
              <a:gd name="T117" fmla="*/ 337 h 500"/>
              <a:gd name="T118" fmla="*/ 244 w 3750"/>
              <a:gd name="T119" fmla="*/ 334 h 500"/>
              <a:gd name="T120" fmla="*/ 447 w 3750"/>
              <a:gd name="T121" fmla="*/ 152 h 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750" h="500">
                <a:moveTo>
                  <a:pt x="3750" y="486"/>
                </a:moveTo>
                <a:lnTo>
                  <a:pt x="3750" y="237"/>
                </a:lnTo>
                <a:cubicBezTo>
                  <a:pt x="3750" y="175"/>
                  <a:pt x="3714" y="144"/>
                  <a:pt x="3663" y="144"/>
                </a:cubicBezTo>
                <a:cubicBezTo>
                  <a:pt x="3627" y="144"/>
                  <a:pt x="3596" y="160"/>
                  <a:pt x="3561" y="191"/>
                </a:cubicBezTo>
                <a:cubicBezTo>
                  <a:pt x="3561" y="173"/>
                  <a:pt x="3557" y="158"/>
                  <a:pt x="3549" y="143"/>
                </a:cubicBezTo>
                <a:lnTo>
                  <a:pt x="3483" y="162"/>
                </a:lnTo>
                <a:cubicBezTo>
                  <a:pt x="3492" y="185"/>
                  <a:pt x="3495" y="206"/>
                  <a:pt x="3495" y="241"/>
                </a:cubicBezTo>
                <a:lnTo>
                  <a:pt x="3495" y="486"/>
                </a:lnTo>
                <a:lnTo>
                  <a:pt x="3567" y="486"/>
                </a:lnTo>
                <a:lnTo>
                  <a:pt x="3567" y="244"/>
                </a:lnTo>
                <a:cubicBezTo>
                  <a:pt x="3588" y="222"/>
                  <a:pt x="3619" y="206"/>
                  <a:pt x="3640" y="206"/>
                </a:cubicBezTo>
                <a:cubicBezTo>
                  <a:pt x="3668" y="206"/>
                  <a:pt x="3678" y="219"/>
                  <a:pt x="3678" y="265"/>
                </a:cubicBezTo>
                <a:lnTo>
                  <a:pt x="3678" y="486"/>
                </a:lnTo>
                <a:lnTo>
                  <a:pt x="3750" y="486"/>
                </a:lnTo>
                <a:close/>
                <a:moveTo>
                  <a:pt x="3339" y="286"/>
                </a:moveTo>
                <a:lnTo>
                  <a:pt x="3216" y="286"/>
                </a:lnTo>
                <a:cubicBezTo>
                  <a:pt x="3216" y="232"/>
                  <a:pt x="3238" y="199"/>
                  <a:pt x="3279" y="199"/>
                </a:cubicBezTo>
                <a:cubicBezTo>
                  <a:pt x="3316" y="199"/>
                  <a:pt x="3339" y="232"/>
                  <a:pt x="3339" y="286"/>
                </a:cubicBezTo>
                <a:close/>
                <a:moveTo>
                  <a:pt x="3415" y="339"/>
                </a:moveTo>
                <a:lnTo>
                  <a:pt x="3415" y="324"/>
                </a:lnTo>
                <a:cubicBezTo>
                  <a:pt x="3415" y="246"/>
                  <a:pt x="3400" y="205"/>
                  <a:pt x="3371" y="179"/>
                </a:cubicBezTo>
                <a:cubicBezTo>
                  <a:pt x="3343" y="153"/>
                  <a:pt x="3312" y="144"/>
                  <a:pt x="3279" y="144"/>
                </a:cubicBezTo>
                <a:cubicBezTo>
                  <a:pt x="3237" y="144"/>
                  <a:pt x="3204" y="158"/>
                  <a:pt x="3177" y="189"/>
                </a:cubicBezTo>
                <a:cubicBezTo>
                  <a:pt x="3148" y="222"/>
                  <a:pt x="3136" y="261"/>
                  <a:pt x="3136" y="320"/>
                </a:cubicBezTo>
                <a:cubicBezTo>
                  <a:pt x="3136" y="427"/>
                  <a:pt x="3195" y="495"/>
                  <a:pt x="3289" y="495"/>
                </a:cubicBezTo>
                <a:cubicBezTo>
                  <a:pt x="3334" y="495"/>
                  <a:pt x="3374" y="480"/>
                  <a:pt x="3409" y="451"/>
                </a:cubicBezTo>
                <a:lnTo>
                  <a:pt x="3381" y="406"/>
                </a:lnTo>
                <a:cubicBezTo>
                  <a:pt x="3356" y="428"/>
                  <a:pt x="3329" y="439"/>
                  <a:pt x="3298" y="439"/>
                </a:cubicBezTo>
                <a:cubicBezTo>
                  <a:pt x="3233" y="439"/>
                  <a:pt x="3215" y="391"/>
                  <a:pt x="3215" y="344"/>
                </a:cubicBezTo>
                <a:lnTo>
                  <a:pt x="3215" y="339"/>
                </a:lnTo>
                <a:lnTo>
                  <a:pt x="3415" y="339"/>
                </a:lnTo>
                <a:close/>
                <a:moveTo>
                  <a:pt x="2986" y="315"/>
                </a:moveTo>
                <a:cubicBezTo>
                  <a:pt x="2986" y="398"/>
                  <a:pt x="2966" y="431"/>
                  <a:pt x="2921" y="431"/>
                </a:cubicBezTo>
                <a:cubicBezTo>
                  <a:pt x="2894" y="431"/>
                  <a:pt x="2873" y="418"/>
                  <a:pt x="2859" y="402"/>
                </a:cubicBezTo>
                <a:lnTo>
                  <a:pt x="2859" y="239"/>
                </a:lnTo>
                <a:cubicBezTo>
                  <a:pt x="2872" y="223"/>
                  <a:pt x="2892" y="206"/>
                  <a:pt x="2922" y="206"/>
                </a:cubicBezTo>
                <a:cubicBezTo>
                  <a:pt x="2974" y="206"/>
                  <a:pt x="2986" y="255"/>
                  <a:pt x="2986" y="315"/>
                </a:cubicBezTo>
                <a:close/>
                <a:moveTo>
                  <a:pt x="3068" y="314"/>
                </a:moveTo>
                <a:cubicBezTo>
                  <a:pt x="3068" y="210"/>
                  <a:pt x="3018" y="144"/>
                  <a:pt x="2938" y="144"/>
                </a:cubicBezTo>
                <a:cubicBezTo>
                  <a:pt x="2906" y="144"/>
                  <a:pt x="2882" y="154"/>
                  <a:pt x="2859" y="177"/>
                </a:cubicBezTo>
                <a:lnTo>
                  <a:pt x="2856" y="176"/>
                </a:lnTo>
                <a:cubicBezTo>
                  <a:pt x="2856" y="176"/>
                  <a:pt x="2858" y="166"/>
                  <a:pt x="2858" y="144"/>
                </a:cubicBezTo>
                <a:lnTo>
                  <a:pt x="2858" y="67"/>
                </a:lnTo>
                <a:cubicBezTo>
                  <a:pt x="2858" y="40"/>
                  <a:pt x="2857" y="24"/>
                  <a:pt x="2853" y="0"/>
                </a:cubicBezTo>
                <a:lnTo>
                  <a:pt x="2777" y="16"/>
                </a:lnTo>
                <a:cubicBezTo>
                  <a:pt x="2783" y="35"/>
                  <a:pt x="2786" y="59"/>
                  <a:pt x="2786" y="97"/>
                </a:cubicBezTo>
                <a:lnTo>
                  <a:pt x="2786" y="412"/>
                </a:lnTo>
                <a:cubicBezTo>
                  <a:pt x="2786" y="457"/>
                  <a:pt x="2783" y="471"/>
                  <a:pt x="2777" y="486"/>
                </a:cubicBezTo>
                <a:lnTo>
                  <a:pt x="2844" y="486"/>
                </a:lnTo>
                <a:cubicBezTo>
                  <a:pt x="2849" y="477"/>
                  <a:pt x="2850" y="472"/>
                  <a:pt x="2853" y="455"/>
                </a:cubicBezTo>
                <a:cubicBezTo>
                  <a:pt x="2874" y="480"/>
                  <a:pt x="2901" y="493"/>
                  <a:pt x="2934" y="493"/>
                </a:cubicBezTo>
                <a:cubicBezTo>
                  <a:pt x="3012" y="493"/>
                  <a:pt x="3068" y="421"/>
                  <a:pt x="3068" y="314"/>
                </a:cubicBezTo>
                <a:close/>
                <a:moveTo>
                  <a:pt x="2629" y="286"/>
                </a:moveTo>
                <a:lnTo>
                  <a:pt x="2506" y="286"/>
                </a:lnTo>
                <a:cubicBezTo>
                  <a:pt x="2506" y="232"/>
                  <a:pt x="2528" y="199"/>
                  <a:pt x="2569" y="199"/>
                </a:cubicBezTo>
                <a:cubicBezTo>
                  <a:pt x="2606" y="199"/>
                  <a:pt x="2629" y="232"/>
                  <a:pt x="2629" y="286"/>
                </a:cubicBezTo>
                <a:close/>
                <a:moveTo>
                  <a:pt x="2705" y="339"/>
                </a:moveTo>
                <a:lnTo>
                  <a:pt x="2705" y="324"/>
                </a:lnTo>
                <a:cubicBezTo>
                  <a:pt x="2705" y="246"/>
                  <a:pt x="2690" y="205"/>
                  <a:pt x="2661" y="179"/>
                </a:cubicBezTo>
                <a:cubicBezTo>
                  <a:pt x="2633" y="153"/>
                  <a:pt x="2602" y="144"/>
                  <a:pt x="2569" y="144"/>
                </a:cubicBezTo>
                <a:cubicBezTo>
                  <a:pt x="2527" y="144"/>
                  <a:pt x="2494" y="158"/>
                  <a:pt x="2467" y="189"/>
                </a:cubicBezTo>
                <a:cubicBezTo>
                  <a:pt x="2438" y="222"/>
                  <a:pt x="2425" y="261"/>
                  <a:pt x="2425" y="320"/>
                </a:cubicBezTo>
                <a:cubicBezTo>
                  <a:pt x="2425" y="427"/>
                  <a:pt x="2485" y="495"/>
                  <a:pt x="2579" y="495"/>
                </a:cubicBezTo>
                <a:cubicBezTo>
                  <a:pt x="2624" y="495"/>
                  <a:pt x="2664" y="480"/>
                  <a:pt x="2699" y="451"/>
                </a:cubicBezTo>
                <a:lnTo>
                  <a:pt x="2671" y="406"/>
                </a:lnTo>
                <a:cubicBezTo>
                  <a:pt x="2646" y="428"/>
                  <a:pt x="2619" y="439"/>
                  <a:pt x="2588" y="439"/>
                </a:cubicBezTo>
                <a:cubicBezTo>
                  <a:pt x="2522" y="439"/>
                  <a:pt x="2505" y="391"/>
                  <a:pt x="2505" y="344"/>
                </a:cubicBezTo>
                <a:lnTo>
                  <a:pt x="2505" y="339"/>
                </a:lnTo>
                <a:lnTo>
                  <a:pt x="2705" y="339"/>
                </a:lnTo>
                <a:close/>
                <a:moveTo>
                  <a:pt x="2383" y="486"/>
                </a:moveTo>
                <a:lnTo>
                  <a:pt x="2371" y="441"/>
                </a:lnTo>
                <a:cubicBezTo>
                  <a:pt x="2363" y="445"/>
                  <a:pt x="2351" y="441"/>
                  <a:pt x="2348" y="435"/>
                </a:cubicBezTo>
                <a:cubicBezTo>
                  <a:pt x="2342" y="428"/>
                  <a:pt x="2340" y="420"/>
                  <a:pt x="2340" y="375"/>
                </a:cubicBezTo>
                <a:lnTo>
                  <a:pt x="2340" y="92"/>
                </a:lnTo>
                <a:cubicBezTo>
                  <a:pt x="2340" y="49"/>
                  <a:pt x="2340" y="21"/>
                  <a:pt x="2334" y="1"/>
                </a:cubicBezTo>
                <a:lnTo>
                  <a:pt x="2260" y="17"/>
                </a:lnTo>
                <a:cubicBezTo>
                  <a:pt x="2264" y="45"/>
                  <a:pt x="2266" y="69"/>
                  <a:pt x="2266" y="115"/>
                </a:cubicBezTo>
                <a:lnTo>
                  <a:pt x="2266" y="399"/>
                </a:lnTo>
                <a:cubicBezTo>
                  <a:pt x="2266" y="428"/>
                  <a:pt x="2266" y="493"/>
                  <a:pt x="2340" y="493"/>
                </a:cubicBezTo>
                <a:cubicBezTo>
                  <a:pt x="2356" y="493"/>
                  <a:pt x="2370" y="491"/>
                  <a:pt x="2383" y="486"/>
                </a:cubicBezTo>
                <a:close/>
                <a:moveTo>
                  <a:pt x="2168" y="425"/>
                </a:moveTo>
                <a:cubicBezTo>
                  <a:pt x="2168" y="386"/>
                  <a:pt x="2136" y="354"/>
                  <a:pt x="2096" y="354"/>
                </a:cubicBezTo>
                <a:cubicBezTo>
                  <a:pt x="2057" y="354"/>
                  <a:pt x="2026" y="386"/>
                  <a:pt x="2026" y="425"/>
                </a:cubicBezTo>
                <a:cubicBezTo>
                  <a:pt x="2026" y="466"/>
                  <a:pt x="2058" y="500"/>
                  <a:pt x="2098" y="500"/>
                </a:cubicBezTo>
                <a:cubicBezTo>
                  <a:pt x="2136" y="500"/>
                  <a:pt x="2168" y="466"/>
                  <a:pt x="2168" y="425"/>
                </a:cubicBezTo>
                <a:close/>
                <a:moveTo>
                  <a:pt x="1909" y="486"/>
                </a:moveTo>
                <a:lnTo>
                  <a:pt x="1909" y="237"/>
                </a:lnTo>
                <a:cubicBezTo>
                  <a:pt x="1909" y="175"/>
                  <a:pt x="1873" y="144"/>
                  <a:pt x="1822" y="144"/>
                </a:cubicBezTo>
                <a:cubicBezTo>
                  <a:pt x="1786" y="144"/>
                  <a:pt x="1755" y="160"/>
                  <a:pt x="1720" y="191"/>
                </a:cubicBezTo>
                <a:cubicBezTo>
                  <a:pt x="1720" y="173"/>
                  <a:pt x="1716" y="158"/>
                  <a:pt x="1708" y="143"/>
                </a:cubicBezTo>
                <a:lnTo>
                  <a:pt x="1642" y="162"/>
                </a:lnTo>
                <a:cubicBezTo>
                  <a:pt x="1651" y="185"/>
                  <a:pt x="1654" y="206"/>
                  <a:pt x="1654" y="241"/>
                </a:cubicBezTo>
                <a:lnTo>
                  <a:pt x="1654" y="486"/>
                </a:lnTo>
                <a:lnTo>
                  <a:pt x="1726" y="486"/>
                </a:lnTo>
                <a:lnTo>
                  <a:pt x="1726" y="244"/>
                </a:lnTo>
                <a:cubicBezTo>
                  <a:pt x="1747" y="222"/>
                  <a:pt x="1778" y="206"/>
                  <a:pt x="1799" y="206"/>
                </a:cubicBezTo>
                <a:cubicBezTo>
                  <a:pt x="1827" y="206"/>
                  <a:pt x="1837" y="219"/>
                  <a:pt x="1837" y="265"/>
                </a:cubicBezTo>
                <a:lnTo>
                  <a:pt x="1837" y="486"/>
                </a:lnTo>
                <a:lnTo>
                  <a:pt x="1909" y="486"/>
                </a:lnTo>
                <a:close/>
                <a:moveTo>
                  <a:pt x="1498" y="286"/>
                </a:moveTo>
                <a:lnTo>
                  <a:pt x="1375" y="286"/>
                </a:lnTo>
                <a:cubicBezTo>
                  <a:pt x="1375" y="232"/>
                  <a:pt x="1397" y="199"/>
                  <a:pt x="1438" y="199"/>
                </a:cubicBezTo>
                <a:cubicBezTo>
                  <a:pt x="1475" y="199"/>
                  <a:pt x="1498" y="232"/>
                  <a:pt x="1498" y="286"/>
                </a:cubicBezTo>
                <a:close/>
                <a:moveTo>
                  <a:pt x="1574" y="339"/>
                </a:moveTo>
                <a:lnTo>
                  <a:pt x="1574" y="324"/>
                </a:lnTo>
                <a:cubicBezTo>
                  <a:pt x="1574" y="246"/>
                  <a:pt x="1559" y="205"/>
                  <a:pt x="1530" y="179"/>
                </a:cubicBezTo>
                <a:cubicBezTo>
                  <a:pt x="1502" y="153"/>
                  <a:pt x="1471" y="144"/>
                  <a:pt x="1438" y="144"/>
                </a:cubicBezTo>
                <a:cubicBezTo>
                  <a:pt x="1396" y="144"/>
                  <a:pt x="1363" y="158"/>
                  <a:pt x="1336" y="189"/>
                </a:cubicBezTo>
                <a:cubicBezTo>
                  <a:pt x="1307" y="222"/>
                  <a:pt x="1295" y="261"/>
                  <a:pt x="1295" y="320"/>
                </a:cubicBezTo>
                <a:cubicBezTo>
                  <a:pt x="1295" y="427"/>
                  <a:pt x="1354" y="495"/>
                  <a:pt x="1448" y="495"/>
                </a:cubicBezTo>
                <a:cubicBezTo>
                  <a:pt x="1493" y="495"/>
                  <a:pt x="1533" y="480"/>
                  <a:pt x="1568" y="451"/>
                </a:cubicBezTo>
                <a:lnTo>
                  <a:pt x="1540" y="406"/>
                </a:lnTo>
                <a:cubicBezTo>
                  <a:pt x="1515" y="428"/>
                  <a:pt x="1488" y="439"/>
                  <a:pt x="1457" y="439"/>
                </a:cubicBezTo>
                <a:cubicBezTo>
                  <a:pt x="1392" y="439"/>
                  <a:pt x="1374" y="391"/>
                  <a:pt x="1374" y="344"/>
                </a:cubicBezTo>
                <a:lnTo>
                  <a:pt x="1374" y="339"/>
                </a:lnTo>
                <a:lnTo>
                  <a:pt x="1574" y="339"/>
                </a:lnTo>
                <a:close/>
                <a:moveTo>
                  <a:pt x="1233" y="382"/>
                </a:moveTo>
                <a:cubicBezTo>
                  <a:pt x="1233" y="343"/>
                  <a:pt x="1215" y="306"/>
                  <a:pt x="1148" y="289"/>
                </a:cubicBezTo>
                <a:lnTo>
                  <a:pt x="1106" y="278"/>
                </a:lnTo>
                <a:cubicBezTo>
                  <a:pt x="1073" y="270"/>
                  <a:pt x="1062" y="259"/>
                  <a:pt x="1062" y="239"/>
                </a:cubicBezTo>
                <a:cubicBezTo>
                  <a:pt x="1062" y="213"/>
                  <a:pt x="1081" y="196"/>
                  <a:pt x="1112" y="196"/>
                </a:cubicBezTo>
                <a:cubicBezTo>
                  <a:pt x="1139" y="196"/>
                  <a:pt x="1163" y="204"/>
                  <a:pt x="1194" y="220"/>
                </a:cubicBezTo>
                <a:lnTo>
                  <a:pt x="1218" y="170"/>
                </a:lnTo>
                <a:cubicBezTo>
                  <a:pt x="1190" y="155"/>
                  <a:pt x="1153" y="141"/>
                  <a:pt x="1108" y="141"/>
                </a:cubicBezTo>
                <a:cubicBezTo>
                  <a:pt x="1034" y="141"/>
                  <a:pt x="984" y="185"/>
                  <a:pt x="984" y="247"/>
                </a:cubicBezTo>
                <a:cubicBezTo>
                  <a:pt x="984" y="294"/>
                  <a:pt x="1013" y="329"/>
                  <a:pt x="1063" y="339"/>
                </a:cubicBezTo>
                <a:lnTo>
                  <a:pt x="1104" y="348"/>
                </a:lnTo>
                <a:cubicBezTo>
                  <a:pt x="1141" y="356"/>
                  <a:pt x="1158" y="369"/>
                  <a:pt x="1158" y="395"/>
                </a:cubicBezTo>
                <a:cubicBezTo>
                  <a:pt x="1158" y="422"/>
                  <a:pt x="1135" y="441"/>
                  <a:pt x="1104" y="441"/>
                </a:cubicBezTo>
                <a:cubicBezTo>
                  <a:pt x="1066" y="441"/>
                  <a:pt x="1025" y="424"/>
                  <a:pt x="996" y="406"/>
                </a:cubicBezTo>
                <a:lnTo>
                  <a:pt x="970" y="459"/>
                </a:lnTo>
                <a:cubicBezTo>
                  <a:pt x="1013" y="482"/>
                  <a:pt x="1057" y="495"/>
                  <a:pt x="1098" y="495"/>
                </a:cubicBezTo>
                <a:cubicBezTo>
                  <a:pt x="1178" y="495"/>
                  <a:pt x="1233" y="449"/>
                  <a:pt x="1233" y="382"/>
                </a:cubicBezTo>
                <a:close/>
                <a:moveTo>
                  <a:pt x="921" y="382"/>
                </a:moveTo>
                <a:cubicBezTo>
                  <a:pt x="921" y="343"/>
                  <a:pt x="903" y="306"/>
                  <a:pt x="836" y="289"/>
                </a:cubicBezTo>
                <a:lnTo>
                  <a:pt x="794" y="278"/>
                </a:lnTo>
                <a:cubicBezTo>
                  <a:pt x="761" y="270"/>
                  <a:pt x="749" y="259"/>
                  <a:pt x="749" y="239"/>
                </a:cubicBezTo>
                <a:cubicBezTo>
                  <a:pt x="749" y="213"/>
                  <a:pt x="769" y="196"/>
                  <a:pt x="800" y="196"/>
                </a:cubicBezTo>
                <a:cubicBezTo>
                  <a:pt x="827" y="196"/>
                  <a:pt x="851" y="204"/>
                  <a:pt x="882" y="220"/>
                </a:cubicBezTo>
                <a:lnTo>
                  <a:pt x="906" y="170"/>
                </a:lnTo>
                <a:cubicBezTo>
                  <a:pt x="877" y="155"/>
                  <a:pt x="841" y="141"/>
                  <a:pt x="796" y="141"/>
                </a:cubicBezTo>
                <a:cubicBezTo>
                  <a:pt x="722" y="141"/>
                  <a:pt x="671" y="185"/>
                  <a:pt x="671" y="247"/>
                </a:cubicBezTo>
                <a:cubicBezTo>
                  <a:pt x="671" y="294"/>
                  <a:pt x="701" y="329"/>
                  <a:pt x="751" y="339"/>
                </a:cubicBezTo>
                <a:lnTo>
                  <a:pt x="792" y="348"/>
                </a:lnTo>
                <a:cubicBezTo>
                  <a:pt x="829" y="356"/>
                  <a:pt x="846" y="369"/>
                  <a:pt x="846" y="395"/>
                </a:cubicBezTo>
                <a:cubicBezTo>
                  <a:pt x="846" y="422"/>
                  <a:pt x="823" y="441"/>
                  <a:pt x="792" y="441"/>
                </a:cubicBezTo>
                <a:cubicBezTo>
                  <a:pt x="754" y="441"/>
                  <a:pt x="713" y="424"/>
                  <a:pt x="683" y="406"/>
                </a:cubicBezTo>
                <a:lnTo>
                  <a:pt x="658" y="459"/>
                </a:lnTo>
                <a:cubicBezTo>
                  <a:pt x="701" y="482"/>
                  <a:pt x="745" y="495"/>
                  <a:pt x="786" y="495"/>
                </a:cubicBezTo>
                <a:cubicBezTo>
                  <a:pt x="866" y="495"/>
                  <a:pt x="921" y="449"/>
                  <a:pt x="921" y="382"/>
                </a:cubicBezTo>
                <a:close/>
                <a:moveTo>
                  <a:pt x="596" y="55"/>
                </a:moveTo>
                <a:cubicBezTo>
                  <a:pt x="596" y="27"/>
                  <a:pt x="574" y="6"/>
                  <a:pt x="548" y="6"/>
                </a:cubicBezTo>
                <a:cubicBezTo>
                  <a:pt x="521" y="6"/>
                  <a:pt x="500" y="28"/>
                  <a:pt x="500" y="55"/>
                </a:cubicBezTo>
                <a:cubicBezTo>
                  <a:pt x="500" y="81"/>
                  <a:pt x="521" y="103"/>
                  <a:pt x="547" y="103"/>
                </a:cubicBezTo>
                <a:cubicBezTo>
                  <a:pt x="574" y="103"/>
                  <a:pt x="596" y="81"/>
                  <a:pt x="596" y="55"/>
                </a:cubicBezTo>
                <a:close/>
                <a:moveTo>
                  <a:pt x="584" y="486"/>
                </a:moveTo>
                <a:lnTo>
                  <a:pt x="584" y="144"/>
                </a:lnTo>
                <a:lnTo>
                  <a:pt x="511" y="158"/>
                </a:lnTo>
                <a:lnTo>
                  <a:pt x="511" y="486"/>
                </a:lnTo>
                <a:lnTo>
                  <a:pt x="584" y="486"/>
                </a:lnTo>
                <a:close/>
                <a:moveTo>
                  <a:pt x="447" y="152"/>
                </a:moveTo>
                <a:lnTo>
                  <a:pt x="372" y="152"/>
                </a:lnTo>
                <a:lnTo>
                  <a:pt x="338" y="308"/>
                </a:lnTo>
                <a:cubicBezTo>
                  <a:pt x="329" y="347"/>
                  <a:pt x="321" y="398"/>
                  <a:pt x="321" y="398"/>
                </a:cubicBezTo>
                <a:lnTo>
                  <a:pt x="319" y="398"/>
                </a:lnTo>
                <a:cubicBezTo>
                  <a:pt x="319" y="398"/>
                  <a:pt x="312" y="357"/>
                  <a:pt x="298" y="303"/>
                </a:cubicBezTo>
                <a:lnTo>
                  <a:pt x="261" y="152"/>
                </a:lnTo>
                <a:lnTo>
                  <a:pt x="189" y="152"/>
                </a:lnTo>
                <a:lnTo>
                  <a:pt x="146" y="307"/>
                </a:lnTo>
                <a:cubicBezTo>
                  <a:pt x="134" y="353"/>
                  <a:pt x="127" y="396"/>
                  <a:pt x="127" y="396"/>
                </a:cubicBezTo>
                <a:lnTo>
                  <a:pt x="125" y="396"/>
                </a:lnTo>
                <a:cubicBezTo>
                  <a:pt x="125" y="396"/>
                  <a:pt x="117" y="350"/>
                  <a:pt x="108" y="309"/>
                </a:cubicBezTo>
                <a:lnTo>
                  <a:pt x="72" y="147"/>
                </a:lnTo>
                <a:lnTo>
                  <a:pt x="0" y="157"/>
                </a:lnTo>
                <a:lnTo>
                  <a:pt x="91" y="488"/>
                </a:lnTo>
                <a:lnTo>
                  <a:pt x="159" y="488"/>
                </a:lnTo>
                <a:lnTo>
                  <a:pt x="199" y="337"/>
                </a:lnTo>
                <a:cubicBezTo>
                  <a:pt x="216" y="276"/>
                  <a:pt x="221" y="243"/>
                  <a:pt x="221" y="243"/>
                </a:cubicBezTo>
                <a:lnTo>
                  <a:pt x="222" y="243"/>
                </a:lnTo>
                <a:cubicBezTo>
                  <a:pt x="222" y="243"/>
                  <a:pt x="234" y="294"/>
                  <a:pt x="244" y="334"/>
                </a:cubicBezTo>
                <a:lnTo>
                  <a:pt x="285" y="488"/>
                </a:lnTo>
                <a:lnTo>
                  <a:pt x="353" y="488"/>
                </a:lnTo>
                <a:lnTo>
                  <a:pt x="447" y="152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51382" tIns="25691" rIns="51382" bIns="25691" numCol="1" anchor="t" anchorCtr="0" compatLnSpc="1">
            <a:prstTxWarp prst="textNoShape">
              <a:avLst/>
            </a:prstTxWarp>
          </a:bodyPr>
          <a:lstStyle/>
          <a:p>
            <a:endParaRPr lang="de-DE" sz="1350"/>
          </a:p>
        </p:txBody>
      </p:sp>
      <p:grpSp>
        <p:nvGrpSpPr>
          <p:cNvPr id="40" name="Türmchen"/>
          <p:cNvGrpSpPr>
            <a:grpSpLocks noChangeAspect="1"/>
          </p:cNvGrpSpPr>
          <p:nvPr userDrawn="1"/>
        </p:nvGrpSpPr>
        <p:grpSpPr bwMode="auto">
          <a:xfrm>
            <a:off x="8687278" y="1035718"/>
            <a:ext cx="3504724" cy="4606925"/>
            <a:chOff x="3550" y="652"/>
            <a:chExt cx="2210" cy="2902"/>
          </a:xfrm>
        </p:grpSpPr>
        <p:sp>
          <p:nvSpPr>
            <p:cNvPr id="41" name="Glocken"/>
            <p:cNvSpPr>
              <a:spLocks noEditPoints="1"/>
            </p:cNvSpPr>
            <p:nvPr userDrawn="1"/>
          </p:nvSpPr>
          <p:spPr bwMode="auto">
            <a:xfrm>
              <a:off x="4760" y="2242"/>
              <a:ext cx="378" cy="599"/>
            </a:xfrm>
            <a:custGeom>
              <a:avLst/>
              <a:gdLst>
                <a:gd name="T0" fmla="*/ 110 w 1666"/>
                <a:gd name="T1" fmla="*/ 1564 h 2641"/>
                <a:gd name="T2" fmla="*/ 391 w 1666"/>
                <a:gd name="T3" fmla="*/ 1092 h 2641"/>
                <a:gd name="T4" fmla="*/ 673 w 1666"/>
                <a:gd name="T5" fmla="*/ 1564 h 2641"/>
                <a:gd name="T6" fmla="*/ 833 w 1666"/>
                <a:gd name="T7" fmla="*/ 2223 h 2641"/>
                <a:gd name="T8" fmla="*/ 754 w 1666"/>
                <a:gd name="T9" fmla="*/ 2641 h 2641"/>
                <a:gd name="T10" fmla="*/ 378 w 1666"/>
                <a:gd name="T11" fmla="*/ 2543 h 2641"/>
                <a:gd name="T12" fmla="*/ 160 w 1666"/>
                <a:gd name="T13" fmla="*/ 2106 h 2641"/>
                <a:gd name="T14" fmla="*/ 595 w 1666"/>
                <a:gd name="T15" fmla="*/ 2106 h 2641"/>
                <a:gd name="T16" fmla="*/ 682 w 1666"/>
                <a:gd name="T17" fmla="*/ 1919 h 2641"/>
                <a:gd name="T18" fmla="*/ 984 w 1666"/>
                <a:gd name="T19" fmla="*/ 1919 h 2641"/>
                <a:gd name="T20" fmla="*/ 1071 w 1666"/>
                <a:gd name="T21" fmla="*/ 2106 h 2641"/>
                <a:gd name="T22" fmla="*/ 1506 w 1666"/>
                <a:gd name="T23" fmla="*/ 2106 h 2641"/>
                <a:gd name="T24" fmla="*/ 1288 w 1666"/>
                <a:gd name="T25" fmla="*/ 2543 h 2641"/>
                <a:gd name="T26" fmla="*/ 912 w 1666"/>
                <a:gd name="T27" fmla="*/ 2641 h 2641"/>
                <a:gd name="T28" fmla="*/ 833 w 1666"/>
                <a:gd name="T29" fmla="*/ 2223 h 2641"/>
                <a:gd name="T30" fmla="*/ 700 w 1666"/>
                <a:gd name="T31" fmla="*/ 1776 h 2641"/>
                <a:gd name="T32" fmla="*/ 833 w 1666"/>
                <a:gd name="T33" fmla="*/ 1553 h 2641"/>
                <a:gd name="T34" fmla="*/ 966 w 1666"/>
                <a:gd name="T35" fmla="*/ 1776 h 2641"/>
                <a:gd name="T36" fmla="*/ 833 w 1666"/>
                <a:gd name="T37" fmla="*/ 360 h 2641"/>
                <a:gd name="T38" fmla="*/ 733 w 1666"/>
                <a:gd name="T39" fmla="*/ 158 h 2641"/>
                <a:gd name="T40" fmla="*/ 934 w 1666"/>
                <a:gd name="T41" fmla="*/ 158 h 2641"/>
                <a:gd name="T42" fmla="*/ 833 w 1666"/>
                <a:gd name="T43" fmla="*/ 360 h 2641"/>
                <a:gd name="T44" fmla="*/ 601 w 1666"/>
                <a:gd name="T45" fmla="*/ 1331 h 2641"/>
                <a:gd name="T46" fmla="*/ 833 w 1666"/>
                <a:gd name="T47" fmla="*/ 942 h 2641"/>
                <a:gd name="T48" fmla="*/ 1065 w 1666"/>
                <a:gd name="T49" fmla="*/ 1331 h 2641"/>
                <a:gd name="T50" fmla="*/ 376 w 1666"/>
                <a:gd name="T51" fmla="*/ 534 h 2641"/>
                <a:gd name="T52" fmla="*/ 159 w 1666"/>
                <a:gd name="T53" fmla="*/ 97 h 2641"/>
                <a:gd name="T54" fmla="*/ 594 w 1666"/>
                <a:gd name="T55" fmla="*/ 97 h 2641"/>
                <a:gd name="T56" fmla="*/ 376 w 1666"/>
                <a:gd name="T57" fmla="*/ 534 h 2641"/>
                <a:gd name="T58" fmla="*/ 913 w 1666"/>
                <a:gd name="T59" fmla="*/ 632 h 2641"/>
                <a:gd name="T60" fmla="*/ 1290 w 1666"/>
                <a:gd name="T61" fmla="*/ 0 h 2641"/>
                <a:gd name="T62" fmla="*/ 1666 w 1666"/>
                <a:gd name="T63" fmla="*/ 632 h 2641"/>
                <a:gd name="T64" fmla="*/ 1275 w 1666"/>
                <a:gd name="T65" fmla="*/ 1491 h 2641"/>
                <a:gd name="T66" fmla="*/ 1112 w 1666"/>
                <a:gd name="T67" fmla="*/ 1164 h 2641"/>
                <a:gd name="T68" fmla="*/ 1437 w 1666"/>
                <a:gd name="T69" fmla="*/ 1164 h 2641"/>
                <a:gd name="T70" fmla="*/ 1275 w 1666"/>
                <a:gd name="T71" fmla="*/ 1491 h 2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66" h="2641">
                  <a:moveTo>
                    <a:pt x="391" y="1491"/>
                  </a:moveTo>
                  <a:cubicBezTo>
                    <a:pt x="341" y="1491"/>
                    <a:pt x="220" y="1492"/>
                    <a:pt x="110" y="1564"/>
                  </a:cubicBezTo>
                  <a:cubicBezTo>
                    <a:pt x="210" y="1483"/>
                    <a:pt x="229" y="1380"/>
                    <a:pt x="229" y="1164"/>
                  </a:cubicBezTo>
                  <a:cubicBezTo>
                    <a:pt x="229" y="1164"/>
                    <a:pt x="257" y="1092"/>
                    <a:pt x="391" y="1092"/>
                  </a:cubicBezTo>
                  <a:cubicBezTo>
                    <a:pt x="526" y="1092"/>
                    <a:pt x="554" y="1164"/>
                    <a:pt x="554" y="1164"/>
                  </a:cubicBezTo>
                  <a:cubicBezTo>
                    <a:pt x="554" y="1380"/>
                    <a:pt x="573" y="1483"/>
                    <a:pt x="673" y="1564"/>
                  </a:cubicBezTo>
                  <a:cubicBezTo>
                    <a:pt x="563" y="1492"/>
                    <a:pt x="442" y="1491"/>
                    <a:pt x="391" y="1491"/>
                  </a:cubicBezTo>
                  <a:close/>
                  <a:moveTo>
                    <a:pt x="833" y="2223"/>
                  </a:moveTo>
                  <a:cubicBezTo>
                    <a:pt x="791" y="2223"/>
                    <a:pt x="693" y="2224"/>
                    <a:pt x="600" y="2275"/>
                  </a:cubicBezTo>
                  <a:cubicBezTo>
                    <a:pt x="611" y="2453"/>
                    <a:pt x="649" y="2556"/>
                    <a:pt x="754" y="2641"/>
                  </a:cubicBezTo>
                  <a:cubicBezTo>
                    <a:pt x="607" y="2545"/>
                    <a:pt x="445" y="2543"/>
                    <a:pt x="378" y="2543"/>
                  </a:cubicBezTo>
                  <a:lnTo>
                    <a:pt x="378" y="2543"/>
                  </a:lnTo>
                  <a:cubicBezTo>
                    <a:pt x="311" y="2543"/>
                    <a:pt x="147" y="2545"/>
                    <a:pt x="1" y="2641"/>
                  </a:cubicBezTo>
                  <a:cubicBezTo>
                    <a:pt x="135" y="2532"/>
                    <a:pt x="160" y="2394"/>
                    <a:pt x="160" y="2106"/>
                  </a:cubicBezTo>
                  <a:cubicBezTo>
                    <a:pt x="160" y="2106"/>
                    <a:pt x="198" y="2009"/>
                    <a:pt x="378" y="2009"/>
                  </a:cubicBezTo>
                  <a:cubicBezTo>
                    <a:pt x="557" y="2009"/>
                    <a:pt x="595" y="2106"/>
                    <a:pt x="595" y="2106"/>
                  </a:cubicBezTo>
                  <a:cubicBezTo>
                    <a:pt x="595" y="2165"/>
                    <a:pt x="596" y="2218"/>
                    <a:pt x="599" y="2266"/>
                  </a:cubicBezTo>
                  <a:cubicBezTo>
                    <a:pt x="668" y="2194"/>
                    <a:pt x="682" y="2098"/>
                    <a:pt x="682" y="1919"/>
                  </a:cubicBezTo>
                  <a:cubicBezTo>
                    <a:pt x="682" y="1919"/>
                    <a:pt x="708" y="1853"/>
                    <a:pt x="833" y="1853"/>
                  </a:cubicBezTo>
                  <a:cubicBezTo>
                    <a:pt x="958" y="1853"/>
                    <a:pt x="984" y="1919"/>
                    <a:pt x="984" y="1919"/>
                  </a:cubicBezTo>
                  <a:cubicBezTo>
                    <a:pt x="984" y="2098"/>
                    <a:pt x="998" y="2194"/>
                    <a:pt x="1067" y="2266"/>
                  </a:cubicBezTo>
                  <a:cubicBezTo>
                    <a:pt x="1070" y="2218"/>
                    <a:pt x="1071" y="2165"/>
                    <a:pt x="1071" y="2106"/>
                  </a:cubicBezTo>
                  <a:cubicBezTo>
                    <a:pt x="1071" y="2106"/>
                    <a:pt x="1108" y="2009"/>
                    <a:pt x="1288" y="2009"/>
                  </a:cubicBezTo>
                  <a:cubicBezTo>
                    <a:pt x="1468" y="2009"/>
                    <a:pt x="1506" y="2106"/>
                    <a:pt x="1506" y="2106"/>
                  </a:cubicBezTo>
                  <a:cubicBezTo>
                    <a:pt x="1506" y="2394"/>
                    <a:pt x="1531" y="2532"/>
                    <a:pt x="1664" y="2641"/>
                  </a:cubicBezTo>
                  <a:cubicBezTo>
                    <a:pt x="1518" y="2545"/>
                    <a:pt x="1355" y="2543"/>
                    <a:pt x="1288" y="2543"/>
                  </a:cubicBezTo>
                  <a:lnTo>
                    <a:pt x="1288" y="2543"/>
                  </a:lnTo>
                  <a:cubicBezTo>
                    <a:pt x="1221" y="2543"/>
                    <a:pt x="1058" y="2545"/>
                    <a:pt x="912" y="2641"/>
                  </a:cubicBezTo>
                  <a:cubicBezTo>
                    <a:pt x="1016" y="2556"/>
                    <a:pt x="1055" y="2453"/>
                    <a:pt x="1066" y="2275"/>
                  </a:cubicBezTo>
                  <a:cubicBezTo>
                    <a:pt x="973" y="2224"/>
                    <a:pt x="875" y="2223"/>
                    <a:pt x="833" y="2223"/>
                  </a:cubicBezTo>
                  <a:close/>
                  <a:moveTo>
                    <a:pt x="833" y="1741"/>
                  </a:moveTo>
                  <a:cubicBezTo>
                    <a:pt x="810" y="1741"/>
                    <a:pt x="752" y="1742"/>
                    <a:pt x="700" y="1776"/>
                  </a:cubicBezTo>
                  <a:cubicBezTo>
                    <a:pt x="748" y="1737"/>
                    <a:pt x="757" y="1689"/>
                    <a:pt x="757" y="1587"/>
                  </a:cubicBezTo>
                  <a:cubicBezTo>
                    <a:pt x="757" y="1587"/>
                    <a:pt x="770" y="1553"/>
                    <a:pt x="833" y="1553"/>
                  </a:cubicBezTo>
                  <a:cubicBezTo>
                    <a:pt x="897" y="1553"/>
                    <a:pt x="910" y="1587"/>
                    <a:pt x="910" y="1587"/>
                  </a:cubicBezTo>
                  <a:cubicBezTo>
                    <a:pt x="910" y="1689"/>
                    <a:pt x="919" y="1737"/>
                    <a:pt x="966" y="1776"/>
                  </a:cubicBezTo>
                  <a:cubicBezTo>
                    <a:pt x="914" y="1742"/>
                    <a:pt x="857" y="1741"/>
                    <a:pt x="833" y="1741"/>
                  </a:cubicBezTo>
                  <a:close/>
                  <a:moveTo>
                    <a:pt x="833" y="360"/>
                  </a:moveTo>
                  <a:cubicBezTo>
                    <a:pt x="802" y="360"/>
                    <a:pt x="727" y="361"/>
                    <a:pt x="659" y="405"/>
                  </a:cubicBezTo>
                  <a:cubicBezTo>
                    <a:pt x="721" y="355"/>
                    <a:pt x="733" y="291"/>
                    <a:pt x="733" y="158"/>
                  </a:cubicBezTo>
                  <a:cubicBezTo>
                    <a:pt x="733" y="158"/>
                    <a:pt x="750" y="113"/>
                    <a:pt x="833" y="113"/>
                  </a:cubicBezTo>
                  <a:cubicBezTo>
                    <a:pt x="916" y="113"/>
                    <a:pt x="934" y="158"/>
                    <a:pt x="934" y="158"/>
                  </a:cubicBezTo>
                  <a:cubicBezTo>
                    <a:pt x="934" y="291"/>
                    <a:pt x="945" y="355"/>
                    <a:pt x="1007" y="405"/>
                  </a:cubicBezTo>
                  <a:cubicBezTo>
                    <a:pt x="939" y="361"/>
                    <a:pt x="864" y="360"/>
                    <a:pt x="833" y="360"/>
                  </a:cubicBezTo>
                  <a:close/>
                  <a:moveTo>
                    <a:pt x="833" y="1271"/>
                  </a:moveTo>
                  <a:cubicBezTo>
                    <a:pt x="792" y="1271"/>
                    <a:pt x="691" y="1272"/>
                    <a:pt x="601" y="1331"/>
                  </a:cubicBezTo>
                  <a:cubicBezTo>
                    <a:pt x="684" y="1264"/>
                    <a:pt x="699" y="1179"/>
                    <a:pt x="699" y="1001"/>
                  </a:cubicBezTo>
                  <a:cubicBezTo>
                    <a:pt x="699" y="1001"/>
                    <a:pt x="722" y="942"/>
                    <a:pt x="833" y="942"/>
                  </a:cubicBezTo>
                  <a:cubicBezTo>
                    <a:pt x="944" y="942"/>
                    <a:pt x="967" y="1001"/>
                    <a:pt x="967" y="1001"/>
                  </a:cubicBezTo>
                  <a:cubicBezTo>
                    <a:pt x="967" y="1179"/>
                    <a:pt x="982" y="1264"/>
                    <a:pt x="1065" y="1331"/>
                  </a:cubicBezTo>
                  <a:cubicBezTo>
                    <a:pt x="975" y="1272"/>
                    <a:pt x="874" y="1271"/>
                    <a:pt x="833" y="1271"/>
                  </a:cubicBezTo>
                  <a:close/>
                  <a:moveTo>
                    <a:pt x="376" y="534"/>
                  </a:moveTo>
                  <a:cubicBezTo>
                    <a:pt x="309" y="534"/>
                    <a:pt x="146" y="536"/>
                    <a:pt x="0" y="632"/>
                  </a:cubicBezTo>
                  <a:cubicBezTo>
                    <a:pt x="134" y="523"/>
                    <a:pt x="159" y="385"/>
                    <a:pt x="159" y="97"/>
                  </a:cubicBezTo>
                  <a:cubicBezTo>
                    <a:pt x="159" y="97"/>
                    <a:pt x="196" y="0"/>
                    <a:pt x="376" y="0"/>
                  </a:cubicBezTo>
                  <a:cubicBezTo>
                    <a:pt x="556" y="0"/>
                    <a:pt x="594" y="97"/>
                    <a:pt x="594" y="97"/>
                  </a:cubicBezTo>
                  <a:cubicBezTo>
                    <a:pt x="594" y="385"/>
                    <a:pt x="619" y="523"/>
                    <a:pt x="752" y="632"/>
                  </a:cubicBezTo>
                  <a:cubicBezTo>
                    <a:pt x="606" y="536"/>
                    <a:pt x="443" y="534"/>
                    <a:pt x="376" y="534"/>
                  </a:cubicBezTo>
                  <a:close/>
                  <a:moveTo>
                    <a:pt x="1290" y="534"/>
                  </a:moveTo>
                  <a:cubicBezTo>
                    <a:pt x="1223" y="534"/>
                    <a:pt x="1060" y="536"/>
                    <a:pt x="913" y="632"/>
                  </a:cubicBezTo>
                  <a:cubicBezTo>
                    <a:pt x="1047" y="523"/>
                    <a:pt x="1072" y="385"/>
                    <a:pt x="1072" y="97"/>
                  </a:cubicBezTo>
                  <a:cubicBezTo>
                    <a:pt x="1072" y="97"/>
                    <a:pt x="1110" y="0"/>
                    <a:pt x="1290" y="0"/>
                  </a:cubicBezTo>
                  <a:cubicBezTo>
                    <a:pt x="1469" y="0"/>
                    <a:pt x="1507" y="97"/>
                    <a:pt x="1507" y="97"/>
                  </a:cubicBezTo>
                  <a:cubicBezTo>
                    <a:pt x="1507" y="385"/>
                    <a:pt x="1532" y="523"/>
                    <a:pt x="1666" y="632"/>
                  </a:cubicBezTo>
                  <a:cubicBezTo>
                    <a:pt x="1520" y="536"/>
                    <a:pt x="1357" y="534"/>
                    <a:pt x="1290" y="534"/>
                  </a:cubicBezTo>
                  <a:close/>
                  <a:moveTo>
                    <a:pt x="1275" y="1491"/>
                  </a:moveTo>
                  <a:cubicBezTo>
                    <a:pt x="1225" y="1491"/>
                    <a:pt x="1103" y="1492"/>
                    <a:pt x="993" y="1564"/>
                  </a:cubicBezTo>
                  <a:cubicBezTo>
                    <a:pt x="1093" y="1483"/>
                    <a:pt x="1112" y="1380"/>
                    <a:pt x="1112" y="1164"/>
                  </a:cubicBezTo>
                  <a:cubicBezTo>
                    <a:pt x="1112" y="1164"/>
                    <a:pt x="1140" y="1092"/>
                    <a:pt x="1275" y="1092"/>
                  </a:cubicBezTo>
                  <a:cubicBezTo>
                    <a:pt x="1409" y="1092"/>
                    <a:pt x="1437" y="1164"/>
                    <a:pt x="1437" y="1164"/>
                  </a:cubicBezTo>
                  <a:cubicBezTo>
                    <a:pt x="1437" y="1380"/>
                    <a:pt x="1456" y="1483"/>
                    <a:pt x="1556" y="1564"/>
                  </a:cubicBezTo>
                  <a:cubicBezTo>
                    <a:pt x="1446" y="1492"/>
                    <a:pt x="1325" y="1491"/>
                    <a:pt x="1275" y="1491"/>
                  </a:cubicBezTo>
                  <a:close/>
                </a:path>
              </a:pathLst>
            </a:custGeom>
            <a:solidFill>
              <a:srgbClr val="9ABCD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0"/>
            </a:p>
          </p:txBody>
        </p:sp>
        <p:sp>
          <p:nvSpPr>
            <p:cNvPr id="42" name="Glocken innen"/>
            <p:cNvSpPr>
              <a:spLocks noEditPoints="1"/>
            </p:cNvSpPr>
            <p:nvPr userDrawn="1"/>
          </p:nvSpPr>
          <p:spPr bwMode="auto">
            <a:xfrm>
              <a:off x="4752" y="2323"/>
              <a:ext cx="394" cy="568"/>
            </a:xfrm>
            <a:custGeom>
              <a:avLst/>
              <a:gdLst>
                <a:gd name="T0" fmla="*/ 701 w 1735"/>
                <a:gd name="T1" fmla="*/ 449 h 2505"/>
                <a:gd name="T2" fmla="*/ 121 w 1735"/>
                <a:gd name="T3" fmla="*/ 448 h 2505"/>
                <a:gd name="T4" fmla="*/ 121 w 1735"/>
                <a:gd name="T5" fmla="*/ 221 h 2505"/>
                <a:gd name="T6" fmla="*/ 699 w 1735"/>
                <a:gd name="T7" fmla="*/ 221 h 2505"/>
                <a:gd name="T8" fmla="*/ 1153 w 1735"/>
                <a:gd name="T9" fmla="*/ 1977 h 2505"/>
                <a:gd name="T10" fmla="*/ 867 w 1735"/>
                <a:gd name="T11" fmla="*/ 2087 h 2505"/>
                <a:gd name="T12" fmla="*/ 582 w 1735"/>
                <a:gd name="T13" fmla="*/ 1975 h 2505"/>
                <a:gd name="T14" fmla="*/ 867 w 1735"/>
                <a:gd name="T15" fmla="*/ 1863 h 2505"/>
                <a:gd name="T16" fmla="*/ 1153 w 1735"/>
                <a:gd name="T17" fmla="*/ 1977 h 2505"/>
                <a:gd name="T18" fmla="*/ 643 w 1735"/>
                <a:gd name="T19" fmla="*/ 1337 h 2505"/>
                <a:gd name="T20" fmla="*/ 209 w 1735"/>
                <a:gd name="T21" fmla="*/ 1337 h 2505"/>
                <a:gd name="T22" fmla="*/ 209 w 1735"/>
                <a:gd name="T23" fmla="*/ 1166 h 2505"/>
                <a:gd name="T24" fmla="*/ 642 w 1735"/>
                <a:gd name="T25" fmla="*/ 1167 h 2505"/>
                <a:gd name="T26" fmla="*/ 1013 w 1735"/>
                <a:gd name="T27" fmla="*/ 1439 h 2505"/>
                <a:gd name="T28" fmla="*/ 867 w 1735"/>
                <a:gd name="T29" fmla="*/ 1496 h 2505"/>
                <a:gd name="T30" fmla="*/ 722 w 1735"/>
                <a:gd name="T31" fmla="*/ 1438 h 2505"/>
                <a:gd name="T32" fmla="*/ 867 w 1735"/>
                <a:gd name="T33" fmla="*/ 1381 h 2505"/>
                <a:gd name="T34" fmla="*/ 1013 w 1735"/>
                <a:gd name="T35" fmla="*/ 1439 h 2505"/>
                <a:gd name="T36" fmla="*/ 702 w 1735"/>
                <a:gd name="T37" fmla="*/ 2459 h 2505"/>
                <a:gd name="T38" fmla="*/ 122 w 1735"/>
                <a:gd name="T39" fmla="*/ 2458 h 2505"/>
                <a:gd name="T40" fmla="*/ 122 w 1735"/>
                <a:gd name="T41" fmla="*/ 2229 h 2505"/>
                <a:gd name="T42" fmla="*/ 701 w 1735"/>
                <a:gd name="T43" fmla="*/ 2230 h 2505"/>
                <a:gd name="T44" fmla="*/ 1735 w 1735"/>
                <a:gd name="T45" fmla="*/ 2346 h 2505"/>
                <a:gd name="T46" fmla="*/ 1322 w 1735"/>
                <a:gd name="T47" fmla="*/ 2505 h 2505"/>
                <a:gd name="T48" fmla="*/ 911 w 1735"/>
                <a:gd name="T49" fmla="*/ 2343 h 2505"/>
                <a:gd name="T50" fmla="*/ 1322 w 1735"/>
                <a:gd name="T51" fmla="*/ 2182 h 2505"/>
                <a:gd name="T52" fmla="*/ 1735 w 1735"/>
                <a:gd name="T53" fmla="*/ 2346 h 2505"/>
                <a:gd name="T54" fmla="*/ 1526 w 1735"/>
                <a:gd name="T55" fmla="*/ 1337 h 2505"/>
                <a:gd name="T56" fmla="*/ 1092 w 1735"/>
                <a:gd name="T57" fmla="*/ 1337 h 2505"/>
                <a:gd name="T58" fmla="*/ 1092 w 1735"/>
                <a:gd name="T59" fmla="*/ 1166 h 2505"/>
                <a:gd name="T60" fmla="*/ 1525 w 1735"/>
                <a:gd name="T61" fmla="*/ 1167 h 2505"/>
                <a:gd name="T62" fmla="*/ 1121 w 1735"/>
                <a:gd name="T63" fmla="*/ 1011 h 2505"/>
                <a:gd name="T64" fmla="*/ 867 w 1735"/>
                <a:gd name="T65" fmla="*/ 1109 h 2505"/>
                <a:gd name="T66" fmla="*/ 614 w 1735"/>
                <a:gd name="T67" fmla="*/ 1010 h 2505"/>
                <a:gd name="T68" fmla="*/ 867 w 1735"/>
                <a:gd name="T69" fmla="*/ 911 h 2505"/>
                <a:gd name="T70" fmla="*/ 1121 w 1735"/>
                <a:gd name="T71" fmla="*/ 1011 h 2505"/>
                <a:gd name="T72" fmla="*/ 1002 w 1735"/>
                <a:gd name="T73" fmla="*/ 128 h 2505"/>
                <a:gd name="T74" fmla="*/ 733 w 1735"/>
                <a:gd name="T75" fmla="*/ 128 h 2505"/>
                <a:gd name="T76" fmla="*/ 733 w 1735"/>
                <a:gd name="T77" fmla="*/ 21 h 2505"/>
                <a:gd name="T78" fmla="*/ 1001 w 1735"/>
                <a:gd name="T79" fmla="*/ 22 h 2505"/>
                <a:gd name="T80" fmla="*/ 1735 w 1735"/>
                <a:gd name="T81" fmla="*/ 337 h 2505"/>
                <a:gd name="T82" fmla="*/ 1324 w 1735"/>
                <a:gd name="T83" fmla="*/ 495 h 2505"/>
                <a:gd name="T84" fmla="*/ 913 w 1735"/>
                <a:gd name="T85" fmla="*/ 334 h 2505"/>
                <a:gd name="T86" fmla="*/ 1324 w 1735"/>
                <a:gd name="T87" fmla="*/ 174 h 2505"/>
                <a:gd name="T88" fmla="*/ 1735 w 1735"/>
                <a:gd name="T89" fmla="*/ 337 h 2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735" h="2505">
                  <a:moveTo>
                    <a:pt x="821" y="337"/>
                  </a:moveTo>
                  <a:cubicBezTo>
                    <a:pt x="821" y="381"/>
                    <a:pt x="775" y="420"/>
                    <a:pt x="701" y="449"/>
                  </a:cubicBezTo>
                  <a:cubicBezTo>
                    <a:pt x="626" y="478"/>
                    <a:pt x="524" y="495"/>
                    <a:pt x="410" y="495"/>
                  </a:cubicBezTo>
                  <a:cubicBezTo>
                    <a:pt x="297" y="495"/>
                    <a:pt x="195" y="477"/>
                    <a:pt x="121" y="448"/>
                  </a:cubicBezTo>
                  <a:cubicBezTo>
                    <a:pt x="46" y="419"/>
                    <a:pt x="0" y="378"/>
                    <a:pt x="0" y="334"/>
                  </a:cubicBezTo>
                  <a:cubicBezTo>
                    <a:pt x="0" y="290"/>
                    <a:pt x="46" y="250"/>
                    <a:pt x="121" y="221"/>
                  </a:cubicBezTo>
                  <a:cubicBezTo>
                    <a:pt x="195" y="192"/>
                    <a:pt x="297" y="174"/>
                    <a:pt x="410" y="174"/>
                  </a:cubicBezTo>
                  <a:cubicBezTo>
                    <a:pt x="523" y="174"/>
                    <a:pt x="625" y="192"/>
                    <a:pt x="699" y="221"/>
                  </a:cubicBezTo>
                  <a:cubicBezTo>
                    <a:pt x="775" y="251"/>
                    <a:pt x="821" y="292"/>
                    <a:pt x="821" y="337"/>
                  </a:cubicBezTo>
                  <a:close/>
                  <a:moveTo>
                    <a:pt x="1153" y="1977"/>
                  </a:moveTo>
                  <a:cubicBezTo>
                    <a:pt x="1153" y="2007"/>
                    <a:pt x="1121" y="2035"/>
                    <a:pt x="1069" y="2055"/>
                  </a:cubicBezTo>
                  <a:cubicBezTo>
                    <a:pt x="1017" y="2075"/>
                    <a:pt x="946" y="2087"/>
                    <a:pt x="867" y="2087"/>
                  </a:cubicBezTo>
                  <a:cubicBezTo>
                    <a:pt x="788" y="2087"/>
                    <a:pt x="717" y="2075"/>
                    <a:pt x="666" y="2055"/>
                  </a:cubicBezTo>
                  <a:cubicBezTo>
                    <a:pt x="614" y="2034"/>
                    <a:pt x="582" y="2006"/>
                    <a:pt x="582" y="1975"/>
                  </a:cubicBezTo>
                  <a:cubicBezTo>
                    <a:pt x="582" y="1944"/>
                    <a:pt x="614" y="1916"/>
                    <a:pt x="666" y="1896"/>
                  </a:cubicBezTo>
                  <a:cubicBezTo>
                    <a:pt x="717" y="1876"/>
                    <a:pt x="788" y="1863"/>
                    <a:pt x="867" y="1863"/>
                  </a:cubicBezTo>
                  <a:cubicBezTo>
                    <a:pt x="946" y="1863"/>
                    <a:pt x="1017" y="1876"/>
                    <a:pt x="1068" y="1896"/>
                  </a:cubicBezTo>
                  <a:cubicBezTo>
                    <a:pt x="1121" y="1917"/>
                    <a:pt x="1153" y="1946"/>
                    <a:pt x="1153" y="1977"/>
                  </a:cubicBezTo>
                  <a:close/>
                  <a:moveTo>
                    <a:pt x="733" y="1253"/>
                  </a:moveTo>
                  <a:cubicBezTo>
                    <a:pt x="733" y="1286"/>
                    <a:pt x="699" y="1316"/>
                    <a:pt x="643" y="1337"/>
                  </a:cubicBezTo>
                  <a:cubicBezTo>
                    <a:pt x="587" y="1358"/>
                    <a:pt x="510" y="1372"/>
                    <a:pt x="425" y="1372"/>
                  </a:cubicBezTo>
                  <a:cubicBezTo>
                    <a:pt x="341" y="1372"/>
                    <a:pt x="264" y="1358"/>
                    <a:pt x="209" y="1337"/>
                  </a:cubicBezTo>
                  <a:cubicBezTo>
                    <a:pt x="153" y="1315"/>
                    <a:pt x="119" y="1284"/>
                    <a:pt x="119" y="1251"/>
                  </a:cubicBezTo>
                  <a:cubicBezTo>
                    <a:pt x="119" y="1218"/>
                    <a:pt x="153" y="1188"/>
                    <a:pt x="209" y="1166"/>
                  </a:cubicBezTo>
                  <a:cubicBezTo>
                    <a:pt x="264" y="1144"/>
                    <a:pt x="341" y="1131"/>
                    <a:pt x="425" y="1131"/>
                  </a:cubicBezTo>
                  <a:cubicBezTo>
                    <a:pt x="510" y="1131"/>
                    <a:pt x="586" y="1145"/>
                    <a:pt x="642" y="1167"/>
                  </a:cubicBezTo>
                  <a:cubicBezTo>
                    <a:pt x="698" y="1189"/>
                    <a:pt x="733" y="1219"/>
                    <a:pt x="733" y="1253"/>
                  </a:cubicBezTo>
                  <a:close/>
                  <a:moveTo>
                    <a:pt x="1013" y="1439"/>
                  </a:moveTo>
                  <a:cubicBezTo>
                    <a:pt x="1013" y="1455"/>
                    <a:pt x="997" y="1469"/>
                    <a:pt x="970" y="1479"/>
                  </a:cubicBezTo>
                  <a:cubicBezTo>
                    <a:pt x="944" y="1489"/>
                    <a:pt x="907" y="1496"/>
                    <a:pt x="867" y="1496"/>
                  </a:cubicBezTo>
                  <a:cubicBezTo>
                    <a:pt x="827" y="1496"/>
                    <a:pt x="791" y="1489"/>
                    <a:pt x="765" y="1479"/>
                  </a:cubicBezTo>
                  <a:cubicBezTo>
                    <a:pt x="738" y="1469"/>
                    <a:pt x="722" y="1454"/>
                    <a:pt x="722" y="1438"/>
                  </a:cubicBezTo>
                  <a:cubicBezTo>
                    <a:pt x="722" y="1422"/>
                    <a:pt x="738" y="1408"/>
                    <a:pt x="765" y="1398"/>
                  </a:cubicBezTo>
                  <a:cubicBezTo>
                    <a:pt x="791" y="1387"/>
                    <a:pt x="827" y="1381"/>
                    <a:pt x="867" y="1381"/>
                  </a:cubicBezTo>
                  <a:cubicBezTo>
                    <a:pt x="907" y="1381"/>
                    <a:pt x="943" y="1388"/>
                    <a:pt x="969" y="1398"/>
                  </a:cubicBezTo>
                  <a:cubicBezTo>
                    <a:pt x="996" y="1408"/>
                    <a:pt x="1013" y="1423"/>
                    <a:pt x="1013" y="1439"/>
                  </a:cubicBezTo>
                  <a:close/>
                  <a:moveTo>
                    <a:pt x="824" y="2346"/>
                  </a:moveTo>
                  <a:cubicBezTo>
                    <a:pt x="824" y="2390"/>
                    <a:pt x="778" y="2430"/>
                    <a:pt x="702" y="2459"/>
                  </a:cubicBezTo>
                  <a:cubicBezTo>
                    <a:pt x="628" y="2488"/>
                    <a:pt x="525" y="2505"/>
                    <a:pt x="412" y="2505"/>
                  </a:cubicBezTo>
                  <a:cubicBezTo>
                    <a:pt x="298" y="2505"/>
                    <a:pt x="196" y="2487"/>
                    <a:pt x="122" y="2458"/>
                  </a:cubicBezTo>
                  <a:cubicBezTo>
                    <a:pt x="47" y="2429"/>
                    <a:pt x="0" y="2388"/>
                    <a:pt x="0" y="2343"/>
                  </a:cubicBezTo>
                  <a:cubicBezTo>
                    <a:pt x="0" y="2299"/>
                    <a:pt x="47" y="2258"/>
                    <a:pt x="122" y="2229"/>
                  </a:cubicBezTo>
                  <a:cubicBezTo>
                    <a:pt x="196" y="2200"/>
                    <a:pt x="298" y="2182"/>
                    <a:pt x="412" y="2182"/>
                  </a:cubicBezTo>
                  <a:cubicBezTo>
                    <a:pt x="525" y="2182"/>
                    <a:pt x="627" y="2200"/>
                    <a:pt x="701" y="2230"/>
                  </a:cubicBezTo>
                  <a:cubicBezTo>
                    <a:pt x="777" y="2259"/>
                    <a:pt x="824" y="2301"/>
                    <a:pt x="824" y="2346"/>
                  </a:cubicBezTo>
                  <a:close/>
                  <a:moveTo>
                    <a:pt x="1735" y="2346"/>
                  </a:moveTo>
                  <a:cubicBezTo>
                    <a:pt x="1735" y="2390"/>
                    <a:pt x="1688" y="2430"/>
                    <a:pt x="1613" y="2459"/>
                  </a:cubicBezTo>
                  <a:cubicBezTo>
                    <a:pt x="1539" y="2488"/>
                    <a:pt x="1436" y="2505"/>
                    <a:pt x="1322" y="2505"/>
                  </a:cubicBezTo>
                  <a:cubicBezTo>
                    <a:pt x="1209" y="2505"/>
                    <a:pt x="1107" y="2487"/>
                    <a:pt x="1033" y="2458"/>
                  </a:cubicBezTo>
                  <a:cubicBezTo>
                    <a:pt x="957" y="2429"/>
                    <a:pt x="911" y="2388"/>
                    <a:pt x="911" y="2343"/>
                  </a:cubicBezTo>
                  <a:cubicBezTo>
                    <a:pt x="911" y="2299"/>
                    <a:pt x="957" y="2258"/>
                    <a:pt x="1032" y="2229"/>
                  </a:cubicBezTo>
                  <a:cubicBezTo>
                    <a:pt x="1106" y="2200"/>
                    <a:pt x="1209" y="2182"/>
                    <a:pt x="1322" y="2182"/>
                  </a:cubicBezTo>
                  <a:cubicBezTo>
                    <a:pt x="1435" y="2182"/>
                    <a:pt x="1538" y="2200"/>
                    <a:pt x="1612" y="2230"/>
                  </a:cubicBezTo>
                  <a:cubicBezTo>
                    <a:pt x="1688" y="2259"/>
                    <a:pt x="1735" y="2301"/>
                    <a:pt x="1735" y="2346"/>
                  </a:cubicBezTo>
                  <a:close/>
                  <a:moveTo>
                    <a:pt x="1616" y="1253"/>
                  </a:moveTo>
                  <a:cubicBezTo>
                    <a:pt x="1616" y="1286"/>
                    <a:pt x="1582" y="1316"/>
                    <a:pt x="1526" y="1337"/>
                  </a:cubicBezTo>
                  <a:cubicBezTo>
                    <a:pt x="1470" y="1358"/>
                    <a:pt x="1394" y="1372"/>
                    <a:pt x="1309" y="1372"/>
                  </a:cubicBezTo>
                  <a:cubicBezTo>
                    <a:pt x="1224" y="1372"/>
                    <a:pt x="1148" y="1358"/>
                    <a:pt x="1092" y="1337"/>
                  </a:cubicBezTo>
                  <a:cubicBezTo>
                    <a:pt x="1036" y="1315"/>
                    <a:pt x="1002" y="1284"/>
                    <a:pt x="1002" y="1251"/>
                  </a:cubicBezTo>
                  <a:cubicBezTo>
                    <a:pt x="1002" y="1218"/>
                    <a:pt x="1036" y="1188"/>
                    <a:pt x="1092" y="1166"/>
                  </a:cubicBezTo>
                  <a:cubicBezTo>
                    <a:pt x="1147" y="1144"/>
                    <a:pt x="1224" y="1131"/>
                    <a:pt x="1309" y="1131"/>
                  </a:cubicBezTo>
                  <a:cubicBezTo>
                    <a:pt x="1393" y="1131"/>
                    <a:pt x="1469" y="1145"/>
                    <a:pt x="1525" y="1167"/>
                  </a:cubicBezTo>
                  <a:cubicBezTo>
                    <a:pt x="1581" y="1189"/>
                    <a:pt x="1616" y="1219"/>
                    <a:pt x="1616" y="1253"/>
                  </a:cubicBezTo>
                  <a:close/>
                  <a:moveTo>
                    <a:pt x="1121" y="1011"/>
                  </a:moveTo>
                  <a:cubicBezTo>
                    <a:pt x="1121" y="1038"/>
                    <a:pt x="1092" y="1063"/>
                    <a:pt x="1046" y="1081"/>
                  </a:cubicBezTo>
                  <a:cubicBezTo>
                    <a:pt x="1000" y="1098"/>
                    <a:pt x="937" y="1109"/>
                    <a:pt x="867" y="1109"/>
                  </a:cubicBezTo>
                  <a:cubicBezTo>
                    <a:pt x="797" y="1109"/>
                    <a:pt x="734" y="1098"/>
                    <a:pt x="689" y="1080"/>
                  </a:cubicBezTo>
                  <a:cubicBezTo>
                    <a:pt x="643" y="1062"/>
                    <a:pt x="614" y="1037"/>
                    <a:pt x="614" y="1010"/>
                  </a:cubicBezTo>
                  <a:cubicBezTo>
                    <a:pt x="614" y="982"/>
                    <a:pt x="642" y="957"/>
                    <a:pt x="689" y="939"/>
                  </a:cubicBezTo>
                  <a:cubicBezTo>
                    <a:pt x="734" y="922"/>
                    <a:pt x="797" y="911"/>
                    <a:pt x="867" y="911"/>
                  </a:cubicBezTo>
                  <a:cubicBezTo>
                    <a:pt x="937" y="911"/>
                    <a:pt x="1000" y="922"/>
                    <a:pt x="1045" y="940"/>
                  </a:cubicBezTo>
                  <a:cubicBezTo>
                    <a:pt x="1092" y="958"/>
                    <a:pt x="1121" y="984"/>
                    <a:pt x="1121" y="1011"/>
                  </a:cubicBezTo>
                  <a:close/>
                  <a:moveTo>
                    <a:pt x="1058" y="76"/>
                  </a:moveTo>
                  <a:cubicBezTo>
                    <a:pt x="1058" y="96"/>
                    <a:pt x="1036" y="115"/>
                    <a:pt x="1002" y="128"/>
                  </a:cubicBezTo>
                  <a:cubicBezTo>
                    <a:pt x="967" y="141"/>
                    <a:pt x="920" y="150"/>
                    <a:pt x="867" y="150"/>
                  </a:cubicBezTo>
                  <a:cubicBezTo>
                    <a:pt x="815" y="150"/>
                    <a:pt x="767" y="141"/>
                    <a:pt x="733" y="128"/>
                  </a:cubicBezTo>
                  <a:cubicBezTo>
                    <a:pt x="698" y="114"/>
                    <a:pt x="677" y="95"/>
                    <a:pt x="677" y="74"/>
                  </a:cubicBezTo>
                  <a:cubicBezTo>
                    <a:pt x="677" y="54"/>
                    <a:pt x="698" y="35"/>
                    <a:pt x="733" y="21"/>
                  </a:cubicBezTo>
                  <a:cubicBezTo>
                    <a:pt x="767" y="8"/>
                    <a:pt x="815" y="0"/>
                    <a:pt x="867" y="0"/>
                  </a:cubicBezTo>
                  <a:cubicBezTo>
                    <a:pt x="919" y="0"/>
                    <a:pt x="967" y="8"/>
                    <a:pt x="1001" y="22"/>
                  </a:cubicBezTo>
                  <a:cubicBezTo>
                    <a:pt x="1036" y="36"/>
                    <a:pt x="1058" y="55"/>
                    <a:pt x="1058" y="76"/>
                  </a:cubicBezTo>
                  <a:close/>
                  <a:moveTo>
                    <a:pt x="1735" y="337"/>
                  </a:moveTo>
                  <a:cubicBezTo>
                    <a:pt x="1735" y="381"/>
                    <a:pt x="1689" y="420"/>
                    <a:pt x="1614" y="449"/>
                  </a:cubicBezTo>
                  <a:cubicBezTo>
                    <a:pt x="1540" y="478"/>
                    <a:pt x="1437" y="495"/>
                    <a:pt x="1324" y="495"/>
                  </a:cubicBezTo>
                  <a:cubicBezTo>
                    <a:pt x="1210" y="495"/>
                    <a:pt x="1108" y="477"/>
                    <a:pt x="1034" y="448"/>
                  </a:cubicBezTo>
                  <a:cubicBezTo>
                    <a:pt x="960" y="419"/>
                    <a:pt x="913" y="378"/>
                    <a:pt x="913" y="334"/>
                  </a:cubicBezTo>
                  <a:cubicBezTo>
                    <a:pt x="913" y="290"/>
                    <a:pt x="959" y="250"/>
                    <a:pt x="1034" y="221"/>
                  </a:cubicBezTo>
                  <a:cubicBezTo>
                    <a:pt x="1108" y="192"/>
                    <a:pt x="1210" y="174"/>
                    <a:pt x="1324" y="174"/>
                  </a:cubicBezTo>
                  <a:cubicBezTo>
                    <a:pt x="1437" y="174"/>
                    <a:pt x="1539" y="192"/>
                    <a:pt x="1613" y="221"/>
                  </a:cubicBezTo>
                  <a:cubicBezTo>
                    <a:pt x="1688" y="251"/>
                    <a:pt x="1735" y="292"/>
                    <a:pt x="1735" y="337"/>
                  </a:cubicBezTo>
                  <a:close/>
                </a:path>
              </a:pathLst>
            </a:custGeom>
            <a:solidFill>
              <a:srgbClr val="679AB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0"/>
            </a:p>
          </p:txBody>
        </p:sp>
        <p:sp>
          <p:nvSpPr>
            <p:cNvPr id="43" name="Türmchen"/>
            <p:cNvSpPr>
              <a:spLocks noEditPoints="1"/>
            </p:cNvSpPr>
            <p:nvPr userDrawn="1"/>
          </p:nvSpPr>
          <p:spPr bwMode="auto">
            <a:xfrm>
              <a:off x="3550" y="652"/>
              <a:ext cx="2210" cy="2902"/>
            </a:xfrm>
            <a:custGeom>
              <a:avLst/>
              <a:gdLst>
                <a:gd name="T0" fmla="*/ 5533 w 9745"/>
                <a:gd name="T1" fmla="*/ 9734 h 12800"/>
                <a:gd name="T2" fmla="*/ 6802 w 9745"/>
                <a:gd name="T3" fmla="*/ 9015 h 12800"/>
                <a:gd name="T4" fmla="*/ 5928 w 9745"/>
                <a:gd name="T5" fmla="*/ 7113 h 12800"/>
                <a:gd name="T6" fmla="*/ 6028 w 9745"/>
                <a:gd name="T7" fmla="*/ 8142 h 12800"/>
                <a:gd name="T8" fmla="*/ 6306 w 9745"/>
                <a:gd name="T9" fmla="*/ 8142 h 12800"/>
                <a:gd name="T10" fmla="*/ 6802 w 9745"/>
                <a:gd name="T11" fmla="*/ 7927 h 12800"/>
                <a:gd name="T12" fmla="*/ 6554 w 9745"/>
                <a:gd name="T13" fmla="*/ 6972 h 12800"/>
                <a:gd name="T14" fmla="*/ 6192 w 9745"/>
                <a:gd name="T15" fmla="*/ 802 h 12800"/>
                <a:gd name="T16" fmla="*/ 6134 w 9745"/>
                <a:gd name="T17" fmla="*/ 1080 h 12800"/>
                <a:gd name="T18" fmla="*/ 5850 w 9745"/>
                <a:gd name="T19" fmla="*/ 965 h 12800"/>
                <a:gd name="T20" fmla="*/ 5805 w 9745"/>
                <a:gd name="T21" fmla="*/ 641 h 12800"/>
                <a:gd name="T22" fmla="*/ 5585 w 9745"/>
                <a:gd name="T23" fmla="*/ 806 h 12800"/>
                <a:gd name="T24" fmla="*/ 5658 w 9745"/>
                <a:gd name="T25" fmla="*/ 1077 h 12800"/>
                <a:gd name="T26" fmla="*/ 5861 w 9745"/>
                <a:gd name="T27" fmla="*/ 1309 h 12800"/>
                <a:gd name="T28" fmla="*/ 5987 w 9745"/>
                <a:gd name="T29" fmla="*/ 2976 h 12800"/>
                <a:gd name="T30" fmla="*/ 6067 w 9745"/>
                <a:gd name="T31" fmla="*/ 3592 h 12800"/>
                <a:gd name="T32" fmla="*/ 5923 w 9745"/>
                <a:gd name="T33" fmla="*/ 4034 h 12800"/>
                <a:gd name="T34" fmla="*/ 4917 w 9745"/>
                <a:gd name="T35" fmla="*/ 5382 h 12800"/>
                <a:gd name="T36" fmla="*/ 4012 w 9745"/>
                <a:gd name="T37" fmla="*/ 6687 h 12800"/>
                <a:gd name="T38" fmla="*/ 4589 w 9745"/>
                <a:gd name="T39" fmla="*/ 8242 h 12800"/>
                <a:gd name="T40" fmla="*/ 4504 w 9745"/>
                <a:gd name="T41" fmla="*/ 10745 h 12800"/>
                <a:gd name="T42" fmla="*/ 0 w 9745"/>
                <a:gd name="T43" fmla="*/ 12800 h 12800"/>
                <a:gd name="T44" fmla="*/ 8065 w 9745"/>
                <a:gd name="T45" fmla="*/ 11069 h 12800"/>
                <a:gd name="T46" fmla="*/ 7802 w 9745"/>
                <a:gd name="T47" fmla="*/ 8366 h 12800"/>
                <a:gd name="T48" fmla="*/ 8154 w 9745"/>
                <a:gd name="T49" fmla="*/ 7161 h 12800"/>
                <a:gd name="T50" fmla="*/ 7723 w 9745"/>
                <a:gd name="T51" fmla="*/ 5759 h 12800"/>
                <a:gd name="T52" fmla="*/ 6436 w 9745"/>
                <a:gd name="T53" fmla="*/ 4207 h 12800"/>
                <a:gd name="T54" fmla="*/ 6228 w 9745"/>
                <a:gd name="T55" fmla="*/ 3673 h 12800"/>
                <a:gd name="T56" fmla="*/ 6236 w 9745"/>
                <a:gd name="T57" fmla="*/ 2850 h 12800"/>
                <a:gd name="T58" fmla="*/ 6470 w 9745"/>
                <a:gd name="T59" fmla="*/ 2554 h 12800"/>
                <a:gd name="T60" fmla="*/ 6408 w 9745"/>
                <a:gd name="T61" fmla="*/ 2285 h 12800"/>
                <a:gd name="T62" fmla="*/ 6621 w 9745"/>
                <a:gd name="T63" fmla="*/ 2320 h 12800"/>
                <a:gd name="T64" fmla="*/ 6866 w 9745"/>
                <a:gd name="T65" fmla="*/ 2173 h 12800"/>
                <a:gd name="T66" fmla="*/ 6754 w 9745"/>
                <a:gd name="T67" fmla="*/ 1290 h 12800"/>
                <a:gd name="T68" fmla="*/ 6837 w 9745"/>
                <a:gd name="T69" fmla="*/ 710 h 12800"/>
                <a:gd name="T70" fmla="*/ 6934 w 9745"/>
                <a:gd name="T71" fmla="*/ 315 h 12800"/>
                <a:gd name="T72" fmla="*/ 6768 w 9745"/>
                <a:gd name="T73" fmla="*/ 248 h 12800"/>
                <a:gd name="T74" fmla="*/ 6594 w 9745"/>
                <a:gd name="T75" fmla="*/ 2143 h 12800"/>
                <a:gd name="T76" fmla="*/ 6672 w 9745"/>
                <a:gd name="T77" fmla="*/ 2052 h 12800"/>
                <a:gd name="T78" fmla="*/ 6635 w 9745"/>
                <a:gd name="T79" fmla="*/ 2123 h 12800"/>
                <a:gd name="T80" fmla="*/ 6536 w 9745"/>
                <a:gd name="T81" fmla="*/ 2085 h 12800"/>
                <a:gd name="T82" fmla="*/ 6594 w 9745"/>
                <a:gd name="T83" fmla="*/ 1941 h 12800"/>
                <a:gd name="T84" fmla="*/ 6487 w 9745"/>
                <a:gd name="T85" fmla="*/ 2048 h 12800"/>
                <a:gd name="T86" fmla="*/ 6530 w 9745"/>
                <a:gd name="T87" fmla="*/ 1916 h 12800"/>
                <a:gd name="T88" fmla="*/ 6504 w 9745"/>
                <a:gd name="T89" fmla="*/ 2040 h 12800"/>
                <a:gd name="T90" fmla="*/ 6495 w 9745"/>
                <a:gd name="T91" fmla="*/ 1853 h 12800"/>
                <a:gd name="T92" fmla="*/ 6487 w 9745"/>
                <a:gd name="T93" fmla="*/ 1613 h 12800"/>
                <a:gd name="T94" fmla="*/ 6520 w 9745"/>
                <a:gd name="T95" fmla="*/ 1633 h 12800"/>
                <a:gd name="T96" fmla="*/ 6303 w 9745"/>
                <a:gd name="T97" fmla="*/ 1639 h 12800"/>
                <a:gd name="T98" fmla="*/ 6292 w 9745"/>
                <a:gd name="T99" fmla="*/ 1469 h 12800"/>
                <a:gd name="T100" fmla="*/ 6433 w 9745"/>
                <a:gd name="T101" fmla="*/ 1689 h 12800"/>
                <a:gd name="T102" fmla="*/ 6227 w 9745"/>
                <a:gd name="T103" fmla="*/ 1052 h 12800"/>
                <a:gd name="T104" fmla="*/ 6263 w 9745"/>
                <a:gd name="T105" fmla="*/ 983 h 12800"/>
                <a:gd name="T106" fmla="*/ 6263 w 9745"/>
                <a:gd name="T107" fmla="*/ 1064 h 12800"/>
                <a:gd name="T108" fmla="*/ 6346 w 9745"/>
                <a:gd name="T109" fmla="*/ 856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9745" h="12800">
                  <a:moveTo>
                    <a:pt x="6802" y="9734"/>
                  </a:moveTo>
                  <a:lnTo>
                    <a:pt x="6802" y="9734"/>
                  </a:lnTo>
                  <a:lnTo>
                    <a:pt x="6802" y="9734"/>
                  </a:lnTo>
                  <a:cubicBezTo>
                    <a:pt x="6595" y="9706"/>
                    <a:pt x="6262" y="9698"/>
                    <a:pt x="6167" y="9698"/>
                  </a:cubicBezTo>
                  <a:lnTo>
                    <a:pt x="6167" y="9698"/>
                  </a:lnTo>
                  <a:cubicBezTo>
                    <a:pt x="6072" y="9698"/>
                    <a:pt x="5739" y="9706"/>
                    <a:pt x="5533" y="9734"/>
                  </a:cubicBezTo>
                  <a:lnTo>
                    <a:pt x="5533" y="9734"/>
                  </a:lnTo>
                  <a:lnTo>
                    <a:pt x="5533" y="9072"/>
                  </a:lnTo>
                  <a:lnTo>
                    <a:pt x="6011" y="9072"/>
                  </a:lnTo>
                  <a:cubicBezTo>
                    <a:pt x="6013" y="9054"/>
                    <a:pt x="6014" y="9035"/>
                    <a:pt x="6015" y="9015"/>
                  </a:cubicBezTo>
                  <a:lnTo>
                    <a:pt x="5533" y="9015"/>
                  </a:lnTo>
                  <a:lnTo>
                    <a:pt x="5533" y="8924"/>
                  </a:lnTo>
                  <a:lnTo>
                    <a:pt x="6802" y="8924"/>
                  </a:lnTo>
                  <a:lnTo>
                    <a:pt x="6802" y="9015"/>
                  </a:lnTo>
                  <a:lnTo>
                    <a:pt x="6319" y="9015"/>
                  </a:lnTo>
                  <a:cubicBezTo>
                    <a:pt x="6320" y="9035"/>
                    <a:pt x="6321" y="9054"/>
                    <a:pt x="6323" y="9072"/>
                  </a:cubicBezTo>
                  <a:lnTo>
                    <a:pt x="6802" y="9072"/>
                  </a:lnTo>
                  <a:lnTo>
                    <a:pt x="6802" y="9734"/>
                  </a:lnTo>
                  <a:close/>
                  <a:moveTo>
                    <a:pt x="6406" y="7151"/>
                  </a:moveTo>
                  <a:lnTo>
                    <a:pt x="5928" y="7151"/>
                  </a:lnTo>
                  <a:cubicBezTo>
                    <a:pt x="5928" y="7139"/>
                    <a:pt x="5928" y="7126"/>
                    <a:pt x="5928" y="7113"/>
                  </a:cubicBezTo>
                  <a:lnTo>
                    <a:pt x="6406" y="7113"/>
                  </a:lnTo>
                  <a:cubicBezTo>
                    <a:pt x="6406" y="7126"/>
                    <a:pt x="6406" y="7139"/>
                    <a:pt x="6406" y="7151"/>
                  </a:cubicBezTo>
                  <a:close/>
                  <a:moveTo>
                    <a:pt x="6802" y="8142"/>
                  </a:moveTo>
                  <a:lnTo>
                    <a:pt x="6802" y="8848"/>
                  </a:lnTo>
                  <a:lnTo>
                    <a:pt x="5533" y="8848"/>
                  </a:lnTo>
                  <a:lnTo>
                    <a:pt x="5533" y="8142"/>
                  </a:lnTo>
                  <a:lnTo>
                    <a:pt x="6028" y="8142"/>
                  </a:lnTo>
                  <a:cubicBezTo>
                    <a:pt x="6030" y="8125"/>
                    <a:pt x="6031" y="8106"/>
                    <a:pt x="6032" y="8085"/>
                  </a:cubicBezTo>
                  <a:lnTo>
                    <a:pt x="5533" y="8085"/>
                  </a:lnTo>
                  <a:lnTo>
                    <a:pt x="5533" y="8003"/>
                  </a:lnTo>
                  <a:lnTo>
                    <a:pt x="6802" y="8003"/>
                  </a:lnTo>
                  <a:lnTo>
                    <a:pt x="6802" y="8085"/>
                  </a:lnTo>
                  <a:lnTo>
                    <a:pt x="6302" y="8085"/>
                  </a:lnTo>
                  <a:cubicBezTo>
                    <a:pt x="6303" y="8106"/>
                    <a:pt x="6304" y="8125"/>
                    <a:pt x="6306" y="8142"/>
                  </a:cubicBezTo>
                  <a:lnTo>
                    <a:pt x="6802" y="8142"/>
                  </a:lnTo>
                  <a:moveTo>
                    <a:pt x="5533" y="7927"/>
                  </a:moveTo>
                  <a:lnTo>
                    <a:pt x="5533" y="7431"/>
                  </a:lnTo>
                  <a:cubicBezTo>
                    <a:pt x="5533" y="7309"/>
                    <a:pt x="5661" y="7184"/>
                    <a:pt x="5741" y="7049"/>
                  </a:cubicBezTo>
                  <a:lnTo>
                    <a:pt x="6593" y="7049"/>
                  </a:lnTo>
                  <a:cubicBezTo>
                    <a:pt x="6674" y="7184"/>
                    <a:pt x="6802" y="7309"/>
                    <a:pt x="6802" y="7431"/>
                  </a:cubicBezTo>
                  <a:lnTo>
                    <a:pt x="6802" y="7927"/>
                  </a:lnTo>
                  <a:lnTo>
                    <a:pt x="5533" y="7927"/>
                  </a:lnTo>
                  <a:close/>
                  <a:moveTo>
                    <a:pt x="5780" y="6972"/>
                  </a:moveTo>
                  <a:cubicBezTo>
                    <a:pt x="5796" y="6934"/>
                    <a:pt x="5806" y="6895"/>
                    <a:pt x="5806" y="6854"/>
                  </a:cubicBezTo>
                  <a:cubicBezTo>
                    <a:pt x="5806" y="6854"/>
                    <a:pt x="6057" y="6834"/>
                    <a:pt x="6167" y="6834"/>
                  </a:cubicBezTo>
                  <a:lnTo>
                    <a:pt x="6167" y="6834"/>
                  </a:lnTo>
                  <a:cubicBezTo>
                    <a:pt x="6278" y="6834"/>
                    <a:pt x="6529" y="6854"/>
                    <a:pt x="6529" y="6854"/>
                  </a:cubicBezTo>
                  <a:cubicBezTo>
                    <a:pt x="6529" y="6895"/>
                    <a:pt x="6538" y="6934"/>
                    <a:pt x="6554" y="6972"/>
                  </a:cubicBezTo>
                  <a:lnTo>
                    <a:pt x="5780" y="6972"/>
                  </a:lnTo>
                  <a:close/>
                  <a:moveTo>
                    <a:pt x="6770" y="0"/>
                  </a:moveTo>
                  <a:lnTo>
                    <a:pt x="6770" y="0"/>
                  </a:lnTo>
                  <a:cubicBezTo>
                    <a:pt x="6740" y="91"/>
                    <a:pt x="6687" y="194"/>
                    <a:pt x="6629" y="310"/>
                  </a:cubicBezTo>
                  <a:cubicBezTo>
                    <a:pt x="6571" y="425"/>
                    <a:pt x="6518" y="487"/>
                    <a:pt x="6484" y="547"/>
                  </a:cubicBezTo>
                  <a:cubicBezTo>
                    <a:pt x="6419" y="609"/>
                    <a:pt x="6342" y="758"/>
                    <a:pt x="6332" y="805"/>
                  </a:cubicBezTo>
                  <a:cubicBezTo>
                    <a:pt x="6309" y="795"/>
                    <a:pt x="6199" y="795"/>
                    <a:pt x="6192" y="802"/>
                  </a:cubicBezTo>
                  <a:cubicBezTo>
                    <a:pt x="6108" y="802"/>
                    <a:pt x="6112" y="888"/>
                    <a:pt x="6112" y="888"/>
                  </a:cubicBezTo>
                  <a:cubicBezTo>
                    <a:pt x="6112" y="888"/>
                    <a:pt x="6105" y="897"/>
                    <a:pt x="6098" y="916"/>
                  </a:cubicBezTo>
                  <a:cubicBezTo>
                    <a:pt x="6091" y="935"/>
                    <a:pt x="6097" y="988"/>
                    <a:pt x="6097" y="1006"/>
                  </a:cubicBezTo>
                  <a:lnTo>
                    <a:pt x="6090" y="1019"/>
                  </a:lnTo>
                  <a:lnTo>
                    <a:pt x="6104" y="1027"/>
                  </a:lnTo>
                  <a:cubicBezTo>
                    <a:pt x="6104" y="1027"/>
                    <a:pt x="6106" y="1061"/>
                    <a:pt x="6114" y="1068"/>
                  </a:cubicBezTo>
                  <a:cubicBezTo>
                    <a:pt x="6122" y="1076"/>
                    <a:pt x="6134" y="1080"/>
                    <a:pt x="6134" y="1080"/>
                  </a:cubicBezTo>
                  <a:lnTo>
                    <a:pt x="6135" y="1098"/>
                  </a:lnTo>
                  <a:cubicBezTo>
                    <a:pt x="6135" y="1098"/>
                    <a:pt x="6121" y="1136"/>
                    <a:pt x="6105" y="1148"/>
                  </a:cubicBezTo>
                  <a:cubicBezTo>
                    <a:pt x="6023" y="1143"/>
                    <a:pt x="5976" y="1181"/>
                    <a:pt x="5954" y="1213"/>
                  </a:cubicBezTo>
                  <a:cubicBezTo>
                    <a:pt x="5954" y="1213"/>
                    <a:pt x="5905" y="1208"/>
                    <a:pt x="5887" y="1209"/>
                  </a:cubicBezTo>
                  <a:cubicBezTo>
                    <a:pt x="5875" y="1191"/>
                    <a:pt x="5830" y="1072"/>
                    <a:pt x="5810" y="1056"/>
                  </a:cubicBezTo>
                  <a:cubicBezTo>
                    <a:pt x="5816" y="1047"/>
                    <a:pt x="5815" y="1021"/>
                    <a:pt x="5808" y="1010"/>
                  </a:cubicBezTo>
                  <a:cubicBezTo>
                    <a:pt x="5838" y="997"/>
                    <a:pt x="5850" y="965"/>
                    <a:pt x="5850" y="965"/>
                  </a:cubicBezTo>
                  <a:lnTo>
                    <a:pt x="5841" y="954"/>
                  </a:lnTo>
                  <a:cubicBezTo>
                    <a:pt x="5841" y="954"/>
                    <a:pt x="5861" y="947"/>
                    <a:pt x="5857" y="926"/>
                  </a:cubicBezTo>
                  <a:cubicBezTo>
                    <a:pt x="5903" y="928"/>
                    <a:pt x="5880" y="854"/>
                    <a:pt x="5881" y="843"/>
                  </a:cubicBezTo>
                  <a:cubicBezTo>
                    <a:pt x="5899" y="829"/>
                    <a:pt x="5896" y="777"/>
                    <a:pt x="5896" y="777"/>
                  </a:cubicBezTo>
                  <a:cubicBezTo>
                    <a:pt x="5896" y="777"/>
                    <a:pt x="5883" y="776"/>
                    <a:pt x="5886" y="741"/>
                  </a:cubicBezTo>
                  <a:cubicBezTo>
                    <a:pt x="5889" y="706"/>
                    <a:pt x="5868" y="687"/>
                    <a:pt x="5856" y="681"/>
                  </a:cubicBezTo>
                  <a:cubicBezTo>
                    <a:pt x="5849" y="664"/>
                    <a:pt x="5815" y="642"/>
                    <a:pt x="5805" y="641"/>
                  </a:cubicBezTo>
                  <a:cubicBezTo>
                    <a:pt x="5785" y="626"/>
                    <a:pt x="5743" y="633"/>
                    <a:pt x="5743" y="646"/>
                  </a:cubicBezTo>
                  <a:cubicBezTo>
                    <a:pt x="5730" y="644"/>
                    <a:pt x="5718" y="658"/>
                    <a:pt x="5718" y="658"/>
                  </a:cubicBezTo>
                  <a:cubicBezTo>
                    <a:pt x="5718" y="658"/>
                    <a:pt x="5693" y="652"/>
                    <a:pt x="5683" y="672"/>
                  </a:cubicBezTo>
                  <a:cubicBezTo>
                    <a:pt x="5662" y="685"/>
                    <a:pt x="5637" y="737"/>
                    <a:pt x="5637" y="737"/>
                  </a:cubicBezTo>
                  <a:cubicBezTo>
                    <a:pt x="5637" y="737"/>
                    <a:pt x="5629" y="727"/>
                    <a:pt x="5620" y="738"/>
                  </a:cubicBezTo>
                  <a:cubicBezTo>
                    <a:pt x="5611" y="750"/>
                    <a:pt x="5613" y="802"/>
                    <a:pt x="5613" y="802"/>
                  </a:cubicBezTo>
                  <a:cubicBezTo>
                    <a:pt x="5613" y="802"/>
                    <a:pt x="5593" y="790"/>
                    <a:pt x="5585" y="806"/>
                  </a:cubicBezTo>
                  <a:cubicBezTo>
                    <a:pt x="5577" y="822"/>
                    <a:pt x="5591" y="881"/>
                    <a:pt x="5591" y="881"/>
                  </a:cubicBezTo>
                  <a:cubicBezTo>
                    <a:pt x="5591" y="881"/>
                    <a:pt x="5572" y="875"/>
                    <a:pt x="5572" y="897"/>
                  </a:cubicBezTo>
                  <a:cubicBezTo>
                    <a:pt x="5572" y="918"/>
                    <a:pt x="5585" y="963"/>
                    <a:pt x="5585" y="963"/>
                  </a:cubicBezTo>
                  <a:cubicBezTo>
                    <a:pt x="5585" y="963"/>
                    <a:pt x="5573" y="954"/>
                    <a:pt x="5573" y="971"/>
                  </a:cubicBezTo>
                  <a:cubicBezTo>
                    <a:pt x="5573" y="988"/>
                    <a:pt x="5613" y="1040"/>
                    <a:pt x="5613" y="1040"/>
                  </a:cubicBezTo>
                  <a:cubicBezTo>
                    <a:pt x="5613" y="1040"/>
                    <a:pt x="5595" y="1055"/>
                    <a:pt x="5596" y="1071"/>
                  </a:cubicBezTo>
                  <a:cubicBezTo>
                    <a:pt x="5613" y="1081"/>
                    <a:pt x="5640" y="1083"/>
                    <a:pt x="5658" y="1077"/>
                  </a:cubicBezTo>
                  <a:cubicBezTo>
                    <a:pt x="5651" y="1084"/>
                    <a:pt x="5652" y="1098"/>
                    <a:pt x="5652" y="1098"/>
                  </a:cubicBezTo>
                  <a:cubicBezTo>
                    <a:pt x="5652" y="1098"/>
                    <a:pt x="5667" y="1112"/>
                    <a:pt x="5691" y="1105"/>
                  </a:cubicBezTo>
                  <a:cubicBezTo>
                    <a:pt x="5714" y="1098"/>
                    <a:pt x="5733" y="1069"/>
                    <a:pt x="5733" y="1069"/>
                  </a:cubicBezTo>
                  <a:cubicBezTo>
                    <a:pt x="5733" y="1069"/>
                    <a:pt x="5753" y="1081"/>
                    <a:pt x="5759" y="1100"/>
                  </a:cubicBezTo>
                  <a:cubicBezTo>
                    <a:pt x="5766" y="1118"/>
                    <a:pt x="5775" y="1159"/>
                    <a:pt x="5784" y="1200"/>
                  </a:cubicBezTo>
                  <a:cubicBezTo>
                    <a:pt x="5793" y="1241"/>
                    <a:pt x="5804" y="1292"/>
                    <a:pt x="5817" y="1304"/>
                  </a:cubicBezTo>
                  <a:cubicBezTo>
                    <a:pt x="5830" y="1316"/>
                    <a:pt x="5847" y="1304"/>
                    <a:pt x="5861" y="1309"/>
                  </a:cubicBezTo>
                  <a:cubicBezTo>
                    <a:pt x="5875" y="1314"/>
                    <a:pt x="5894" y="1331"/>
                    <a:pt x="5955" y="1325"/>
                  </a:cubicBezTo>
                  <a:cubicBezTo>
                    <a:pt x="5955" y="1472"/>
                    <a:pt x="6015" y="1558"/>
                    <a:pt x="6046" y="1604"/>
                  </a:cubicBezTo>
                  <a:cubicBezTo>
                    <a:pt x="6076" y="1651"/>
                    <a:pt x="6109" y="1719"/>
                    <a:pt x="6109" y="1805"/>
                  </a:cubicBezTo>
                  <a:cubicBezTo>
                    <a:pt x="6109" y="1891"/>
                    <a:pt x="6113" y="2052"/>
                    <a:pt x="6107" y="2129"/>
                  </a:cubicBezTo>
                  <a:cubicBezTo>
                    <a:pt x="6101" y="2205"/>
                    <a:pt x="6070" y="2296"/>
                    <a:pt x="6070" y="2359"/>
                  </a:cubicBezTo>
                  <a:cubicBezTo>
                    <a:pt x="6070" y="2423"/>
                    <a:pt x="6098" y="2584"/>
                    <a:pt x="6098" y="2786"/>
                  </a:cubicBezTo>
                  <a:cubicBezTo>
                    <a:pt x="6072" y="2819"/>
                    <a:pt x="5987" y="2969"/>
                    <a:pt x="5987" y="2976"/>
                  </a:cubicBezTo>
                  <a:cubicBezTo>
                    <a:pt x="5987" y="2984"/>
                    <a:pt x="5993" y="2998"/>
                    <a:pt x="6027" y="2998"/>
                  </a:cubicBezTo>
                  <a:cubicBezTo>
                    <a:pt x="6062" y="2998"/>
                    <a:pt x="6091" y="2956"/>
                    <a:pt x="6091" y="2956"/>
                  </a:cubicBezTo>
                  <a:lnTo>
                    <a:pt x="6100" y="2967"/>
                  </a:lnTo>
                  <a:cubicBezTo>
                    <a:pt x="6100" y="2967"/>
                    <a:pt x="6099" y="2978"/>
                    <a:pt x="6099" y="2989"/>
                  </a:cubicBezTo>
                  <a:cubicBezTo>
                    <a:pt x="6073" y="2989"/>
                    <a:pt x="6081" y="3025"/>
                    <a:pt x="6081" y="3036"/>
                  </a:cubicBezTo>
                  <a:cubicBezTo>
                    <a:pt x="6050" y="3046"/>
                    <a:pt x="5868" y="3129"/>
                    <a:pt x="5868" y="3301"/>
                  </a:cubicBezTo>
                  <a:cubicBezTo>
                    <a:pt x="5868" y="3472"/>
                    <a:pt x="5974" y="3546"/>
                    <a:pt x="6067" y="3592"/>
                  </a:cubicBezTo>
                  <a:cubicBezTo>
                    <a:pt x="6067" y="3592"/>
                    <a:pt x="6061" y="3598"/>
                    <a:pt x="6061" y="3620"/>
                  </a:cubicBezTo>
                  <a:cubicBezTo>
                    <a:pt x="6061" y="3643"/>
                    <a:pt x="6115" y="3662"/>
                    <a:pt x="6106" y="3673"/>
                  </a:cubicBezTo>
                  <a:cubicBezTo>
                    <a:pt x="6096" y="3687"/>
                    <a:pt x="6104" y="3719"/>
                    <a:pt x="6089" y="3745"/>
                  </a:cubicBezTo>
                  <a:cubicBezTo>
                    <a:pt x="6075" y="3771"/>
                    <a:pt x="6041" y="3796"/>
                    <a:pt x="6041" y="3817"/>
                  </a:cubicBezTo>
                  <a:cubicBezTo>
                    <a:pt x="6041" y="3837"/>
                    <a:pt x="6070" y="3864"/>
                    <a:pt x="6070" y="3864"/>
                  </a:cubicBezTo>
                  <a:cubicBezTo>
                    <a:pt x="6070" y="3864"/>
                    <a:pt x="6065" y="3902"/>
                    <a:pt x="6065" y="3923"/>
                  </a:cubicBezTo>
                  <a:cubicBezTo>
                    <a:pt x="5970" y="3941"/>
                    <a:pt x="5923" y="3993"/>
                    <a:pt x="5923" y="4034"/>
                  </a:cubicBezTo>
                  <a:cubicBezTo>
                    <a:pt x="5923" y="4075"/>
                    <a:pt x="5966" y="4097"/>
                    <a:pt x="5966" y="4097"/>
                  </a:cubicBezTo>
                  <a:cubicBezTo>
                    <a:pt x="5966" y="4097"/>
                    <a:pt x="5899" y="4141"/>
                    <a:pt x="5899" y="4207"/>
                  </a:cubicBezTo>
                  <a:cubicBezTo>
                    <a:pt x="5899" y="4274"/>
                    <a:pt x="5956" y="4286"/>
                    <a:pt x="5956" y="4318"/>
                  </a:cubicBezTo>
                  <a:cubicBezTo>
                    <a:pt x="5956" y="4350"/>
                    <a:pt x="5892" y="4413"/>
                    <a:pt x="5882" y="4416"/>
                  </a:cubicBezTo>
                  <a:cubicBezTo>
                    <a:pt x="5662" y="4455"/>
                    <a:pt x="5451" y="4589"/>
                    <a:pt x="5346" y="4676"/>
                  </a:cubicBezTo>
                  <a:cubicBezTo>
                    <a:pt x="5241" y="4764"/>
                    <a:pt x="5142" y="4879"/>
                    <a:pt x="5054" y="5033"/>
                  </a:cubicBezTo>
                  <a:cubicBezTo>
                    <a:pt x="4966" y="5187"/>
                    <a:pt x="4930" y="5324"/>
                    <a:pt x="4917" y="5382"/>
                  </a:cubicBezTo>
                  <a:cubicBezTo>
                    <a:pt x="4884" y="5399"/>
                    <a:pt x="4762" y="5467"/>
                    <a:pt x="4704" y="5530"/>
                  </a:cubicBezTo>
                  <a:cubicBezTo>
                    <a:pt x="4646" y="5592"/>
                    <a:pt x="4611" y="5667"/>
                    <a:pt x="4611" y="5759"/>
                  </a:cubicBezTo>
                  <a:cubicBezTo>
                    <a:pt x="4611" y="5850"/>
                    <a:pt x="4667" y="5902"/>
                    <a:pt x="4692" y="5929"/>
                  </a:cubicBezTo>
                  <a:cubicBezTo>
                    <a:pt x="4717" y="5957"/>
                    <a:pt x="4720" y="5995"/>
                    <a:pt x="4743" y="6027"/>
                  </a:cubicBezTo>
                  <a:cubicBezTo>
                    <a:pt x="4767" y="6059"/>
                    <a:pt x="4823" y="6124"/>
                    <a:pt x="4872" y="6151"/>
                  </a:cubicBezTo>
                  <a:cubicBezTo>
                    <a:pt x="4726" y="6185"/>
                    <a:pt x="4572" y="6248"/>
                    <a:pt x="4341" y="6366"/>
                  </a:cubicBezTo>
                  <a:cubicBezTo>
                    <a:pt x="4110" y="6483"/>
                    <a:pt x="4040" y="6621"/>
                    <a:pt x="4012" y="6687"/>
                  </a:cubicBezTo>
                  <a:cubicBezTo>
                    <a:pt x="3983" y="6753"/>
                    <a:pt x="3971" y="6851"/>
                    <a:pt x="4019" y="6963"/>
                  </a:cubicBezTo>
                  <a:cubicBezTo>
                    <a:pt x="4067" y="7075"/>
                    <a:pt x="4156" y="7112"/>
                    <a:pt x="4180" y="7161"/>
                  </a:cubicBezTo>
                  <a:cubicBezTo>
                    <a:pt x="4205" y="7210"/>
                    <a:pt x="4245" y="7272"/>
                    <a:pt x="4290" y="7314"/>
                  </a:cubicBezTo>
                  <a:cubicBezTo>
                    <a:pt x="4334" y="7356"/>
                    <a:pt x="4390" y="7391"/>
                    <a:pt x="4446" y="7433"/>
                  </a:cubicBezTo>
                  <a:cubicBezTo>
                    <a:pt x="4446" y="7469"/>
                    <a:pt x="4488" y="7528"/>
                    <a:pt x="4488" y="7573"/>
                  </a:cubicBezTo>
                  <a:cubicBezTo>
                    <a:pt x="4488" y="7893"/>
                    <a:pt x="4593" y="8033"/>
                    <a:pt x="4591" y="8159"/>
                  </a:cubicBezTo>
                  <a:cubicBezTo>
                    <a:pt x="4591" y="8201"/>
                    <a:pt x="4589" y="8242"/>
                    <a:pt x="4589" y="8242"/>
                  </a:cubicBezTo>
                  <a:lnTo>
                    <a:pt x="4533" y="8249"/>
                  </a:lnTo>
                  <a:lnTo>
                    <a:pt x="4533" y="8366"/>
                  </a:lnTo>
                  <a:lnTo>
                    <a:pt x="4586" y="8448"/>
                  </a:lnTo>
                  <a:cubicBezTo>
                    <a:pt x="4586" y="8448"/>
                    <a:pt x="4586" y="9991"/>
                    <a:pt x="4586" y="10046"/>
                  </a:cubicBezTo>
                  <a:cubicBezTo>
                    <a:pt x="4460" y="10143"/>
                    <a:pt x="4417" y="10254"/>
                    <a:pt x="4417" y="10319"/>
                  </a:cubicBezTo>
                  <a:cubicBezTo>
                    <a:pt x="4417" y="10385"/>
                    <a:pt x="4442" y="10455"/>
                    <a:pt x="4504" y="10505"/>
                  </a:cubicBezTo>
                  <a:cubicBezTo>
                    <a:pt x="4504" y="10505"/>
                    <a:pt x="4504" y="10694"/>
                    <a:pt x="4504" y="10745"/>
                  </a:cubicBezTo>
                  <a:cubicBezTo>
                    <a:pt x="4344" y="10832"/>
                    <a:pt x="4269" y="10966"/>
                    <a:pt x="4269" y="11016"/>
                  </a:cubicBezTo>
                  <a:lnTo>
                    <a:pt x="4269" y="11069"/>
                  </a:lnTo>
                  <a:cubicBezTo>
                    <a:pt x="4200" y="11155"/>
                    <a:pt x="4163" y="11224"/>
                    <a:pt x="4163" y="11352"/>
                  </a:cubicBezTo>
                  <a:cubicBezTo>
                    <a:pt x="4163" y="11480"/>
                    <a:pt x="4245" y="11564"/>
                    <a:pt x="4320" y="11612"/>
                  </a:cubicBezTo>
                  <a:cubicBezTo>
                    <a:pt x="4320" y="11612"/>
                    <a:pt x="4312" y="11751"/>
                    <a:pt x="4309" y="11854"/>
                  </a:cubicBezTo>
                  <a:cubicBezTo>
                    <a:pt x="3097" y="12013"/>
                    <a:pt x="2128" y="12302"/>
                    <a:pt x="0" y="12800"/>
                  </a:cubicBezTo>
                  <a:lnTo>
                    <a:pt x="0" y="12800"/>
                  </a:lnTo>
                  <a:lnTo>
                    <a:pt x="9743" y="12800"/>
                  </a:lnTo>
                  <a:cubicBezTo>
                    <a:pt x="9743" y="12661"/>
                    <a:pt x="9745" y="12518"/>
                    <a:pt x="9745" y="12408"/>
                  </a:cubicBezTo>
                  <a:cubicBezTo>
                    <a:pt x="9745" y="12299"/>
                    <a:pt x="9743" y="12224"/>
                    <a:pt x="9737" y="12223"/>
                  </a:cubicBezTo>
                  <a:cubicBezTo>
                    <a:pt x="9260" y="12124"/>
                    <a:pt x="8801" y="11955"/>
                    <a:pt x="8025" y="11854"/>
                  </a:cubicBezTo>
                  <a:cubicBezTo>
                    <a:pt x="8023" y="11751"/>
                    <a:pt x="8015" y="11612"/>
                    <a:pt x="8015" y="11612"/>
                  </a:cubicBezTo>
                  <a:cubicBezTo>
                    <a:pt x="8090" y="11564"/>
                    <a:pt x="8172" y="11480"/>
                    <a:pt x="8172" y="11352"/>
                  </a:cubicBezTo>
                  <a:cubicBezTo>
                    <a:pt x="8172" y="11224"/>
                    <a:pt x="8134" y="11155"/>
                    <a:pt x="8065" y="11069"/>
                  </a:cubicBezTo>
                  <a:lnTo>
                    <a:pt x="8065" y="11016"/>
                  </a:lnTo>
                  <a:cubicBezTo>
                    <a:pt x="8065" y="10966"/>
                    <a:pt x="7990" y="10832"/>
                    <a:pt x="7830" y="10745"/>
                  </a:cubicBezTo>
                  <a:cubicBezTo>
                    <a:pt x="7830" y="10694"/>
                    <a:pt x="7830" y="10505"/>
                    <a:pt x="7830" y="10505"/>
                  </a:cubicBezTo>
                  <a:cubicBezTo>
                    <a:pt x="7893" y="10455"/>
                    <a:pt x="7918" y="10385"/>
                    <a:pt x="7918" y="10319"/>
                  </a:cubicBezTo>
                  <a:cubicBezTo>
                    <a:pt x="7918" y="10254"/>
                    <a:pt x="7875" y="10143"/>
                    <a:pt x="7749" y="10046"/>
                  </a:cubicBezTo>
                  <a:cubicBezTo>
                    <a:pt x="7749" y="9991"/>
                    <a:pt x="7749" y="8448"/>
                    <a:pt x="7749" y="8448"/>
                  </a:cubicBezTo>
                  <a:lnTo>
                    <a:pt x="7802" y="8366"/>
                  </a:lnTo>
                  <a:lnTo>
                    <a:pt x="7802" y="8249"/>
                  </a:lnTo>
                  <a:lnTo>
                    <a:pt x="7745" y="8242"/>
                  </a:lnTo>
                  <a:cubicBezTo>
                    <a:pt x="7745" y="8242"/>
                    <a:pt x="7744" y="8201"/>
                    <a:pt x="7744" y="8159"/>
                  </a:cubicBezTo>
                  <a:cubicBezTo>
                    <a:pt x="7742" y="8033"/>
                    <a:pt x="7846" y="7893"/>
                    <a:pt x="7846" y="7573"/>
                  </a:cubicBezTo>
                  <a:cubicBezTo>
                    <a:pt x="7846" y="7528"/>
                    <a:pt x="7888" y="7469"/>
                    <a:pt x="7888" y="7433"/>
                  </a:cubicBezTo>
                  <a:cubicBezTo>
                    <a:pt x="7945" y="7391"/>
                    <a:pt x="8000" y="7356"/>
                    <a:pt x="8045" y="7314"/>
                  </a:cubicBezTo>
                  <a:cubicBezTo>
                    <a:pt x="8090" y="7272"/>
                    <a:pt x="8130" y="7210"/>
                    <a:pt x="8154" y="7161"/>
                  </a:cubicBezTo>
                  <a:cubicBezTo>
                    <a:pt x="8179" y="7112"/>
                    <a:pt x="8267" y="7075"/>
                    <a:pt x="8315" y="6963"/>
                  </a:cubicBezTo>
                  <a:cubicBezTo>
                    <a:pt x="8363" y="6851"/>
                    <a:pt x="8351" y="6753"/>
                    <a:pt x="8323" y="6687"/>
                  </a:cubicBezTo>
                  <a:cubicBezTo>
                    <a:pt x="8294" y="6621"/>
                    <a:pt x="8224" y="6483"/>
                    <a:pt x="7994" y="6366"/>
                  </a:cubicBezTo>
                  <a:cubicBezTo>
                    <a:pt x="7763" y="6248"/>
                    <a:pt x="7609" y="6185"/>
                    <a:pt x="7463" y="6151"/>
                  </a:cubicBezTo>
                  <a:cubicBezTo>
                    <a:pt x="7512" y="6124"/>
                    <a:pt x="7568" y="6059"/>
                    <a:pt x="7591" y="6027"/>
                  </a:cubicBezTo>
                  <a:cubicBezTo>
                    <a:pt x="7615" y="5995"/>
                    <a:pt x="7617" y="5957"/>
                    <a:pt x="7643" y="5929"/>
                  </a:cubicBezTo>
                  <a:cubicBezTo>
                    <a:pt x="7668" y="5902"/>
                    <a:pt x="7723" y="5850"/>
                    <a:pt x="7723" y="5759"/>
                  </a:cubicBezTo>
                  <a:cubicBezTo>
                    <a:pt x="7723" y="5667"/>
                    <a:pt x="7689" y="5592"/>
                    <a:pt x="7631" y="5530"/>
                  </a:cubicBezTo>
                  <a:cubicBezTo>
                    <a:pt x="7573" y="5467"/>
                    <a:pt x="7451" y="5399"/>
                    <a:pt x="7418" y="5382"/>
                  </a:cubicBezTo>
                  <a:cubicBezTo>
                    <a:pt x="7404" y="5324"/>
                    <a:pt x="7368" y="5187"/>
                    <a:pt x="7281" y="5033"/>
                  </a:cubicBezTo>
                  <a:cubicBezTo>
                    <a:pt x="7193" y="4879"/>
                    <a:pt x="7094" y="4764"/>
                    <a:pt x="6989" y="4676"/>
                  </a:cubicBezTo>
                  <a:cubicBezTo>
                    <a:pt x="6883" y="4589"/>
                    <a:pt x="6673" y="4455"/>
                    <a:pt x="6452" y="4416"/>
                  </a:cubicBezTo>
                  <a:cubicBezTo>
                    <a:pt x="6442" y="4413"/>
                    <a:pt x="6379" y="4350"/>
                    <a:pt x="6379" y="4318"/>
                  </a:cubicBezTo>
                  <a:cubicBezTo>
                    <a:pt x="6379" y="4286"/>
                    <a:pt x="6436" y="4274"/>
                    <a:pt x="6436" y="4207"/>
                  </a:cubicBezTo>
                  <a:cubicBezTo>
                    <a:pt x="6436" y="4141"/>
                    <a:pt x="6369" y="4097"/>
                    <a:pt x="6369" y="4097"/>
                  </a:cubicBezTo>
                  <a:cubicBezTo>
                    <a:pt x="6369" y="4097"/>
                    <a:pt x="6412" y="4075"/>
                    <a:pt x="6412" y="4034"/>
                  </a:cubicBezTo>
                  <a:cubicBezTo>
                    <a:pt x="6412" y="3993"/>
                    <a:pt x="6365" y="3941"/>
                    <a:pt x="6270" y="3923"/>
                  </a:cubicBezTo>
                  <a:cubicBezTo>
                    <a:pt x="6270" y="3902"/>
                    <a:pt x="6265" y="3864"/>
                    <a:pt x="6265" y="3864"/>
                  </a:cubicBezTo>
                  <a:cubicBezTo>
                    <a:pt x="6265" y="3864"/>
                    <a:pt x="6294" y="3837"/>
                    <a:pt x="6294" y="3817"/>
                  </a:cubicBezTo>
                  <a:cubicBezTo>
                    <a:pt x="6294" y="3796"/>
                    <a:pt x="6260" y="3771"/>
                    <a:pt x="6245" y="3745"/>
                  </a:cubicBezTo>
                  <a:cubicBezTo>
                    <a:pt x="6231" y="3719"/>
                    <a:pt x="6239" y="3687"/>
                    <a:pt x="6228" y="3673"/>
                  </a:cubicBezTo>
                  <a:cubicBezTo>
                    <a:pt x="6220" y="3662"/>
                    <a:pt x="6274" y="3643"/>
                    <a:pt x="6274" y="3620"/>
                  </a:cubicBezTo>
                  <a:cubicBezTo>
                    <a:pt x="6274" y="3598"/>
                    <a:pt x="6268" y="3592"/>
                    <a:pt x="6268" y="3592"/>
                  </a:cubicBezTo>
                  <a:cubicBezTo>
                    <a:pt x="6361" y="3546"/>
                    <a:pt x="6467" y="3472"/>
                    <a:pt x="6467" y="3301"/>
                  </a:cubicBezTo>
                  <a:cubicBezTo>
                    <a:pt x="6467" y="3129"/>
                    <a:pt x="6285" y="3046"/>
                    <a:pt x="6254" y="3036"/>
                  </a:cubicBezTo>
                  <a:cubicBezTo>
                    <a:pt x="6254" y="3025"/>
                    <a:pt x="6262" y="2989"/>
                    <a:pt x="6235" y="2989"/>
                  </a:cubicBezTo>
                  <a:cubicBezTo>
                    <a:pt x="6235" y="2989"/>
                    <a:pt x="6230" y="2939"/>
                    <a:pt x="6230" y="2924"/>
                  </a:cubicBezTo>
                  <a:cubicBezTo>
                    <a:pt x="6246" y="2914"/>
                    <a:pt x="6231" y="2864"/>
                    <a:pt x="6236" y="2850"/>
                  </a:cubicBezTo>
                  <a:cubicBezTo>
                    <a:pt x="6240" y="2835"/>
                    <a:pt x="6230" y="2806"/>
                    <a:pt x="6226" y="2782"/>
                  </a:cubicBezTo>
                  <a:cubicBezTo>
                    <a:pt x="6223" y="2759"/>
                    <a:pt x="6213" y="2689"/>
                    <a:pt x="6228" y="2642"/>
                  </a:cubicBezTo>
                  <a:cubicBezTo>
                    <a:pt x="6244" y="2595"/>
                    <a:pt x="6243" y="2494"/>
                    <a:pt x="6241" y="2460"/>
                  </a:cubicBezTo>
                  <a:cubicBezTo>
                    <a:pt x="6238" y="2427"/>
                    <a:pt x="6217" y="2374"/>
                    <a:pt x="6219" y="2336"/>
                  </a:cubicBezTo>
                  <a:cubicBezTo>
                    <a:pt x="6250" y="2338"/>
                    <a:pt x="6315" y="2382"/>
                    <a:pt x="6347" y="2403"/>
                  </a:cubicBezTo>
                  <a:cubicBezTo>
                    <a:pt x="6380" y="2424"/>
                    <a:pt x="6434" y="2459"/>
                    <a:pt x="6451" y="2483"/>
                  </a:cubicBezTo>
                  <a:cubicBezTo>
                    <a:pt x="6467" y="2506"/>
                    <a:pt x="6458" y="2539"/>
                    <a:pt x="6470" y="2554"/>
                  </a:cubicBezTo>
                  <a:cubicBezTo>
                    <a:pt x="6481" y="2570"/>
                    <a:pt x="6494" y="2584"/>
                    <a:pt x="6499" y="2605"/>
                  </a:cubicBezTo>
                  <a:cubicBezTo>
                    <a:pt x="6503" y="2626"/>
                    <a:pt x="6500" y="2663"/>
                    <a:pt x="6517" y="2663"/>
                  </a:cubicBezTo>
                  <a:cubicBezTo>
                    <a:pt x="6534" y="2663"/>
                    <a:pt x="6547" y="2630"/>
                    <a:pt x="6547" y="2578"/>
                  </a:cubicBezTo>
                  <a:cubicBezTo>
                    <a:pt x="6547" y="2526"/>
                    <a:pt x="6526" y="2504"/>
                    <a:pt x="6526" y="2443"/>
                  </a:cubicBezTo>
                  <a:cubicBezTo>
                    <a:pt x="6526" y="2427"/>
                    <a:pt x="6544" y="2406"/>
                    <a:pt x="6539" y="2383"/>
                  </a:cubicBezTo>
                  <a:cubicBezTo>
                    <a:pt x="6535" y="2359"/>
                    <a:pt x="6492" y="2366"/>
                    <a:pt x="6475" y="2368"/>
                  </a:cubicBezTo>
                  <a:cubicBezTo>
                    <a:pt x="6458" y="2370"/>
                    <a:pt x="6439" y="2345"/>
                    <a:pt x="6408" y="2285"/>
                  </a:cubicBezTo>
                  <a:cubicBezTo>
                    <a:pt x="6376" y="2226"/>
                    <a:pt x="6337" y="2204"/>
                    <a:pt x="6275" y="2204"/>
                  </a:cubicBezTo>
                  <a:cubicBezTo>
                    <a:pt x="6275" y="2204"/>
                    <a:pt x="6280" y="2089"/>
                    <a:pt x="6278" y="2052"/>
                  </a:cubicBezTo>
                  <a:cubicBezTo>
                    <a:pt x="6290" y="2060"/>
                    <a:pt x="6339" y="2063"/>
                    <a:pt x="6366" y="2066"/>
                  </a:cubicBezTo>
                  <a:cubicBezTo>
                    <a:pt x="6393" y="2070"/>
                    <a:pt x="6443" y="2083"/>
                    <a:pt x="6493" y="2112"/>
                  </a:cubicBezTo>
                  <a:cubicBezTo>
                    <a:pt x="6544" y="2141"/>
                    <a:pt x="6601" y="2198"/>
                    <a:pt x="6598" y="2209"/>
                  </a:cubicBezTo>
                  <a:cubicBezTo>
                    <a:pt x="6594" y="2220"/>
                    <a:pt x="6580" y="2235"/>
                    <a:pt x="6580" y="2246"/>
                  </a:cubicBezTo>
                  <a:cubicBezTo>
                    <a:pt x="6580" y="2257"/>
                    <a:pt x="6599" y="2292"/>
                    <a:pt x="6621" y="2320"/>
                  </a:cubicBezTo>
                  <a:cubicBezTo>
                    <a:pt x="6644" y="2348"/>
                    <a:pt x="6679" y="2369"/>
                    <a:pt x="6697" y="2369"/>
                  </a:cubicBezTo>
                  <a:cubicBezTo>
                    <a:pt x="6715" y="2369"/>
                    <a:pt x="6730" y="2382"/>
                    <a:pt x="6761" y="2409"/>
                  </a:cubicBezTo>
                  <a:cubicBezTo>
                    <a:pt x="6793" y="2436"/>
                    <a:pt x="6827" y="2468"/>
                    <a:pt x="6833" y="2478"/>
                  </a:cubicBezTo>
                  <a:cubicBezTo>
                    <a:pt x="6840" y="2488"/>
                    <a:pt x="6862" y="2497"/>
                    <a:pt x="6865" y="2474"/>
                  </a:cubicBezTo>
                  <a:cubicBezTo>
                    <a:pt x="6867" y="2450"/>
                    <a:pt x="6865" y="2364"/>
                    <a:pt x="6866" y="2335"/>
                  </a:cubicBezTo>
                  <a:cubicBezTo>
                    <a:pt x="6945" y="2337"/>
                    <a:pt x="6989" y="2317"/>
                    <a:pt x="6979" y="2301"/>
                  </a:cubicBezTo>
                  <a:cubicBezTo>
                    <a:pt x="6969" y="2285"/>
                    <a:pt x="6884" y="2190"/>
                    <a:pt x="6866" y="2173"/>
                  </a:cubicBezTo>
                  <a:cubicBezTo>
                    <a:pt x="6848" y="2156"/>
                    <a:pt x="6830" y="2162"/>
                    <a:pt x="6811" y="2159"/>
                  </a:cubicBezTo>
                  <a:cubicBezTo>
                    <a:pt x="6792" y="2157"/>
                    <a:pt x="6756" y="2102"/>
                    <a:pt x="6756" y="2102"/>
                  </a:cubicBezTo>
                  <a:cubicBezTo>
                    <a:pt x="6756" y="2102"/>
                    <a:pt x="6780" y="2081"/>
                    <a:pt x="6777" y="2064"/>
                  </a:cubicBezTo>
                  <a:cubicBezTo>
                    <a:pt x="6760" y="1974"/>
                    <a:pt x="6671" y="1883"/>
                    <a:pt x="6571" y="1824"/>
                  </a:cubicBezTo>
                  <a:cubicBezTo>
                    <a:pt x="6672" y="1782"/>
                    <a:pt x="6699" y="1669"/>
                    <a:pt x="6699" y="1634"/>
                  </a:cubicBezTo>
                  <a:cubicBezTo>
                    <a:pt x="6699" y="1599"/>
                    <a:pt x="6710" y="1574"/>
                    <a:pt x="6731" y="1514"/>
                  </a:cubicBezTo>
                  <a:cubicBezTo>
                    <a:pt x="6752" y="1455"/>
                    <a:pt x="6770" y="1361"/>
                    <a:pt x="6754" y="1290"/>
                  </a:cubicBezTo>
                  <a:cubicBezTo>
                    <a:pt x="6737" y="1218"/>
                    <a:pt x="6688" y="1190"/>
                    <a:pt x="6647" y="1174"/>
                  </a:cubicBezTo>
                  <a:cubicBezTo>
                    <a:pt x="6654" y="1164"/>
                    <a:pt x="6654" y="1141"/>
                    <a:pt x="6641" y="1138"/>
                  </a:cubicBezTo>
                  <a:cubicBezTo>
                    <a:pt x="6690" y="1104"/>
                    <a:pt x="6690" y="1064"/>
                    <a:pt x="6666" y="1059"/>
                  </a:cubicBezTo>
                  <a:cubicBezTo>
                    <a:pt x="6731" y="1000"/>
                    <a:pt x="6713" y="971"/>
                    <a:pt x="6703" y="966"/>
                  </a:cubicBezTo>
                  <a:cubicBezTo>
                    <a:pt x="6712" y="962"/>
                    <a:pt x="6736" y="937"/>
                    <a:pt x="6746" y="914"/>
                  </a:cubicBezTo>
                  <a:cubicBezTo>
                    <a:pt x="6756" y="890"/>
                    <a:pt x="6746" y="865"/>
                    <a:pt x="6750" y="848"/>
                  </a:cubicBezTo>
                  <a:cubicBezTo>
                    <a:pt x="6798" y="806"/>
                    <a:pt x="6839" y="717"/>
                    <a:pt x="6837" y="710"/>
                  </a:cubicBezTo>
                  <a:cubicBezTo>
                    <a:pt x="6871" y="680"/>
                    <a:pt x="6871" y="625"/>
                    <a:pt x="6868" y="628"/>
                  </a:cubicBezTo>
                  <a:cubicBezTo>
                    <a:pt x="6865" y="632"/>
                    <a:pt x="6853" y="630"/>
                    <a:pt x="6848" y="630"/>
                  </a:cubicBezTo>
                  <a:cubicBezTo>
                    <a:pt x="6887" y="581"/>
                    <a:pt x="6890" y="534"/>
                    <a:pt x="6903" y="521"/>
                  </a:cubicBezTo>
                  <a:cubicBezTo>
                    <a:pt x="6915" y="507"/>
                    <a:pt x="6916" y="479"/>
                    <a:pt x="6911" y="484"/>
                  </a:cubicBezTo>
                  <a:cubicBezTo>
                    <a:pt x="6905" y="488"/>
                    <a:pt x="6898" y="488"/>
                    <a:pt x="6896" y="468"/>
                  </a:cubicBezTo>
                  <a:cubicBezTo>
                    <a:pt x="6945" y="412"/>
                    <a:pt x="6963" y="330"/>
                    <a:pt x="6957" y="307"/>
                  </a:cubicBezTo>
                  <a:cubicBezTo>
                    <a:pt x="6957" y="307"/>
                    <a:pt x="6935" y="320"/>
                    <a:pt x="6934" y="315"/>
                  </a:cubicBezTo>
                  <a:cubicBezTo>
                    <a:pt x="7000" y="224"/>
                    <a:pt x="6980" y="167"/>
                    <a:pt x="6980" y="167"/>
                  </a:cubicBezTo>
                  <a:cubicBezTo>
                    <a:pt x="6980" y="167"/>
                    <a:pt x="6971" y="174"/>
                    <a:pt x="6966" y="179"/>
                  </a:cubicBezTo>
                  <a:cubicBezTo>
                    <a:pt x="6966" y="179"/>
                    <a:pt x="6985" y="95"/>
                    <a:pt x="6977" y="46"/>
                  </a:cubicBezTo>
                  <a:cubicBezTo>
                    <a:pt x="6944" y="136"/>
                    <a:pt x="6819" y="343"/>
                    <a:pt x="6768" y="406"/>
                  </a:cubicBezTo>
                  <a:cubicBezTo>
                    <a:pt x="6775" y="375"/>
                    <a:pt x="6759" y="349"/>
                    <a:pt x="6759" y="349"/>
                  </a:cubicBezTo>
                  <a:cubicBezTo>
                    <a:pt x="6785" y="321"/>
                    <a:pt x="6793" y="265"/>
                    <a:pt x="6784" y="242"/>
                  </a:cubicBezTo>
                  <a:cubicBezTo>
                    <a:pt x="6778" y="248"/>
                    <a:pt x="6768" y="248"/>
                    <a:pt x="6768" y="248"/>
                  </a:cubicBezTo>
                  <a:cubicBezTo>
                    <a:pt x="6804" y="193"/>
                    <a:pt x="6802" y="123"/>
                    <a:pt x="6793" y="100"/>
                  </a:cubicBezTo>
                  <a:cubicBezTo>
                    <a:pt x="6791" y="109"/>
                    <a:pt x="6779" y="123"/>
                    <a:pt x="6779" y="123"/>
                  </a:cubicBezTo>
                  <a:cubicBezTo>
                    <a:pt x="6779" y="123"/>
                    <a:pt x="6782" y="30"/>
                    <a:pt x="6770" y="0"/>
                  </a:cubicBezTo>
                  <a:close/>
                  <a:moveTo>
                    <a:pt x="6636" y="2176"/>
                  </a:moveTo>
                  <a:lnTo>
                    <a:pt x="6636" y="2176"/>
                  </a:lnTo>
                  <a:cubicBezTo>
                    <a:pt x="6630" y="2176"/>
                    <a:pt x="6625" y="2174"/>
                    <a:pt x="6621" y="2171"/>
                  </a:cubicBezTo>
                  <a:cubicBezTo>
                    <a:pt x="6613" y="2163"/>
                    <a:pt x="6602" y="2152"/>
                    <a:pt x="6594" y="2143"/>
                  </a:cubicBezTo>
                  <a:cubicBezTo>
                    <a:pt x="6589" y="2138"/>
                    <a:pt x="6585" y="2134"/>
                    <a:pt x="6582" y="2131"/>
                  </a:cubicBezTo>
                  <a:cubicBezTo>
                    <a:pt x="6577" y="2126"/>
                    <a:pt x="6569" y="2114"/>
                    <a:pt x="6582" y="2099"/>
                  </a:cubicBezTo>
                  <a:cubicBezTo>
                    <a:pt x="6592" y="2087"/>
                    <a:pt x="6614" y="2085"/>
                    <a:pt x="6631" y="2083"/>
                  </a:cubicBezTo>
                  <a:lnTo>
                    <a:pt x="6636" y="2083"/>
                  </a:lnTo>
                  <a:cubicBezTo>
                    <a:pt x="6649" y="2082"/>
                    <a:pt x="6666" y="2081"/>
                    <a:pt x="6676" y="2072"/>
                  </a:cubicBezTo>
                  <a:cubicBezTo>
                    <a:pt x="6679" y="2069"/>
                    <a:pt x="6682" y="2061"/>
                    <a:pt x="6680" y="2057"/>
                  </a:cubicBezTo>
                  <a:cubicBezTo>
                    <a:pt x="6680" y="2055"/>
                    <a:pt x="6678" y="2052"/>
                    <a:pt x="6672" y="2052"/>
                  </a:cubicBezTo>
                  <a:cubicBezTo>
                    <a:pt x="6654" y="2050"/>
                    <a:pt x="6651" y="2038"/>
                    <a:pt x="6650" y="2035"/>
                  </a:cubicBezTo>
                  <a:cubicBezTo>
                    <a:pt x="6649" y="2026"/>
                    <a:pt x="6654" y="2018"/>
                    <a:pt x="6663" y="2014"/>
                  </a:cubicBezTo>
                  <a:cubicBezTo>
                    <a:pt x="6668" y="2012"/>
                    <a:pt x="6674" y="2011"/>
                    <a:pt x="6681" y="2011"/>
                  </a:cubicBezTo>
                  <a:cubicBezTo>
                    <a:pt x="6694" y="2011"/>
                    <a:pt x="6705" y="2015"/>
                    <a:pt x="6711" y="2023"/>
                  </a:cubicBezTo>
                  <a:cubicBezTo>
                    <a:pt x="6733" y="2050"/>
                    <a:pt x="6722" y="2086"/>
                    <a:pt x="6705" y="2102"/>
                  </a:cubicBezTo>
                  <a:cubicBezTo>
                    <a:pt x="6686" y="2119"/>
                    <a:pt x="6662" y="2121"/>
                    <a:pt x="6644" y="2122"/>
                  </a:cubicBezTo>
                  <a:cubicBezTo>
                    <a:pt x="6641" y="2123"/>
                    <a:pt x="6638" y="2123"/>
                    <a:pt x="6635" y="2123"/>
                  </a:cubicBezTo>
                  <a:cubicBezTo>
                    <a:pt x="6638" y="2126"/>
                    <a:pt x="6640" y="2129"/>
                    <a:pt x="6643" y="2131"/>
                  </a:cubicBezTo>
                  <a:cubicBezTo>
                    <a:pt x="6647" y="2136"/>
                    <a:pt x="6651" y="2140"/>
                    <a:pt x="6652" y="2141"/>
                  </a:cubicBezTo>
                  <a:cubicBezTo>
                    <a:pt x="6658" y="2147"/>
                    <a:pt x="6659" y="2155"/>
                    <a:pt x="6656" y="2162"/>
                  </a:cubicBezTo>
                  <a:cubicBezTo>
                    <a:pt x="6653" y="2171"/>
                    <a:pt x="6644" y="2176"/>
                    <a:pt x="6636" y="2176"/>
                  </a:cubicBezTo>
                  <a:close/>
                  <a:moveTo>
                    <a:pt x="6555" y="2097"/>
                  </a:moveTo>
                  <a:lnTo>
                    <a:pt x="6555" y="2097"/>
                  </a:lnTo>
                  <a:cubicBezTo>
                    <a:pt x="6546" y="2097"/>
                    <a:pt x="6539" y="2092"/>
                    <a:pt x="6536" y="2085"/>
                  </a:cubicBezTo>
                  <a:cubicBezTo>
                    <a:pt x="6534" y="2081"/>
                    <a:pt x="6532" y="2073"/>
                    <a:pt x="6541" y="2062"/>
                  </a:cubicBezTo>
                  <a:cubicBezTo>
                    <a:pt x="6550" y="2052"/>
                    <a:pt x="6570" y="2029"/>
                    <a:pt x="6586" y="2010"/>
                  </a:cubicBezTo>
                  <a:cubicBezTo>
                    <a:pt x="6599" y="1995"/>
                    <a:pt x="6610" y="1982"/>
                    <a:pt x="6613" y="1979"/>
                  </a:cubicBezTo>
                  <a:cubicBezTo>
                    <a:pt x="6615" y="1977"/>
                    <a:pt x="6614" y="1976"/>
                    <a:pt x="6613" y="1975"/>
                  </a:cubicBezTo>
                  <a:cubicBezTo>
                    <a:pt x="6610" y="1972"/>
                    <a:pt x="6608" y="1970"/>
                    <a:pt x="6605" y="1968"/>
                  </a:cubicBezTo>
                  <a:cubicBezTo>
                    <a:pt x="6603" y="1966"/>
                    <a:pt x="6601" y="1965"/>
                    <a:pt x="6599" y="1963"/>
                  </a:cubicBezTo>
                  <a:cubicBezTo>
                    <a:pt x="6593" y="1957"/>
                    <a:pt x="6591" y="1949"/>
                    <a:pt x="6594" y="1941"/>
                  </a:cubicBezTo>
                  <a:cubicBezTo>
                    <a:pt x="6598" y="1933"/>
                    <a:pt x="6605" y="1927"/>
                    <a:pt x="6613" y="1927"/>
                  </a:cubicBezTo>
                  <a:cubicBezTo>
                    <a:pt x="6617" y="1927"/>
                    <a:pt x="6621" y="1928"/>
                    <a:pt x="6624" y="1931"/>
                  </a:cubicBezTo>
                  <a:cubicBezTo>
                    <a:pt x="6634" y="1940"/>
                    <a:pt x="6646" y="1951"/>
                    <a:pt x="6653" y="1958"/>
                  </a:cubicBezTo>
                  <a:cubicBezTo>
                    <a:pt x="6663" y="1968"/>
                    <a:pt x="6662" y="1981"/>
                    <a:pt x="6652" y="1994"/>
                  </a:cubicBezTo>
                  <a:cubicBezTo>
                    <a:pt x="6634" y="2016"/>
                    <a:pt x="6578" y="2081"/>
                    <a:pt x="6571" y="2090"/>
                  </a:cubicBezTo>
                  <a:cubicBezTo>
                    <a:pt x="6567" y="2094"/>
                    <a:pt x="6561" y="2097"/>
                    <a:pt x="6555" y="2097"/>
                  </a:cubicBezTo>
                  <a:close/>
                  <a:moveTo>
                    <a:pt x="6487" y="2048"/>
                  </a:moveTo>
                  <a:lnTo>
                    <a:pt x="6487" y="2048"/>
                  </a:lnTo>
                  <a:cubicBezTo>
                    <a:pt x="6479" y="2048"/>
                    <a:pt x="6472" y="2044"/>
                    <a:pt x="6468" y="2037"/>
                  </a:cubicBezTo>
                  <a:cubicBezTo>
                    <a:pt x="6466" y="2033"/>
                    <a:pt x="6464" y="2025"/>
                    <a:pt x="6473" y="2014"/>
                  </a:cubicBezTo>
                  <a:cubicBezTo>
                    <a:pt x="6481" y="2003"/>
                    <a:pt x="6500" y="1978"/>
                    <a:pt x="6515" y="1957"/>
                  </a:cubicBezTo>
                  <a:cubicBezTo>
                    <a:pt x="6526" y="1942"/>
                    <a:pt x="6535" y="1930"/>
                    <a:pt x="6538" y="1926"/>
                  </a:cubicBezTo>
                  <a:cubicBezTo>
                    <a:pt x="6539" y="1924"/>
                    <a:pt x="6539" y="1923"/>
                    <a:pt x="6538" y="1922"/>
                  </a:cubicBezTo>
                  <a:cubicBezTo>
                    <a:pt x="6535" y="1919"/>
                    <a:pt x="6532" y="1918"/>
                    <a:pt x="6530" y="1916"/>
                  </a:cubicBezTo>
                  <a:cubicBezTo>
                    <a:pt x="6528" y="1914"/>
                    <a:pt x="6526" y="1913"/>
                    <a:pt x="6523" y="1911"/>
                  </a:cubicBezTo>
                  <a:cubicBezTo>
                    <a:pt x="6517" y="1905"/>
                    <a:pt x="6514" y="1897"/>
                    <a:pt x="6517" y="1889"/>
                  </a:cubicBezTo>
                  <a:cubicBezTo>
                    <a:pt x="6520" y="1880"/>
                    <a:pt x="6528" y="1874"/>
                    <a:pt x="6536" y="1874"/>
                  </a:cubicBezTo>
                  <a:cubicBezTo>
                    <a:pt x="6539" y="1874"/>
                    <a:pt x="6543" y="1876"/>
                    <a:pt x="6545" y="1878"/>
                  </a:cubicBezTo>
                  <a:cubicBezTo>
                    <a:pt x="6557" y="1886"/>
                    <a:pt x="6569" y="1896"/>
                    <a:pt x="6576" y="1902"/>
                  </a:cubicBezTo>
                  <a:cubicBezTo>
                    <a:pt x="6587" y="1911"/>
                    <a:pt x="6587" y="1925"/>
                    <a:pt x="6578" y="1938"/>
                  </a:cubicBezTo>
                  <a:cubicBezTo>
                    <a:pt x="6562" y="1961"/>
                    <a:pt x="6511" y="2030"/>
                    <a:pt x="6504" y="2040"/>
                  </a:cubicBezTo>
                  <a:cubicBezTo>
                    <a:pt x="6500" y="2045"/>
                    <a:pt x="6494" y="2048"/>
                    <a:pt x="6487" y="2048"/>
                  </a:cubicBezTo>
                  <a:close/>
                  <a:moveTo>
                    <a:pt x="6416" y="2013"/>
                  </a:moveTo>
                  <a:lnTo>
                    <a:pt x="6416" y="2013"/>
                  </a:lnTo>
                  <a:cubicBezTo>
                    <a:pt x="6410" y="2013"/>
                    <a:pt x="6405" y="2010"/>
                    <a:pt x="6402" y="2004"/>
                  </a:cubicBezTo>
                  <a:cubicBezTo>
                    <a:pt x="6398" y="1998"/>
                    <a:pt x="6399" y="1989"/>
                    <a:pt x="6405" y="1981"/>
                  </a:cubicBezTo>
                  <a:cubicBezTo>
                    <a:pt x="6414" y="1966"/>
                    <a:pt x="6468" y="1880"/>
                    <a:pt x="6476" y="1865"/>
                  </a:cubicBezTo>
                  <a:cubicBezTo>
                    <a:pt x="6480" y="1857"/>
                    <a:pt x="6488" y="1853"/>
                    <a:pt x="6495" y="1853"/>
                  </a:cubicBezTo>
                  <a:cubicBezTo>
                    <a:pt x="6501" y="1853"/>
                    <a:pt x="6507" y="1856"/>
                    <a:pt x="6510" y="1860"/>
                  </a:cubicBezTo>
                  <a:cubicBezTo>
                    <a:pt x="6512" y="1865"/>
                    <a:pt x="6514" y="1874"/>
                    <a:pt x="6506" y="1888"/>
                  </a:cubicBezTo>
                  <a:cubicBezTo>
                    <a:pt x="6496" y="1906"/>
                    <a:pt x="6444" y="1988"/>
                    <a:pt x="6436" y="2001"/>
                  </a:cubicBezTo>
                  <a:cubicBezTo>
                    <a:pt x="6431" y="2008"/>
                    <a:pt x="6424" y="2013"/>
                    <a:pt x="6416" y="2013"/>
                  </a:cubicBezTo>
                  <a:close/>
                  <a:moveTo>
                    <a:pt x="6500" y="1652"/>
                  </a:moveTo>
                  <a:lnTo>
                    <a:pt x="6500" y="1652"/>
                  </a:lnTo>
                  <a:cubicBezTo>
                    <a:pt x="6489" y="1652"/>
                    <a:pt x="6487" y="1639"/>
                    <a:pt x="6487" y="1613"/>
                  </a:cubicBezTo>
                  <a:cubicBezTo>
                    <a:pt x="6487" y="1594"/>
                    <a:pt x="6486" y="1440"/>
                    <a:pt x="6486" y="1440"/>
                  </a:cubicBezTo>
                  <a:lnTo>
                    <a:pt x="6486" y="1433"/>
                  </a:lnTo>
                  <a:lnTo>
                    <a:pt x="6493" y="1432"/>
                  </a:lnTo>
                  <a:cubicBezTo>
                    <a:pt x="6497" y="1432"/>
                    <a:pt x="6502" y="1431"/>
                    <a:pt x="6508" y="1431"/>
                  </a:cubicBezTo>
                  <a:cubicBezTo>
                    <a:pt x="6536" y="1431"/>
                    <a:pt x="6554" y="1444"/>
                    <a:pt x="6559" y="1467"/>
                  </a:cubicBezTo>
                  <a:cubicBezTo>
                    <a:pt x="6563" y="1489"/>
                    <a:pt x="6563" y="1547"/>
                    <a:pt x="6560" y="1570"/>
                  </a:cubicBezTo>
                  <a:cubicBezTo>
                    <a:pt x="6557" y="1588"/>
                    <a:pt x="6539" y="1610"/>
                    <a:pt x="6520" y="1633"/>
                  </a:cubicBezTo>
                  <a:cubicBezTo>
                    <a:pt x="6516" y="1638"/>
                    <a:pt x="6512" y="1643"/>
                    <a:pt x="6510" y="1646"/>
                  </a:cubicBezTo>
                  <a:cubicBezTo>
                    <a:pt x="6509" y="1647"/>
                    <a:pt x="6506" y="1652"/>
                    <a:pt x="6500" y="1652"/>
                  </a:cubicBezTo>
                  <a:close/>
                  <a:moveTo>
                    <a:pt x="6378" y="1711"/>
                  </a:moveTo>
                  <a:lnTo>
                    <a:pt x="6378" y="1711"/>
                  </a:lnTo>
                  <a:cubicBezTo>
                    <a:pt x="6373" y="1711"/>
                    <a:pt x="6368" y="1710"/>
                    <a:pt x="6364" y="1710"/>
                  </a:cubicBezTo>
                  <a:lnTo>
                    <a:pt x="6360" y="1710"/>
                  </a:lnTo>
                  <a:cubicBezTo>
                    <a:pt x="6353" y="1710"/>
                    <a:pt x="6345" y="1703"/>
                    <a:pt x="6303" y="1639"/>
                  </a:cubicBezTo>
                  <a:lnTo>
                    <a:pt x="6297" y="1629"/>
                  </a:lnTo>
                  <a:cubicBezTo>
                    <a:pt x="6294" y="1626"/>
                    <a:pt x="6291" y="1623"/>
                    <a:pt x="6289" y="1620"/>
                  </a:cubicBezTo>
                  <a:cubicBezTo>
                    <a:pt x="6282" y="1612"/>
                    <a:pt x="6276" y="1606"/>
                    <a:pt x="6276" y="1598"/>
                  </a:cubicBezTo>
                  <a:cubicBezTo>
                    <a:pt x="6276" y="1596"/>
                    <a:pt x="6276" y="1588"/>
                    <a:pt x="6278" y="1576"/>
                  </a:cubicBezTo>
                  <a:cubicBezTo>
                    <a:pt x="6281" y="1549"/>
                    <a:pt x="6286" y="1499"/>
                    <a:pt x="6284" y="1478"/>
                  </a:cubicBezTo>
                  <a:lnTo>
                    <a:pt x="6284" y="1469"/>
                  </a:lnTo>
                  <a:lnTo>
                    <a:pt x="6292" y="1469"/>
                  </a:lnTo>
                  <a:cubicBezTo>
                    <a:pt x="6297" y="1469"/>
                    <a:pt x="6303" y="1470"/>
                    <a:pt x="6310" y="1470"/>
                  </a:cubicBezTo>
                  <a:cubicBezTo>
                    <a:pt x="6318" y="1470"/>
                    <a:pt x="6327" y="1471"/>
                    <a:pt x="6335" y="1471"/>
                  </a:cubicBezTo>
                  <a:cubicBezTo>
                    <a:pt x="6362" y="1471"/>
                    <a:pt x="6380" y="1467"/>
                    <a:pt x="6389" y="1460"/>
                  </a:cubicBezTo>
                  <a:lnTo>
                    <a:pt x="6398" y="1453"/>
                  </a:lnTo>
                  <a:lnTo>
                    <a:pt x="6401" y="1464"/>
                  </a:lnTo>
                  <a:cubicBezTo>
                    <a:pt x="6421" y="1527"/>
                    <a:pt x="6439" y="1597"/>
                    <a:pt x="6433" y="1687"/>
                  </a:cubicBezTo>
                  <a:lnTo>
                    <a:pt x="6433" y="1689"/>
                  </a:lnTo>
                  <a:lnTo>
                    <a:pt x="6431" y="1691"/>
                  </a:lnTo>
                  <a:cubicBezTo>
                    <a:pt x="6420" y="1704"/>
                    <a:pt x="6402" y="1711"/>
                    <a:pt x="6378" y="1711"/>
                  </a:cubicBezTo>
                  <a:close/>
                  <a:moveTo>
                    <a:pt x="6259" y="1065"/>
                  </a:moveTo>
                  <a:lnTo>
                    <a:pt x="6259" y="1065"/>
                  </a:lnTo>
                  <a:lnTo>
                    <a:pt x="6256" y="1061"/>
                  </a:lnTo>
                  <a:cubicBezTo>
                    <a:pt x="6256" y="1061"/>
                    <a:pt x="6248" y="1052"/>
                    <a:pt x="6237" y="1052"/>
                  </a:cubicBezTo>
                  <a:lnTo>
                    <a:pt x="6227" y="1052"/>
                  </a:lnTo>
                  <a:lnTo>
                    <a:pt x="6230" y="1042"/>
                  </a:lnTo>
                  <a:cubicBezTo>
                    <a:pt x="6232" y="1036"/>
                    <a:pt x="6229" y="1021"/>
                    <a:pt x="6226" y="1013"/>
                  </a:cubicBezTo>
                  <a:lnTo>
                    <a:pt x="6224" y="1007"/>
                  </a:lnTo>
                  <a:lnTo>
                    <a:pt x="6229" y="1004"/>
                  </a:lnTo>
                  <a:cubicBezTo>
                    <a:pt x="6230" y="1004"/>
                    <a:pt x="6248" y="993"/>
                    <a:pt x="6259" y="984"/>
                  </a:cubicBezTo>
                  <a:lnTo>
                    <a:pt x="6261" y="983"/>
                  </a:lnTo>
                  <a:lnTo>
                    <a:pt x="6263" y="983"/>
                  </a:lnTo>
                  <a:cubicBezTo>
                    <a:pt x="6277" y="983"/>
                    <a:pt x="6296" y="984"/>
                    <a:pt x="6296" y="984"/>
                  </a:cubicBezTo>
                  <a:lnTo>
                    <a:pt x="6306" y="985"/>
                  </a:lnTo>
                  <a:lnTo>
                    <a:pt x="6303" y="994"/>
                  </a:lnTo>
                  <a:cubicBezTo>
                    <a:pt x="6297" y="1012"/>
                    <a:pt x="6293" y="1038"/>
                    <a:pt x="6293" y="1053"/>
                  </a:cubicBezTo>
                  <a:lnTo>
                    <a:pt x="6293" y="1059"/>
                  </a:lnTo>
                  <a:lnTo>
                    <a:pt x="6287" y="1060"/>
                  </a:lnTo>
                  <a:lnTo>
                    <a:pt x="6263" y="1064"/>
                  </a:lnTo>
                  <a:lnTo>
                    <a:pt x="6259" y="1065"/>
                  </a:lnTo>
                  <a:close/>
                  <a:moveTo>
                    <a:pt x="6315" y="8586"/>
                  </a:moveTo>
                  <a:lnTo>
                    <a:pt x="6018" y="8586"/>
                  </a:lnTo>
                  <a:cubicBezTo>
                    <a:pt x="6011" y="8578"/>
                    <a:pt x="6002" y="8570"/>
                    <a:pt x="5992" y="8563"/>
                  </a:cubicBezTo>
                  <a:cubicBezTo>
                    <a:pt x="5986" y="8558"/>
                    <a:pt x="5981" y="8553"/>
                    <a:pt x="5976" y="8548"/>
                  </a:cubicBezTo>
                  <a:lnTo>
                    <a:pt x="6358" y="8548"/>
                  </a:lnTo>
                  <a:cubicBezTo>
                    <a:pt x="6354" y="8552"/>
                    <a:pt x="6350" y="8556"/>
                    <a:pt x="6346" y="8560"/>
                  </a:cubicBezTo>
                  <a:cubicBezTo>
                    <a:pt x="6333" y="8568"/>
                    <a:pt x="6323" y="8577"/>
                    <a:pt x="6315" y="8586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0"/>
            </a:p>
          </p:txBody>
        </p:sp>
        <p:sp>
          <p:nvSpPr>
            <p:cNvPr id="44" name="Linien"/>
            <p:cNvSpPr>
              <a:spLocks noEditPoints="1"/>
            </p:cNvSpPr>
            <p:nvPr userDrawn="1"/>
          </p:nvSpPr>
          <p:spPr bwMode="auto">
            <a:xfrm>
              <a:off x="4472" y="1331"/>
              <a:ext cx="953" cy="2057"/>
            </a:xfrm>
            <a:custGeom>
              <a:avLst/>
              <a:gdLst>
                <a:gd name="T0" fmla="*/ 2201 w 4200"/>
                <a:gd name="T1" fmla="*/ 19 h 9073"/>
                <a:gd name="T2" fmla="*/ 2000 w 4200"/>
                <a:gd name="T3" fmla="*/ 48 h 9073"/>
                <a:gd name="T4" fmla="*/ 104 w 4200"/>
                <a:gd name="T5" fmla="*/ 3877 h 9073"/>
                <a:gd name="T6" fmla="*/ 4068 w 4200"/>
                <a:gd name="T7" fmla="*/ 3933 h 9073"/>
                <a:gd name="T8" fmla="*/ 75 w 4200"/>
                <a:gd name="T9" fmla="*/ 3877 h 9073"/>
                <a:gd name="T10" fmla="*/ 4123 w 4200"/>
                <a:gd name="T11" fmla="*/ 4076 h 9073"/>
                <a:gd name="T12" fmla="*/ 4079 w 4200"/>
                <a:gd name="T13" fmla="*/ 4185 h 9073"/>
                <a:gd name="T14" fmla="*/ 122 w 4200"/>
                <a:gd name="T15" fmla="*/ 4185 h 9073"/>
                <a:gd name="T16" fmla="*/ 1985 w 4200"/>
                <a:gd name="T17" fmla="*/ 629 h 9073"/>
                <a:gd name="T18" fmla="*/ 2220 w 4200"/>
                <a:gd name="T19" fmla="*/ 624 h 9073"/>
                <a:gd name="T20" fmla="*/ 2176 w 4200"/>
                <a:gd name="T21" fmla="*/ 719 h 9073"/>
                <a:gd name="T22" fmla="*/ 2016 w 4200"/>
                <a:gd name="T23" fmla="*/ 691 h 9073"/>
                <a:gd name="T24" fmla="*/ 2206 w 4200"/>
                <a:gd name="T25" fmla="*/ 931 h 9073"/>
                <a:gd name="T26" fmla="*/ 1978 w 4200"/>
                <a:gd name="T27" fmla="*/ 927 h 9073"/>
                <a:gd name="T28" fmla="*/ 2216 w 4200"/>
                <a:gd name="T29" fmla="*/ 928 h 9073"/>
                <a:gd name="T30" fmla="*/ 1885 w 4200"/>
                <a:gd name="T31" fmla="*/ 1108 h 9073"/>
                <a:gd name="T32" fmla="*/ 2330 w 4200"/>
                <a:gd name="T33" fmla="*/ 1106 h 9073"/>
                <a:gd name="T34" fmla="*/ 1854 w 4200"/>
                <a:gd name="T35" fmla="*/ 1327 h 9073"/>
                <a:gd name="T36" fmla="*/ 2309 w 4200"/>
                <a:gd name="T37" fmla="*/ 1341 h 9073"/>
                <a:gd name="T38" fmla="*/ 779 w 4200"/>
                <a:gd name="T39" fmla="*/ 2424 h 9073"/>
                <a:gd name="T40" fmla="*/ 3424 w 4200"/>
                <a:gd name="T41" fmla="*/ 2394 h 9073"/>
                <a:gd name="T42" fmla="*/ 786 w 4200"/>
                <a:gd name="T43" fmla="*/ 2422 h 9073"/>
                <a:gd name="T44" fmla="*/ 3613 w 4200"/>
                <a:gd name="T45" fmla="*/ 3010 h 9073"/>
                <a:gd name="T46" fmla="*/ 588 w 4200"/>
                <a:gd name="T47" fmla="*/ 3010 h 9073"/>
                <a:gd name="T48" fmla="*/ 2100 w 4200"/>
                <a:gd name="T49" fmla="*/ 2398 h 9073"/>
                <a:gd name="T50" fmla="*/ 3462 w 4200"/>
                <a:gd name="T51" fmla="*/ 3174 h 9073"/>
                <a:gd name="T52" fmla="*/ 743 w 4200"/>
                <a:gd name="T53" fmla="*/ 3173 h 9073"/>
                <a:gd name="T54" fmla="*/ 2100 w 4200"/>
                <a:gd name="T55" fmla="*/ 2952 h 9073"/>
                <a:gd name="T56" fmla="*/ 126 w 4200"/>
                <a:gd name="T57" fmla="*/ 8115 h 9073"/>
                <a:gd name="T58" fmla="*/ 1122 w 4200"/>
                <a:gd name="T59" fmla="*/ 7573 h 9073"/>
                <a:gd name="T60" fmla="*/ 1131 w 4200"/>
                <a:gd name="T61" fmla="*/ 7543 h 9073"/>
                <a:gd name="T62" fmla="*/ 2858 w 4200"/>
                <a:gd name="T63" fmla="*/ 7387 h 9073"/>
                <a:gd name="T64" fmla="*/ 3843 w 4200"/>
                <a:gd name="T65" fmla="*/ 7789 h 9073"/>
                <a:gd name="T66" fmla="*/ 4085 w 4200"/>
                <a:gd name="T67" fmla="*/ 8091 h 9073"/>
                <a:gd name="T68" fmla="*/ 3089 w 4200"/>
                <a:gd name="T69" fmla="*/ 7706 h 9073"/>
                <a:gd name="T70" fmla="*/ 2100 w 4200"/>
                <a:gd name="T71" fmla="*/ 7035 h 9073"/>
                <a:gd name="T72" fmla="*/ 1112 w 4200"/>
                <a:gd name="T73" fmla="*/ 7706 h 9073"/>
                <a:gd name="T74" fmla="*/ 2098 w 4200"/>
                <a:gd name="T75" fmla="*/ 7662 h 9073"/>
                <a:gd name="T76" fmla="*/ 2098 w 4200"/>
                <a:gd name="T77" fmla="*/ 7662 h 9073"/>
                <a:gd name="T78" fmla="*/ 1764 w 4200"/>
                <a:gd name="T79" fmla="*/ 7953 h 9073"/>
                <a:gd name="T80" fmla="*/ 4186 w 4200"/>
                <a:gd name="T81" fmla="*/ 8397 h 9073"/>
                <a:gd name="T82" fmla="*/ 3011 w 4200"/>
                <a:gd name="T83" fmla="*/ 7554 h 9073"/>
                <a:gd name="T84" fmla="*/ 1459 w 4200"/>
                <a:gd name="T85" fmla="*/ 7547 h 9073"/>
                <a:gd name="T86" fmla="*/ 1093 w 4200"/>
                <a:gd name="T87" fmla="*/ 7846 h 9073"/>
                <a:gd name="T88" fmla="*/ 1081 w 4200"/>
                <a:gd name="T89" fmla="*/ 7818 h 9073"/>
                <a:gd name="T90" fmla="*/ 2762 w 4200"/>
                <a:gd name="T91" fmla="*/ 7525 h 9073"/>
                <a:gd name="T92" fmla="*/ 4186 w 4200"/>
                <a:gd name="T93" fmla="*/ 8397 h 9073"/>
                <a:gd name="T94" fmla="*/ 2713 w 4200"/>
                <a:gd name="T95" fmla="*/ 7958 h 9073"/>
                <a:gd name="T96" fmla="*/ 2102 w 4200"/>
                <a:gd name="T97" fmla="*/ 8540 h 9073"/>
                <a:gd name="T98" fmla="*/ 2831 w 4200"/>
                <a:gd name="T99" fmla="*/ 7809 h 9073"/>
                <a:gd name="T100" fmla="*/ 1462 w 4200"/>
                <a:gd name="T101" fmla="*/ 7958 h 9073"/>
                <a:gd name="T102" fmla="*/ 913 w 4200"/>
                <a:gd name="T103" fmla="*/ 9067 h 9073"/>
                <a:gd name="T104" fmla="*/ 701 w 4200"/>
                <a:gd name="T105" fmla="*/ 8759 h 9073"/>
                <a:gd name="T106" fmla="*/ 179 w 4200"/>
                <a:gd name="T107" fmla="*/ 8657 h 9073"/>
                <a:gd name="T108" fmla="*/ 1321 w 4200"/>
                <a:gd name="T109" fmla="*/ 7775 h 9073"/>
                <a:gd name="T110" fmla="*/ 2878 w 4200"/>
                <a:gd name="T111" fmla="*/ 7780 h 9073"/>
                <a:gd name="T112" fmla="*/ 4021 w 4200"/>
                <a:gd name="T113" fmla="*/ 8656 h 9073"/>
                <a:gd name="T114" fmla="*/ 3498 w 4200"/>
                <a:gd name="T115" fmla="*/ 8760 h 9073"/>
                <a:gd name="T116" fmla="*/ 3286 w 4200"/>
                <a:gd name="T117" fmla="*/ 9067 h 90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200" h="9073">
                  <a:moveTo>
                    <a:pt x="2000" y="48"/>
                  </a:moveTo>
                  <a:cubicBezTo>
                    <a:pt x="1994" y="48"/>
                    <a:pt x="1988" y="44"/>
                    <a:pt x="1986" y="38"/>
                  </a:cubicBezTo>
                  <a:cubicBezTo>
                    <a:pt x="1984" y="30"/>
                    <a:pt x="1988" y="22"/>
                    <a:pt x="1996" y="19"/>
                  </a:cubicBezTo>
                  <a:cubicBezTo>
                    <a:pt x="2045" y="3"/>
                    <a:pt x="2155" y="0"/>
                    <a:pt x="2201" y="19"/>
                  </a:cubicBezTo>
                  <a:cubicBezTo>
                    <a:pt x="2208" y="22"/>
                    <a:pt x="2211" y="30"/>
                    <a:pt x="2208" y="38"/>
                  </a:cubicBezTo>
                  <a:cubicBezTo>
                    <a:pt x="2205" y="45"/>
                    <a:pt x="2197" y="48"/>
                    <a:pt x="2190" y="45"/>
                  </a:cubicBezTo>
                  <a:cubicBezTo>
                    <a:pt x="2152" y="30"/>
                    <a:pt x="2047" y="33"/>
                    <a:pt x="2004" y="47"/>
                  </a:cubicBezTo>
                  <a:cubicBezTo>
                    <a:pt x="2003" y="47"/>
                    <a:pt x="2001" y="48"/>
                    <a:pt x="2000" y="48"/>
                  </a:cubicBezTo>
                  <a:close/>
                  <a:moveTo>
                    <a:pt x="4096" y="3985"/>
                  </a:moveTo>
                  <a:lnTo>
                    <a:pt x="4096" y="3877"/>
                  </a:lnTo>
                  <a:cubicBezTo>
                    <a:pt x="4096" y="3684"/>
                    <a:pt x="3522" y="3221"/>
                    <a:pt x="2100" y="3221"/>
                  </a:cubicBezTo>
                  <a:cubicBezTo>
                    <a:pt x="679" y="3221"/>
                    <a:pt x="104" y="3684"/>
                    <a:pt x="104" y="3877"/>
                  </a:cubicBezTo>
                  <a:lnTo>
                    <a:pt x="104" y="3985"/>
                  </a:lnTo>
                  <a:cubicBezTo>
                    <a:pt x="112" y="3968"/>
                    <a:pt x="121" y="3951"/>
                    <a:pt x="132" y="3933"/>
                  </a:cubicBezTo>
                  <a:cubicBezTo>
                    <a:pt x="317" y="3639"/>
                    <a:pt x="931" y="3324"/>
                    <a:pt x="2100" y="3324"/>
                  </a:cubicBezTo>
                  <a:cubicBezTo>
                    <a:pt x="3270" y="3324"/>
                    <a:pt x="3884" y="3639"/>
                    <a:pt x="4068" y="3933"/>
                  </a:cubicBezTo>
                  <a:cubicBezTo>
                    <a:pt x="4079" y="3951"/>
                    <a:pt x="4089" y="3968"/>
                    <a:pt x="4096" y="3985"/>
                  </a:cubicBezTo>
                  <a:close/>
                  <a:moveTo>
                    <a:pt x="78" y="4076"/>
                  </a:moveTo>
                  <a:cubicBezTo>
                    <a:pt x="76" y="4074"/>
                    <a:pt x="75" y="4071"/>
                    <a:pt x="75" y="4068"/>
                  </a:cubicBezTo>
                  <a:lnTo>
                    <a:pt x="75" y="3877"/>
                  </a:lnTo>
                  <a:cubicBezTo>
                    <a:pt x="75" y="3646"/>
                    <a:pt x="687" y="3192"/>
                    <a:pt x="2100" y="3192"/>
                  </a:cubicBezTo>
                  <a:cubicBezTo>
                    <a:pt x="3514" y="3192"/>
                    <a:pt x="4125" y="3646"/>
                    <a:pt x="4125" y="3877"/>
                  </a:cubicBezTo>
                  <a:lnTo>
                    <a:pt x="4125" y="4068"/>
                  </a:lnTo>
                  <a:cubicBezTo>
                    <a:pt x="4125" y="4071"/>
                    <a:pt x="4124" y="4074"/>
                    <a:pt x="4123" y="4076"/>
                  </a:cubicBezTo>
                  <a:cubicBezTo>
                    <a:pt x="4128" y="4120"/>
                    <a:pt x="4122" y="4161"/>
                    <a:pt x="4105" y="4198"/>
                  </a:cubicBezTo>
                  <a:cubicBezTo>
                    <a:pt x="4102" y="4203"/>
                    <a:pt x="4097" y="4206"/>
                    <a:pt x="4092" y="4206"/>
                  </a:cubicBezTo>
                  <a:cubicBezTo>
                    <a:pt x="4089" y="4206"/>
                    <a:pt x="4087" y="4205"/>
                    <a:pt x="4085" y="4204"/>
                  </a:cubicBezTo>
                  <a:cubicBezTo>
                    <a:pt x="4078" y="4201"/>
                    <a:pt x="4075" y="4192"/>
                    <a:pt x="4079" y="4185"/>
                  </a:cubicBezTo>
                  <a:cubicBezTo>
                    <a:pt x="4110" y="4119"/>
                    <a:pt x="4098" y="4035"/>
                    <a:pt x="4044" y="3949"/>
                  </a:cubicBezTo>
                  <a:cubicBezTo>
                    <a:pt x="3872" y="3674"/>
                    <a:pt x="3260" y="3353"/>
                    <a:pt x="2100" y="3353"/>
                  </a:cubicBezTo>
                  <a:cubicBezTo>
                    <a:pt x="941" y="3353"/>
                    <a:pt x="329" y="3674"/>
                    <a:pt x="157" y="3949"/>
                  </a:cubicBezTo>
                  <a:cubicBezTo>
                    <a:pt x="103" y="4035"/>
                    <a:pt x="90" y="4119"/>
                    <a:pt x="122" y="4185"/>
                  </a:cubicBezTo>
                  <a:cubicBezTo>
                    <a:pt x="126" y="4192"/>
                    <a:pt x="123" y="4201"/>
                    <a:pt x="115" y="4204"/>
                  </a:cubicBezTo>
                  <a:cubicBezTo>
                    <a:pt x="108" y="4208"/>
                    <a:pt x="100" y="4205"/>
                    <a:pt x="96" y="4198"/>
                  </a:cubicBezTo>
                  <a:cubicBezTo>
                    <a:pt x="78" y="4161"/>
                    <a:pt x="72" y="4120"/>
                    <a:pt x="78" y="4076"/>
                  </a:cubicBezTo>
                  <a:close/>
                  <a:moveTo>
                    <a:pt x="1985" y="629"/>
                  </a:moveTo>
                  <a:cubicBezTo>
                    <a:pt x="1981" y="629"/>
                    <a:pt x="1978" y="627"/>
                    <a:pt x="1975" y="624"/>
                  </a:cubicBezTo>
                  <a:cubicBezTo>
                    <a:pt x="1969" y="619"/>
                    <a:pt x="1969" y="610"/>
                    <a:pt x="1975" y="604"/>
                  </a:cubicBezTo>
                  <a:cubicBezTo>
                    <a:pt x="2022" y="559"/>
                    <a:pt x="2173" y="559"/>
                    <a:pt x="2220" y="604"/>
                  </a:cubicBezTo>
                  <a:cubicBezTo>
                    <a:pt x="2226" y="610"/>
                    <a:pt x="2226" y="619"/>
                    <a:pt x="2220" y="624"/>
                  </a:cubicBezTo>
                  <a:cubicBezTo>
                    <a:pt x="2215" y="630"/>
                    <a:pt x="2206" y="630"/>
                    <a:pt x="2200" y="625"/>
                  </a:cubicBezTo>
                  <a:cubicBezTo>
                    <a:pt x="2164" y="590"/>
                    <a:pt x="2031" y="590"/>
                    <a:pt x="1995" y="625"/>
                  </a:cubicBezTo>
                  <a:cubicBezTo>
                    <a:pt x="1992" y="627"/>
                    <a:pt x="1989" y="629"/>
                    <a:pt x="1985" y="629"/>
                  </a:cubicBezTo>
                  <a:close/>
                  <a:moveTo>
                    <a:pt x="2176" y="719"/>
                  </a:moveTo>
                  <a:cubicBezTo>
                    <a:pt x="2173" y="719"/>
                    <a:pt x="2169" y="717"/>
                    <a:pt x="2166" y="715"/>
                  </a:cubicBezTo>
                  <a:cubicBezTo>
                    <a:pt x="2148" y="697"/>
                    <a:pt x="2057" y="692"/>
                    <a:pt x="2036" y="712"/>
                  </a:cubicBezTo>
                  <a:cubicBezTo>
                    <a:pt x="2030" y="718"/>
                    <a:pt x="2021" y="718"/>
                    <a:pt x="2016" y="712"/>
                  </a:cubicBezTo>
                  <a:cubicBezTo>
                    <a:pt x="2010" y="706"/>
                    <a:pt x="2010" y="697"/>
                    <a:pt x="2016" y="691"/>
                  </a:cubicBezTo>
                  <a:cubicBezTo>
                    <a:pt x="2048" y="661"/>
                    <a:pt x="2158" y="667"/>
                    <a:pt x="2186" y="694"/>
                  </a:cubicBezTo>
                  <a:cubicBezTo>
                    <a:pt x="2192" y="700"/>
                    <a:pt x="2192" y="709"/>
                    <a:pt x="2187" y="714"/>
                  </a:cubicBezTo>
                  <a:cubicBezTo>
                    <a:pt x="2184" y="717"/>
                    <a:pt x="2180" y="719"/>
                    <a:pt x="2176" y="719"/>
                  </a:cubicBezTo>
                  <a:close/>
                  <a:moveTo>
                    <a:pt x="2206" y="931"/>
                  </a:moveTo>
                  <a:cubicBezTo>
                    <a:pt x="2202" y="931"/>
                    <a:pt x="2198" y="930"/>
                    <a:pt x="2196" y="926"/>
                  </a:cubicBezTo>
                  <a:cubicBezTo>
                    <a:pt x="2185" y="914"/>
                    <a:pt x="2153" y="906"/>
                    <a:pt x="2113" y="904"/>
                  </a:cubicBezTo>
                  <a:cubicBezTo>
                    <a:pt x="2063" y="902"/>
                    <a:pt x="2015" y="912"/>
                    <a:pt x="1999" y="927"/>
                  </a:cubicBezTo>
                  <a:cubicBezTo>
                    <a:pt x="1993" y="933"/>
                    <a:pt x="1984" y="933"/>
                    <a:pt x="1978" y="927"/>
                  </a:cubicBezTo>
                  <a:cubicBezTo>
                    <a:pt x="1973" y="921"/>
                    <a:pt x="1973" y="912"/>
                    <a:pt x="1979" y="907"/>
                  </a:cubicBezTo>
                  <a:cubicBezTo>
                    <a:pt x="2006" y="880"/>
                    <a:pt x="2069" y="873"/>
                    <a:pt x="2114" y="875"/>
                  </a:cubicBezTo>
                  <a:cubicBezTo>
                    <a:pt x="2138" y="876"/>
                    <a:pt x="2194" y="881"/>
                    <a:pt x="2217" y="907"/>
                  </a:cubicBezTo>
                  <a:cubicBezTo>
                    <a:pt x="2223" y="913"/>
                    <a:pt x="2222" y="922"/>
                    <a:pt x="2216" y="928"/>
                  </a:cubicBezTo>
                  <a:cubicBezTo>
                    <a:pt x="2213" y="930"/>
                    <a:pt x="2210" y="931"/>
                    <a:pt x="2206" y="931"/>
                  </a:cubicBezTo>
                  <a:close/>
                  <a:moveTo>
                    <a:pt x="2319" y="1111"/>
                  </a:moveTo>
                  <a:cubicBezTo>
                    <a:pt x="2316" y="1111"/>
                    <a:pt x="2313" y="1110"/>
                    <a:pt x="2310" y="1108"/>
                  </a:cubicBezTo>
                  <a:cubicBezTo>
                    <a:pt x="2239" y="1054"/>
                    <a:pt x="1957" y="1054"/>
                    <a:pt x="1885" y="1108"/>
                  </a:cubicBezTo>
                  <a:cubicBezTo>
                    <a:pt x="1879" y="1113"/>
                    <a:pt x="1870" y="1112"/>
                    <a:pt x="1865" y="1106"/>
                  </a:cubicBezTo>
                  <a:cubicBezTo>
                    <a:pt x="1860" y="1099"/>
                    <a:pt x="1861" y="1090"/>
                    <a:pt x="1868" y="1085"/>
                  </a:cubicBezTo>
                  <a:cubicBezTo>
                    <a:pt x="1950" y="1023"/>
                    <a:pt x="2246" y="1023"/>
                    <a:pt x="2328" y="1085"/>
                  </a:cubicBezTo>
                  <a:cubicBezTo>
                    <a:pt x="2334" y="1090"/>
                    <a:pt x="2335" y="1099"/>
                    <a:pt x="2330" y="1106"/>
                  </a:cubicBezTo>
                  <a:cubicBezTo>
                    <a:pt x="2327" y="1109"/>
                    <a:pt x="2323" y="1111"/>
                    <a:pt x="2319" y="1111"/>
                  </a:cubicBezTo>
                  <a:close/>
                  <a:moveTo>
                    <a:pt x="1865" y="1351"/>
                  </a:moveTo>
                  <a:cubicBezTo>
                    <a:pt x="1861" y="1351"/>
                    <a:pt x="1858" y="1350"/>
                    <a:pt x="1855" y="1348"/>
                  </a:cubicBezTo>
                  <a:cubicBezTo>
                    <a:pt x="1849" y="1342"/>
                    <a:pt x="1849" y="1333"/>
                    <a:pt x="1854" y="1327"/>
                  </a:cubicBezTo>
                  <a:cubicBezTo>
                    <a:pt x="1900" y="1277"/>
                    <a:pt x="2020" y="1258"/>
                    <a:pt x="2119" y="1260"/>
                  </a:cubicBezTo>
                  <a:cubicBezTo>
                    <a:pt x="2221" y="1262"/>
                    <a:pt x="2300" y="1285"/>
                    <a:pt x="2332" y="1323"/>
                  </a:cubicBezTo>
                  <a:cubicBezTo>
                    <a:pt x="2337" y="1329"/>
                    <a:pt x="2336" y="1338"/>
                    <a:pt x="2330" y="1343"/>
                  </a:cubicBezTo>
                  <a:cubicBezTo>
                    <a:pt x="2324" y="1348"/>
                    <a:pt x="2314" y="1347"/>
                    <a:pt x="2309" y="1341"/>
                  </a:cubicBezTo>
                  <a:cubicBezTo>
                    <a:pt x="2284" y="1311"/>
                    <a:pt x="2211" y="1290"/>
                    <a:pt x="2119" y="1288"/>
                  </a:cubicBezTo>
                  <a:cubicBezTo>
                    <a:pt x="2009" y="1286"/>
                    <a:pt x="1909" y="1310"/>
                    <a:pt x="1876" y="1347"/>
                  </a:cubicBezTo>
                  <a:cubicBezTo>
                    <a:pt x="1873" y="1350"/>
                    <a:pt x="1869" y="1351"/>
                    <a:pt x="1865" y="1351"/>
                  </a:cubicBezTo>
                  <a:close/>
                  <a:moveTo>
                    <a:pt x="779" y="2424"/>
                  </a:moveTo>
                  <a:cubicBezTo>
                    <a:pt x="774" y="2424"/>
                    <a:pt x="769" y="2422"/>
                    <a:pt x="766" y="2417"/>
                  </a:cubicBezTo>
                  <a:cubicBezTo>
                    <a:pt x="762" y="2410"/>
                    <a:pt x="765" y="2401"/>
                    <a:pt x="772" y="2397"/>
                  </a:cubicBezTo>
                  <a:cubicBezTo>
                    <a:pt x="1053" y="2237"/>
                    <a:pt x="1549" y="2141"/>
                    <a:pt x="2100" y="2141"/>
                  </a:cubicBezTo>
                  <a:cubicBezTo>
                    <a:pt x="2651" y="2141"/>
                    <a:pt x="3145" y="2236"/>
                    <a:pt x="3424" y="2394"/>
                  </a:cubicBezTo>
                  <a:cubicBezTo>
                    <a:pt x="3431" y="2398"/>
                    <a:pt x="3433" y="2407"/>
                    <a:pt x="3429" y="2414"/>
                  </a:cubicBezTo>
                  <a:cubicBezTo>
                    <a:pt x="3425" y="2421"/>
                    <a:pt x="3416" y="2423"/>
                    <a:pt x="3410" y="2420"/>
                  </a:cubicBezTo>
                  <a:cubicBezTo>
                    <a:pt x="3135" y="2263"/>
                    <a:pt x="2646" y="2170"/>
                    <a:pt x="2100" y="2170"/>
                  </a:cubicBezTo>
                  <a:cubicBezTo>
                    <a:pt x="1554" y="2170"/>
                    <a:pt x="1063" y="2264"/>
                    <a:pt x="786" y="2422"/>
                  </a:cubicBezTo>
                  <a:cubicBezTo>
                    <a:pt x="784" y="2424"/>
                    <a:pt x="781" y="2424"/>
                    <a:pt x="779" y="2424"/>
                  </a:cubicBezTo>
                  <a:close/>
                  <a:moveTo>
                    <a:pt x="3626" y="3030"/>
                  </a:moveTo>
                  <a:cubicBezTo>
                    <a:pt x="3624" y="3030"/>
                    <a:pt x="3623" y="3030"/>
                    <a:pt x="3621" y="3029"/>
                  </a:cubicBezTo>
                  <a:cubicBezTo>
                    <a:pt x="3613" y="3026"/>
                    <a:pt x="3610" y="3018"/>
                    <a:pt x="3613" y="3010"/>
                  </a:cubicBezTo>
                  <a:cubicBezTo>
                    <a:pt x="3629" y="2968"/>
                    <a:pt x="3619" y="2921"/>
                    <a:pt x="3583" y="2870"/>
                  </a:cubicBezTo>
                  <a:cubicBezTo>
                    <a:pt x="3432" y="2650"/>
                    <a:pt x="2874" y="2427"/>
                    <a:pt x="2100" y="2427"/>
                  </a:cubicBezTo>
                  <a:cubicBezTo>
                    <a:pt x="1327" y="2427"/>
                    <a:pt x="769" y="2650"/>
                    <a:pt x="617" y="2870"/>
                  </a:cubicBezTo>
                  <a:cubicBezTo>
                    <a:pt x="582" y="2921"/>
                    <a:pt x="572" y="2968"/>
                    <a:pt x="588" y="3010"/>
                  </a:cubicBezTo>
                  <a:cubicBezTo>
                    <a:pt x="591" y="3018"/>
                    <a:pt x="587" y="3026"/>
                    <a:pt x="580" y="3029"/>
                  </a:cubicBezTo>
                  <a:cubicBezTo>
                    <a:pt x="572" y="3032"/>
                    <a:pt x="564" y="3028"/>
                    <a:pt x="561" y="3021"/>
                  </a:cubicBezTo>
                  <a:cubicBezTo>
                    <a:pt x="542" y="2970"/>
                    <a:pt x="553" y="2912"/>
                    <a:pt x="594" y="2853"/>
                  </a:cubicBezTo>
                  <a:cubicBezTo>
                    <a:pt x="750" y="2627"/>
                    <a:pt x="1317" y="2398"/>
                    <a:pt x="2100" y="2398"/>
                  </a:cubicBezTo>
                  <a:cubicBezTo>
                    <a:pt x="2884" y="2398"/>
                    <a:pt x="3451" y="2627"/>
                    <a:pt x="3607" y="2853"/>
                  </a:cubicBezTo>
                  <a:cubicBezTo>
                    <a:pt x="3648" y="2912"/>
                    <a:pt x="3659" y="2970"/>
                    <a:pt x="3639" y="3021"/>
                  </a:cubicBezTo>
                  <a:cubicBezTo>
                    <a:pt x="3637" y="3026"/>
                    <a:pt x="3632" y="3030"/>
                    <a:pt x="3626" y="3030"/>
                  </a:cubicBezTo>
                  <a:close/>
                  <a:moveTo>
                    <a:pt x="3462" y="3174"/>
                  </a:moveTo>
                  <a:cubicBezTo>
                    <a:pt x="3461" y="3174"/>
                    <a:pt x="3459" y="3174"/>
                    <a:pt x="3458" y="3173"/>
                  </a:cubicBezTo>
                  <a:cubicBezTo>
                    <a:pt x="3006" y="3044"/>
                    <a:pt x="2562" y="2981"/>
                    <a:pt x="2100" y="2981"/>
                  </a:cubicBezTo>
                  <a:lnTo>
                    <a:pt x="2094" y="2981"/>
                  </a:lnTo>
                  <a:cubicBezTo>
                    <a:pt x="1637" y="2981"/>
                    <a:pt x="1195" y="3044"/>
                    <a:pt x="743" y="3173"/>
                  </a:cubicBezTo>
                  <a:cubicBezTo>
                    <a:pt x="735" y="3175"/>
                    <a:pt x="727" y="3171"/>
                    <a:pt x="725" y="3163"/>
                  </a:cubicBezTo>
                  <a:cubicBezTo>
                    <a:pt x="723" y="3156"/>
                    <a:pt x="727" y="3148"/>
                    <a:pt x="735" y="3146"/>
                  </a:cubicBezTo>
                  <a:cubicBezTo>
                    <a:pt x="1189" y="3016"/>
                    <a:pt x="1634" y="2952"/>
                    <a:pt x="2094" y="2952"/>
                  </a:cubicBezTo>
                  <a:lnTo>
                    <a:pt x="2100" y="2952"/>
                  </a:lnTo>
                  <a:cubicBezTo>
                    <a:pt x="2565" y="2952"/>
                    <a:pt x="3011" y="3016"/>
                    <a:pt x="3466" y="3146"/>
                  </a:cubicBezTo>
                  <a:cubicBezTo>
                    <a:pt x="3474" y="3148"/>
                    <a:pt x="3478" y="3156"/>
                    <a:pt x="3476" y="3163"/>
                  </a:cubicBezTo>
                  <a:cubicBezTo>
                    <a:pt x="3474" y="3170"/>
                    <a:pt x="3468" y="3174"/>
                    <a:pt x="3462" y="3174"/>
                  </a:cubicBezTo>
                  <a:close/>
                  <a:moveTo>
                    <a:pt x="126" y="8115"/>
                  </a:moveTo>
                  <a:cubicBezTo>
                    <a:pt x="122" y="8115"/>
                    <a:pt x="118" y="8114"/>
                    <a:pt x="116" y="8111"/>
                  </a:cubicBezTo>
                  <a:cubicBezTo>
                    <a:pt x="110" y="8105"/>
                    <a:pt x="110" y="8096"/>
                    <a:pt x="116" y="8091"/>
                  </a:cubicBezTo>
                  <a:cubicBezTo>
                    <a:pt x="322" y="7894"/>
                    <a:pt x="640" y="7760"/>
                    <a:pt x="1090" y="7681"/>
                  </a:cubicBezTo>
                  <a:lnTo>
                    <a:pt x="1122" y="7573"/>
                  </a:lnTo>
                  <a:cubicBezTo>
                    <a:pt x="998" y="7586"/>
                    <a:pt x="652" y="7648"/>
                    <a:pt x="378" y="7788"/>
                  </a:cubicBezTo>
                  <a:cubicBezTo>
                    <a:pt x="371" y="7792"/>
                    <a:pt x="362" y="7789"/>
                    <a:pt x="359" y="7782"/>
                  </a:cubicBezTo>
                  <a:cubicBezTo>
                    <a:pt x="355" y="7775"/>
                    <a:pt x="358" y="7766"/>
                    <a:pt x="365" y="7762"/>
                  </a:cubicBezTo>
                  <a:cubicBezTo>
                    <a:pt x="652" y="7615"/>
                    <a:pt x="1016" y="7554"/>
                    <a:pt x="1131" y="7543"/>
                  </a:cubicBezTo>
                  <a:lnTo>
                    <a:pt x="1177" y="7387"/>
                  </a:lnTo>
                  <a:lnTo>
                    <a:pt x="1343" y="7387"/>
                  </a:lnTo>
                  <a:cubicBezTo>
                    <a:pt x="1380" y="7337"/>
                    <a:pt x="1637" y="7006"/>
                    <a:pt x="2100" y="7006"/>
                  </a:cubicBezTo>
                  <a:cubicBezTo>
                    <a:pt x="2564" y="7006"/>
                    <a:pt x="2821" y="7337"/>
                    <a:pt x="2858" y="7387"/>
                  </a:cubicBezTo>
                  <a:lnTo>
                    <a:pt x="3024" y="7387"/>
                  </a:lnTo>
                  <a:lnTo>
                    <a:pt x="3070" y="7543"/>
                  </a:lnTo>
                  <a:cubicBezTo>
                    <a:pt x="3186" y="7555"/>
                    <a:pt x="3550" y="7618"/>
                    <a:pt x="3837" y="7769"/>
                  </a:cubicBezTo>
                  <a:cubicBezTo>
                    <a:pt x="3844" y="7773"/>
                    <a:pt x="3847" y="7782"/>
                    <a:pt x="3843" y="7789"/>
                  </a:cubicBezTo>
                  <a:cubicBezTo>
                    <a:pt x="3839" y="7796"/>
                    <a:pt x="3831" y="7799"/>
                    <a:pt x="3824" y="7795"/>
                  </a:cubicBezTo>
                  <a:cubicBezTo>
                    <a:pt x="3550" y="7650"/>
                    <a:pt x="3204" y="7587"/>
                    <a:pt x="3079" y="7573"/>
                  </a:cubicBezTo>
                  <a:lnTo>
                    <a:pt x="3111" y="7681"/>
                  </a:lnTo>
                  <a:cubicBezTo>
                    <a:pt x="3560" y="7760"/>
                    <a:pt x="3879" y="7894"/>
                    <a:pt x="4085" y="8091"/>
                  </a:cubicBezTo>
                  <a:cubicBezTo>
                    <a:pt x="4090" y="8096"/>
                    <a:pt x="4091" y="8105"/>
                    <a:pt x="4085" y="8111"/>
                  </a:cubicBezTo>
                  <a:cubicBezTo>
                    <a:pt x="4080" y="8117"/>
                    <a:pt x="4071" y="8117"/>
                    <a:pt x="4065" y="8111"/>
                  </a:cubicBezTo>
                  <a:cubicBezTo>
                    <a:pt x="3865" y="7920"/>
                    <a:pt x="3539" y="7784"/>
                    <a:pt x="3097" y="7708"/>
                  </a:cubicBezTo>
                  <a:lnTo>
                    <a:pt x="3089" y="7706"/>
                  </a:lnTo>
                  <a:lnTo>
                    <a:pt x="3002" y="7416"/>
                  </a:lnTo>
                  <a:lnTo>
                    <a:pt x="2842" y="7416"/>
                  </a:lnTo>
                  <a:lnTo>
                    <a:pt x="2838" y="7410"/>
                  </a:lnTo>
                  <a:cubicBezTo>
                    <a:pt x="2836" y="7406"/>
                    <a:pt x="2584" y="7035"/>
                    <a:pt x="2100" y="7035"/>
                  </a:cubicBezTo>
                  <a:cubicBezTo>
                    <a:pt x="1617" y="7035"/>
                    <a:pt x="1365" y="7406"/>
                    <a:pt x="1363" y="7410"/>
                  </a:cubicBezTo>
                  <a:lnTo>
                    <a:pt x="1358" y="7416"/>
                  </a:lnTo>
                  <a:lnTo>
                    <a:pt x="1198" y="7416"/>
                  </a:lnTo>
                  <a:lnTo>
                    <a:pt x="1112" y="7706"/>
                  </a:lnTo>
                  <a:lnTo>
                    <a:pt x="1103" y="7708"/>
                  </a:lnTo>
                  <a:cubicBezTo>
                    <a:pt x="662" y="7784"/>
                    <a:pt x="336" y="7920"/>
                    <a:pt x="136" y="8111"/>
                  </a:cubicBezTo>
                  <a:cubicBezTo>
                    <a:pt x="133" y="8114"/>
                    <a:pt x="130" y="8115"/>
                    <a:pt x="126" y="8115"/>
                  </a:cubicBezTo>
                  <a:close/>
                  <a:moveTo>
                    <a:pt x="2098" y="7662"/>
                  </a:moveTo>
                  <a:cubicBezTo>
                    <a:pt x="1929" y="7662"/>
                    <a:pt x="1793" y="7793"/>
                    <a:pt x="1793" y="7953"/>
                  </a:cubicBezTo>
                  <a:cubicBezTo>
                    <a:pt x="1793" y="8114"/>
                    <a:pt x="1929" y="8244"/>
                    <a:pt x="2098" y="8244"/>
                  </a:cubicBezTo>
                  <a:cubicBezTo>
                    <a:pt x="2266" y="8244"/>
                    <a:pt x="2402" y="8114"/>
                    <a:pt x="2402" y="7953"/>
                  </a:cubicBezTo>
                  <a:cubicBezTo>
                    <a:pt x="2402" y="7793"/>
                    <a:pt x="2266" y="7662"/>
                    <a:pt x="2098" y="7662"/>
                  </a:cubicBezTo>
                  <a:close/>
                  <a:moveTo>
                    <a:pt x="2098" y="8244"/>
                  </a:moveTo>
                  <a:lnTo>
                    <a:pt x="2098" y="8244"/>
                  </a:lnTo>
                  <a:close/>
                  <a:moveTo>
                    <a:pt x="2098" y="8273"/>
                  </a:moveTo>
                  <a:cubicBezTo>
                    <a:pt x="1914" y="8273"/>
                    <a:pt x="1764" y="8130"/>
                    <a:pt x="1764" y="7953"/>
                  </a:cubicBezTo>
                  <a:cubicBezTo>
                    <a:pt x="1764" y="7777"/>
                    <a:pt x="1914" y="7633"/>
                    <a:pt x="2098" y="7633"/>
                  </a:cubicBezTo>
                  <a:cubicBezTo>
                    <a:pt x="2282" y="7633"/>
                    <a:pt x="2431" y="7777"/>
                    <a:pt x="2431" y="7953"/>
                  </a:cubicBezTo>
                  <a:cubicBezTo>
                    <a:pt x="2431" y="8130"/>
                    <a:pt x="2282" y="8273"/>
                    <a:pt x="2098" y="8273"/>
                  </a:cubicBezTo>
                  <a:close/>
                  <a:moveTo>
                    <a:pt x="4186" y="8397"/>
                  </a:moveTo>
                  <a:cubicBezTo>
                    <a:pt x="4178" y="8397"/>
                    <a:pt x="4171" y="8390"/>
                    <a:pt x="4171" y="8382"/>
                  </a:cubicBezTo>
                  <a:cubicBezTo>
                    <a:pt x="4171" y="8126"/>
                    <a:pt x="3482" y="7889"/>
                    <a:pt x="3107" y="7846"/>
                  </a:cubicBezTo>
                  <a:lnTo>
                    <a:pt x="3098" y="7845"/>
                  </a:lnTo>
                  <a:lnTo>
                    <a:pt x="3011" y="7554"/>
                  </a:lnTo>
                  <a:lnTo>
                    <a:pt x="2746" y="7554"/>
                  </a:lnTo>
                  <a:lnTo>
                    <a:pt x="2742" y="7547"/>
                  </a:lnTo>
                  <a:cubicBezTo>
                    <a:pt x="2740" y="7543"/>
                    <a:pt x="2521" y="7184"/>
                    <a:pt x="2100" y="7184"/>
                  </a:cubicBezTo>
                  <a:cubicBezTo>
                    <a:pt x="1680" y="7184"/>
                    <a:pt x="1461" y="7543"/>
                    <a:pt x="1459" y="7547"/>
                  </a:cubicBezTo>
                  <a:lnTo>
                    <a:pt x="1455" y="7554"/>
                  </a:lnTo>
                  <a:lnTo>
                    <a:pt x="1189" y="7554"/>
                  </a:lnTo>
                  <a:lnTo>
                    <a:pt x="1103" y="7845"/>
                  </a:lnTo>
                  <a:lnTo>
                    <a:pt x="1093" y="7846"/>
                  </a:lnTo>
                  <a:cubicBezTo>
                    <a:pt x="718" y="7889"/>
                    <a:pt x="29" y="8126"/>
                    <a:pt x="29" y="8382"/>
                  </a:cubicBezTo>
                  <a:cubicBezTo>
                    <a:pt x="29" y="8390"/>
                    <a:pt x="23" y="8397"/>
                    <a:pt x="15" y="8397"/>
                  </a:cubicBezTo>
                  <a:cubicBezTo>
                    <a:pt x="7" y="8397"/>
                    <a:pt x="0" y="8390"/>
                    <a:pt x="0" y="8382"/>
                  </a:cubicBezTo>
                  <a:cubicBezTo>
                    <a:pt x="0" y="8101"/>
                    <a:pt x="708" y="7864"/>
                    <a:pt x="1081" y="7818"/>
                  </a:cubicBezTo>
                  <a:lnTo>
                    <a:pt x="1168" y="7525"/>
                  </a:lnTo>
                  <a:lnTo>
                    <a:pt x="1438" y="7525"/>
                  </a:lnTo>
                  <a:cubicBezTo>
                    <a:pt x="1472" y="7473"/>
                    <a:pt x="1697" y="7155"/>
                    <a:pt x="2100" y="7155"/>
                  </a:cubicBezTo>
                  <a:cubicBezTo>
                    <a:pt x="2504" y="7155"/>
                    <a:pt x="2728" y="7473"/>
                    <a:pt x="2762" y="7525"/>
                  </a:cubicBezTo>
                  <a:lnTo>
                    <a:pt x="3033" y="7525"/>
                  </a:lnTo>
                  <a:lnTo>
                    <a:pt x="3120" y="7818"/>
                  </a:lnTo>
                  <a:cubicBezTo>
                    <a:pt x="3493" y="7864"/>
                    <a:pt x="4200" y="8101"/>
                    <a:pt x="4200" y="8382"/>
                  </a:cubicBezTo>
                  <a:cubicBezTo>
                    <a:pt x="4200" y="8390"/>
                    <a:pt x="4194" y="8397"/>
                    <a:pt x="4186" y="8397"/>
                  </a:cubicBezTo>
                  <a:close/>
                  <a:moveTo>
                    <a:pt x="2102" y="7376"/>
                  </a:moveTo>
                  <a:cubicBezTo>
                    <a:pt x="1765" y="7376"/>
                    <a:pt x="1491" y="7637"/>
                    <a:pt x="1491" y="7958"/>
                  </a:cubicBezTo>
                  <a:cubicBezTo>
                    <a:pt x="1491" y="8279"/>
                    <a:pt x="1765" y="8540"/>
                    <a:pt x="2102" y="8540"/>
                  </a:cubicBezTo>
                  <a:cubicBezTo>
                    <a:pt x="2439" y="8540"/>
                    <a:pt x="2713" y="8279"/>
                    <a:pt x="2713" y="7958"/>
                  </a:cubicBezTo>
                  <a:cubicBezTo>
                    <a:pt x="2713" y="7904"/>
                    <a:pt x="2705" y="7852"/>
                    <a:pt x="2691" y="7802"/>
                  </a:cubicBezTo>
                  <a:cubicBezTo>
                    <a:pt x="2689" y="7800"/>
                    <a:pt x="2689" y="7797"/>
                    <a:pt x="2689" y="7794"/>
                  </a:cubicBezTo>
                  <a:cubicBezTo>
                    <a:pt x="2614" y="7553"/>
                    <a:pt x="2379" y="7376"/>
                    <a:pt x="2102" y="7376"/>
                  </a:cubicBezTo>
                  <a:close/>
                  <a:moveTo>
                    <a:pt x="2102" y="8540"/>
                  </a:moveTo>
                  <a:lnTo>
                    <a:pt x="2102" y="8540"/>
                  </a:lnTo>
                  <a:close/>
                  <a:moveTo>
                    <a:pt x="3276" y="9072"/>
                  </a:moveTo>
                  <a:cubicBezTo>
                    <a:pt x="3272" y="9072"/>
                    <a:pt x="3268" y="9070"/>
                    <a:pt x="3265" y="9067"/>
                  </a:cubicBezTo>
                  <a:cubicBezTo>
                    <a:pt x="2916" y="8716"/>
                    <a:pt x="2835" y="8054"/>
                    <a:pt x="2831" y="7809"/>
                  </a:cubicBezTo>
                  <a:lnTo>
                    <a:pt x="2723" y="7809"/>
                  </a:lnTo>
                  <a:cubicBezTo>
                    <a:pt x="2735" y="7856"/>
                    <a:pt x="2742" y="7906"/>
                    <a:pt x="2742" y="7958"/>
                  </a:cubicBezTo>
                  <a:cubicBezTo>
                    <a:pt x="2742" y="8295"/>
                    <a:pt x="2455" y="8569"/>
                    <a:pt x="2102" y="8569"/>
                  </a:cubicBezTo>
                  <a:cubicBezTo>
                    <a:pt x="1749" y="8569"/>
                    <a:pt x="1462" y="8295"/>
                    <a:pt x="1462" y="7958"/>
                  </a:cubicBezTo>
                  <a:cubicBezTo>
                    <a:pt x="1462" y="7904"/>
                    <a:pt x="1469" y="7853"/>
                    <a:pt x="1482" y="7803"/>
                  </a:cubicBezTo>
                  <a:lnTo>
                    <a:pt x="1368" y="7803"/>
                  </a:lnTo>
                  <a:cubicBezTo>
                    <a:pt x="1365" y="8050"/>
                    <a:pt x="1283" y="8714"/>
                    <a:pt x="934" y="9067"/>
                  </a:cubicBezTo>
                  <a:cubicBezTo>
                    <a:pt x="928" y="9073"/>
                    <a:pt x="919" y="9073"/>
                    <a:pt x="913" y="9067"/>
                  </a:cubicBezTo>
                  <a:cubicBezTo>
                    <a:pt x="907" y="9062"/>
                    <a:pt x="907" y="9053"/>
                    <a:pt x="913" y="9047"/>
                  </a:cubicBezTo>
                  <a:cubicBezTo>
                    <a:pt x="1165" y="8793"/>
                    <a:pt x="1275" y="8372"/>
                    <a:pt x="1317" y="8070"/>
                  </a:cubicBezTo>
                  <a:cubicBezTo>
                    <a:pt x="1236" y="8379"/>
                    <a:pt x="1018" y="8577"/>
                    <a:pt x="721" y="8763"/>
                  </a:cubicBezTo>
                  <a:cubicBezTo>
                    <a:pt x="715" y="8768"/>
                    <a:pt x="706" y="8766"/>
                    <a:pt x="701" y="8759"/>
                  </a:cubicBezTo>
                  <a:cubicBezTo>
                    <a:pt x="697" y="8752"/>
                    <a:pt x="699" y="8743"/>
                    <a:pt x="706" y="8739"/>
                  </a:cubicBezTo>
                  <a:cubicBezTo>
                    <a:pt x="1016" y="8544"/>
                    <a:pt x="1239" y="8337"/>
                    <a:pt x="1303" y="7999"/>
                  </a:cubicBezTo>
                  <a:cubicBezTo>
                    <a:pt x="762" y="8106"/>
                    <a:pt x="194" y="8255"/>
                    <a:pt x="194" y="8642"/>
                  </a:cubicBezTo>
                  <a:cubicBezTo>
                    <a:pt x="194" y="8650"/>
                    <a:pt x="187" y="8657"/>
                    <a:pt x="179" y="8657"/>
                  </a:cubicBezTo>
                  <a:cubicBezTo>
                    <a:pt x="171" y="8657"/>
                    <a:pt x="165" y="8650"/>
                    <a:pt x="165" y="8642"/>
                  </a:cubicBezTo>
                  <a:cubicBezTo>
                    <a:pt x="165" y="8231"/>
                    <a:pt x="753" y="8078"/>
                    <a:pt x="1308" y="7969"/>
                  </a:cubicBezTo>
                  <a:cubicBezTo>
                    <a:pt x="1317" y="7912"/>
                    <a:pt x="1321" y="7853"/>
                    <a:pt x="1321" y="7789"/>
                  </a:cubicBezTo>
                  <a:lnTo>
                    <a:pt x="1321" y="7775"/>
                  </a:lnTo>
                  <a:lnTo>
                    <a:pt x="1491" y="7775"/>
                  </a:lnTo>
                  <a:cubicBezTo>
                    <a:pt x="1573" y="7527"/>
                    <a:pt x="1816" y="7347"/>
                    <a:pt x="2102" y="7347"/>
                  </a:cubicBezTo>
                  <a:cubicBezTo>
                    <a:pt x="2390" y="7347"/>
                    <a:pt x="2634" y="7530"/>
                    <a:pt x="2714" y="7780"/>
                  </a:cubicBezTo>
                  <a:lnTo>
                    <a:pt x="2878" y="7780"/>
                  </a:lnTo>
                  <a:lnTo>
                    <a:pt x="2878" y="7794"/>
                  </a:lnTo>
                  <a:cubicBezTo>
                    <a:pt x="2878" y="7857"/>
                    <a:pt x="2882" y="7916"/>
                    <a:pt x="2891" y="7972"/>
                  </a:cubicBezTo>
                  <a:cubicBezTo>
                    <a:pt x="3446" y="8081"/>
                    <a:pt x="4036" y="8232"/>
                    <a:pt x="4036" y="8642"/>
                  </a:cubicBezTo>
                  <a:cubicBezTo>
                    <a:pt x="4036" y="8650"/>
                    <a:pt x="4029" y="8656"/>
                    <a:pt x="4021" y="8656"/>
                  </a:cubicBezTo>
                  <a:cubicBezTo>
                    <a:pt x="4013" y="8656"/>
                    <a:pt x="4007" y="8650"/>
                    <a:pt x="4007" y="8642"/>
                  </a:cubicBezTo>
                  <a:cubicBezTo>
                    <a:pt x="4007" y="8256"/>
                    <a:pt x="3436" y="8109"/>
                    <a:pt x="2896" y="8002"/>
                  </a:cubicBezTo>
                  <a:cubicBezTo>
                    <a:pt x="2960" y="8339"/>
                    <a:pt x="3183" y="8546"/>
                    <a:pt x="3493" y="8740"/>
                  </a:cubicBezTo>
                  <a:cubicBezTo>
                    <a:pt x="3500" y="8744"/>
                    <a:pt x="3502" y="8753"/>
                    <a:pt x="3498" y="8760"/>
                  </a:cubicBezTo>
                  <a:cubicBezTo>
                    <a:pt x="3493" y="8767"/>
                    <a:pt x="3484" y="8769"/>
                    <a:pt x="3478" y="8765"/>
                  </a:cubicBezTo>
                  <a:cubicBezTo>
                    <a:pt x="3181" y="8579"/>
                    <a:pt x="2963" y="8382"/>
                    <a:pt x="2883" y="8074"/>
                  </a:cubicBezTo>
                  <a:cubicBezTo>
                    <a:pt x="2924" y="8375"/>
                    <a:pt x="3035" y="8794"/>
                    <a:pt x="3286" y="9047"/>
                  </a:cubicBezTo>
                  <a:cubicBezTo>
                    <a:pt x="3291" y="9053"/>
                    <a:pt x="3291" y="9062"/>
                    <a:pt x="3286" y="9067"/>
                  </a:cubicBezTo>
                  <a:cubicBezTo>
                    <a:pt x="3283" y="9070"/>
                    <a:pt x="3279" y="9072"/>
                    <a:pt x="3276" y="9072"/>
                  </a:cubicBez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0"/>
            </a:p>
          </p:txBody>
        </p:sp>
      </p:grpSp>
    </p:spTree>
    <p:extLst>
      <p:ext uri="{BB962C8B-B14F-4D97-AF65-F5344CB8AC3E}">
        <p14:creationId xmlns:p14="http://schemas.microsoft.com/office/powerpoint/2010/main" val="2988372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20" userDrawn="1">
          <p15:clr>
            <a:srgbClr val="FBAE40"/>
          </p15:clr>
        </p15:guide>
        <p15:guide id="2" orient="horz" pos="2024" userDrawn="1">
          <p15:clr>
            <a:srgbClr val="FBAE40"/>
          </p15:clr>
        </p15:guide>
        <p15:guide id="3" pos="404" userDrawn="1">
          <p15:clr>
            <a:srgbClr val="FBAE40"/>
          </p15:clr>
        </p15:guide>
        <p15:guide id="4" pos="1326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hell mit Typoec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Vertikaler Textplatzhalter 2"/>
          <p:cNvSpPr>
            <a:spLocks noGrp="1"/>
          </p:cNvSpPr>
          <p:nvPr>
            <p:ph type="body" orient="vert" idx="17" hasCustomPrompt="1"/>
          </p:nvPr>
        </p:nvSpPr>
        <p:spPr>
          <a:xfrm>
            <a:off x="5214570" y="6080400"/>
            <a:ext cx="3416441" cy="468000"/>
          </a:xfrm>
        </p:spPr>
        <p:txBody>
          <a:bodyPr vert="horz" anchor="b" anchorCtr="0"/>
          <a:lstStyle>
            <a:lvl1pPr marL="0" indent="0" algn="r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674" b="0"/>
            </a:lvl1pPr>
            <a:lvl2pPr marL="0" indent="0" algn="r">
              <a:lnSpc>
                <a:spcPct val="110000"/>
              </a:lnSpc>
              <a:spcBef>
                <a:spcPts val="0"/>
              </a:spcBef>
              <a:buNone/>
              <a:defRPr sz="674" b="0"/>
            </a:lvl2pPr>
            <a:lvl3pPr marL="0" indent="0" algn="r">
              <a:lnSpc>
                <a:spcPct val="110000"/>
              </a:lnSpc>
              <a:spcBef>
                <a:spcPts val="0"/>
              </a:spcBef>
              <a:buNone/>
              <a:defRPr sz="674" b="0"/>
            </a:lvl3pPr>
            <a:lvl4pPr marL="0" indent="0" algn="r">
              <a:lnSpc>
                <a:spcPct val="110000"/>
              </a:lnSpc>
              <a:spcBef>
                <a:spcPts val="0"/>
              </a:spcBef>
              <a:buNone/>
              <a:defRPr sz="674" b="0"/>
            </a:lvl4pPr>
            <a:lvl5pPr marL="0" indent="0" algn="r">
              <a:lnSpc>
                <a:spcPct val="110000"/>
              </a:lnSpc>
              <a:spcBef>
                <a:spcPts val="0"/>
              </a:spcBef>
              <a:buNone/>
              <a:defRPr sz="674" b="0"/>
            </a:lvl5pPr>
            <a:lvl6pPr marL="0" indent="0" algn="r">
              <a:lnSpc>
                <a:spcPct val="110000"/>
              </a:lnSpc>
              <a:spcBef>
                <a:spcPts val="0"/>
              </a:spcBef>
              <a:buNone/>
              <a:defRPr sz="674" b="0"/>
            </a:lvl6pPr>
            <a:lvl7pPr marL="0" indent="0" algn="r">
              <a:lnSpc>
                <a:spcPct val="110000"/>
              </a:lnSpc>
              <a:spcBef>
                <a:spcPts val="0"/>
              </a:spcBef>
              <a:buNone/>
              <a:defRPr sz="674" b="0"/>
            </a:lvl7pPr>
            <a:lvl8pPr marL="0" indent="0" algn="r">
              <a:lnSpc>
                <a:spcPct val="110000"/>
              </a:lnSpc>
              <a:spcBef>
                <a:spcPts val="0"/>
              </a:spcBef>
              <a:buNone/>
              <a:defRPr sz="674" b="0"/>
            </a:lvl8pPr>
            <a:lvl9pPr marL="0" indent="0" algn="r">
              <a:lnSpc>
                <a:spcPct val="110000"/>
              </a:lnSpc>
              <a:spcBef>
                <a:spcPts val="0"/>
              </a:spcBef>
              <a:buNone/>
              <a:defRPr sz="674" b="0"/>
            </a:lvl9pPr>
          </a:lstStyle>
          <a:p>
            <a:pPr lvl="0"/>
            <a:r>
              <a:rPr lang="de-DE" dirty="0"/>
              <a:t>Freiraum für Sekundärlogo(s) / Name </a:t>
            </a:r>
            <a:br>
              <a:rPr lang="de-DE" dirty="0"/>
            </a:br>
            <a:r>
              <a:rPr lang="de-DE" dirty="0"/>
              <a:t>des Fachbereichs, Instituts oder SFBs</a:t>
            </a:r>
          </a:p>
        </p:txBody>
      </p:sp>
      <p:grpSp>
        <p:nvGrpSpPr>
          <p:cNvPr id="25" name="Regieanweisungen"/>
          <p:cNvGrpSpPr/>
          <p:nvPr userDrawn="1"/>
        </p:nvGrpSpPr>
        <p:grpSpPr>
          <a:xfrm>
            <a:off x="-2050600" y="-468000"/>
            <a:ext cx="14709415" cy="7776000"/>
            <a:chOff x="-2052737" y="-468000"/>
            <a:chExt cx="14724737" cy="7776000"/>
          </a:xfrm>
        </p:grpSpPr>
        <p:sp>
          <p:nvSpPr>
            <p:cNvPr id="26" name="Hilfslinien"/>
            <p:cNvSpPr txBox="1"/>
            <p:nvPr userDrawn="1"/>
          </p:nvSpPr>
          <p:spPr>
            <a:xfrm rot="10800000" flipH="1" flipV="1">
              <a:off x="360000" y="-468000"/>
              <a:ext cx="11484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77421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506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  <a:r>
                <a:rPr kumimoji="0" lang="de-DE" sz="506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Haken bei Führungslinien setzen</a:t>
              </a:r>
            </a:p>
          </p:txBody>
        </p:sp>
        <p:cxnSp>
          <p:nvCxnSpPr>
            <p:cNvPr id="27" name="Linie"/>
            <p:cNvCxnSpPr/>
            <p:nvPr userDrawn="1"/>
          </p:nvCxnSpPr>
          <p:spPr>
            <a:xfrm>
              <a:off x="11844000" y="-46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Linie"/>
            <p:cNvCxnSpPr/>
            <p:nvPr userDrawn="1"/>
          </p:nvCxnSpPr>
          <p:spPr>
            <a:xfrm>
              <a:off x="360000" y="-46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Linie"/>
            <p:cNvCxnSpPr/>
            <p:nvPr userDrawn="1"/>
          </p:nvCxnSpPr>
          <p:spPr>
            <a:xfrm>
              <a:off x="11844000" y="694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Linie"/>
            <p:cNvCxnSpPr/>
            <p:nvPr userDrawn="1"/>
          </p:nvCxnSpPr>
          <p:spPr>
            <a:xfrm>
              <a:off x="360000" y="694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Zurücksetzen"/>
            <p:cNvSpPr txBox="1"/>
            <p:nvPr userDrawn="1"/>
          </p:nvSpPr>
          <p:spPr>
            <a:xfrm rot="10800000" flipH="1" flipV="1">
              <a:off x="-2052737" y="648000"/>
              <a:ext cx="1944737" cy="54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506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506" b="0" baseline="0" dirty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506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32" name="Layoutwechsel"/>
            <p:cNvSpPr txBox="1"/>
            <p:nvPr userDrawn="1"/>
          </p:nvSpPr>
          <p:spPr>
            <a:xfrm rot="10800000" flipH="1" flipV="1">
              <a:off x="-2052737" y="1"/>
              <a:ext cx="1944737" cy="54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506" b="0" baseline="0" dirty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506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506" b="0" baseline="0" dirty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r" defTabSz="678722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506" b="1" baseline="0" dirty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cxnSp>
          <p:nvCxnSpPr>
            <p:cNvPr id="33" name="Linie"/>
            <p:cNvCxnSpPr/>
            <p:nvPr userDrawn="1"/>
          </p:nvCxnSpPr>
          <p:spPr>
            <a:xfrm>
              <a:off x="12312000" y="2284414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Linie"/>
            <p:cNvCxnSpPr/>
            <p:nvPr userDrawn="1"/>
          </p:nvCxnSpPr>
          <p:spPr>
            <a:xfrm>
              <a:off x="12312000" y="5742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Linie"/>
            <p:cNvCxnSpPr/>
            <p:nvPr userDrawn="1"/>
          </p:nvCxnSpPr>
          <p:spPr>
            <a:xfrm>
              <a:off x="-467999" y="2284414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Linie"/>
            <p:cNvCxnSpPr/>
            <p:nvPr userDrawn="1"/>
          </p:nvCxnSpPr>
          <p:spPr>
            <a:xfrm>
              <a:off x="-468000" y="5742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Linie"/>
            <p:cNvCxnSpPr/>
            <p:nvPr userDrawn="1"/>
          </p:nvCxnSpPr>
          <p:spPr>
            <a:xfrm>
              <a:off x="-467999" y="1440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Linie"/>
            <p:cNvCxnSpPr/>
            <p:nvPr userDrawn="1"/>
          </p:nvCxnSpPr>
          <p:spPr>
            <a:xfrm>
              <a:off x="12312000" y="1438599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1" name="Datumsplatzhalter 3"/>
          <p:cNvSpPr>
            <a:spLocks noGrp="1"/>
          </p:cNvSpPr>
          <p:nvPr>
            <p:ph type="dt" sz="half" idx="14"/>
          </p:nvPr>
        </p:nvSpPr>
        <p:spPr>
          <a:xfrm>
            <a:off x="3596255" y="-720000"/>
            <a:ext cx="8235421" cy="360000"/>
          </a:xfrm>
          <a:prstGeom prst="rect">
            <a:avLst/>
          </a:prstGeom>
        </p:spPr>
        <p:txBody>
          <a:bodyPr/>
          <a:lstStyle/>
          <a:p>
            <a:fld id="{8C7D0C03-51A4-488B-8EB0-0ED623FA463B}" type="datetime1">
              <a:rPr lang="de-DE" smtClean="0"/>
              <a:t>16.04.25</a:t>
            </a:fld>
            <a:endParaRPr lang="de-DE" dirty="0"/>
          </a:p>
        </p:txBody>
      </p:sp>
      <p:sp>
        <p:nvSpPr>
          <p:cNvPr id="52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9625" y="7020000"/>
            <a:ext cx="8271384" cy="360000"/>
          </a:xfrm>
        </p:spPr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5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004537" y="7020000"/>
            <a:ext cx="827139" cy="360000"/>
          </a:xfrm>
        </p:spPr>
        <p:txBody>
          <a:bodyPr/>
          <a:lstStyle/>
          <a:p>
            <a:fld id="{6C8FC03C-C266-4645-ABC5-645062898383}" type="slidenum">
              <a:rPr lang="de-DE" smtClean="0"/>
              <a:pPr/>
              <a:t>‹#›</a:t>
            </a:fld>
            <a:r>
              <a:rPr lang="de-DE" dirty="0"/>
              <a:t> </a:t>
            </a:r>
            <a:endParaRPr lang="de-DE" sz="787" dirty="0"/>
          </a:p>
        </p:txBody>
      </p:sp>
      <p:sp>
        <p:nvSpPr>
          <p:cNvPr id="54" name="Titel 1"/>
          <p:cNvSpPr>
            <a:spLocks noGrp="1"/>
          </p:cNvSpPr>
          <p:nvPr>
            <p:ph type="ctrTitle" hasCustomPrompt="1"/>
          </p:nvPr>
        </p:nvSpPr>
        <p:spPr>
          <a:xfrm>
            <a:off x="359627" y="1936750"/>
            <a:ext cx="6401332" cy="1277938"/>
          </a:xfrm>
        </p:spPr>
        <p:txBody>
          <a:bodyPr anchor="t" anchorCtr="0"/>
          <a:lstStyle>
            <a:lvl1pPr marL="0" indent="0" algn="l">
              <a:lnSpc>
                <a:spcPct val="104000"/>
              </a:lnSpc>
              <a:buFont typeface="Arial" panose="020B0604020202020204" pitchFamily="34" charset="0"/>
              <a:buNone/>
              <a:defRPr sz="1798" b="1"/>
            </a:lvl1pPr>
          </a:lstStyle>
          <a:p>
            <a:r>
              <a:rPr lang="de-DE" dirty="0"/>
              <a:t>Titel der Präsentation auf zwei Zeilen einfügen</a:t>
            </a:r>
          </a:p>
        </p:txBody>
      </p:sp>
      <p:sp>
        <p:nvSpPr>
          <p:cNvPr id="56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61282" y="3214688"/>
            <a:ext cx="6401332" cy="792000"/>
          </a:xfrm>
        </p:spPr>
        <p:txBody>
          <a:bodyPr/>
          <a:lstStyle>
            <a:lvl1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899" b="0">
                <a:solidFill>
                  <a:schemeClr val="bg2"/>
                </a:solidFill>
              </a:defRPr>
            </a:lvl1pPr>
            <a:lvl2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899" b="0">
                <a:solidFill>
                  <a:schemeClr val="bg2"/>
                </a:solidFill>
              </a:defRPr>
            </a:lvl2pPr>
            <a:lvl3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899" b="0">
                <a:solidFill>
                  <a:schemeClr val="bg2"/>
                </a:solidFill>
              </a:defRPr>
            </a:lvl3pPr>
            <a:lvl4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899" b="0">
                <a:solidFill>
                  <a:schemeClr val="bg2"/>
                </a:solidFill>
              </a:defRPr>
            </a:lvl4pPr>
            <a:lvl5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899" b="0">
                <a:solidFill>
                  <a:schemeClr val="bg2"/>
                </a:solidFill>
              </a:defRPr>
            </a:lvl5pPr>
            <a:lvl6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899" b="0">
                <a:solidFill>
                  <a:schemeClr val="bg2"/>
                </a:solidFill>
              </a:defRPr>
            </a:lvl6pPr>
            <a:lvl7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899" b="0">
                <a:solidFill>
                  <a:schemeClr val="bg2"/>
                </a:solidFill>
              </a:defRPr>
            </a:lvl7pPr>
            <a:lvl8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899" b="0">
                <a:solidFill>
                  <a:schemeClr val="bg2"/>
                </a:solidFill>
              </a:defRPr>
            </a:lvl8pPr>
            <a:lvl9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899" b="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Untertitel bzw. Kurzbeschreibung der Präsentation</a:t>
            </a:r>
            <a:br>
              <a:rPr lang="de-DE" dirty="0"/>
            </a:br>
            <a:r>
              <a:rPr lang="de-DE" dirty="0"/>
              <a:t>Name: der Referentin / des Referenten</a:t>
            </a:r>
          </a:p>
        </p:txBody>
      </p:sp>
      <p:sp>
        <p:nvSpPr>
          <p:cNvPr id="60" name="Logo"/>
          <p:cNvSpPr>
            <a:spLocks noChangeAspect="1" noEditPoints="1"/>
          </p:cNvSpPr>
          <p:nvPr userDrawn="1"/>
        </p:nvSpPr>
        <p:spPr bwMode="auto">
          <a:xfrm>
            <a:off x="359627" y="304199"/>
            <a:ext cx="2697191" cy="779760"/>
          </a:xfrm>
          <a:custGeom>
            <a:avLst/>
            <a:gdLst>
              <a:gd name="T0" fmla="*/ 6185 w 6233"/>
              <a:gd name="T1" fmla="*/ 1609 h 1800"/>
              <a:gd name="T2" fmla="*/ 6094 w 6233"/>
              <a:gd name="T3" fmla="*/ 1565 h 1800"/>
              <a:gd name="T4" fmla="*/ 6094 w 6233"/>
              <a:gd name="T5" fmla="*/ 1795 h 1800"/>
              <a:gd name="T6" fmla="*/ 6233 w 6233"/>
              <a:gd name="T7" fmla="*/ 1795 h 1800"/>
              <a:gd name="T8" fmla="*/ 6219 w 6233"/>
              <a:gd name="T9" fmla="*/ 1609 h 1800"/>
              <a:gd name="T10" fmla="*/ 5799 w 6233"/>
              <a:gd name="T11" fmla="*/ 1539 h 1800"/>
              <a:gd name="T12" fmla="*/ 5831 w 6233"/>
              <a:gd name="T13" fmla="*/ 1769 h 1800"/>
              <a:gd name="T14" fmla="*/ 5831 w 6233"/>
              <a:gd name="T15" fmla="*/ 1648 h 1800"/>
              <a:gd name="T16" fmla="*/ 5698 w 6233"/>
              <a:gd name="T17" fmla="*/ 1539 h 1800"/>
              <a:gd name="T18" fmla="*/ 5592 w 6233"/>
              <a:gd name="T19" fmla="*/ 1795 h 1800"/>
              <a:gd name="T20" fmla="*/ 5698 w 6233"/>
              <a:gd name="T21" fmla="*/ 1539 h 1800"/>
              <a:gd name="T22" fmla="*/ 5385 w 6233"/>
              <a:gd name="T23" fmla="*/ 1784 h 1800"/>
              <a:gd name="T24" fmla="*/ 5326 w 6233"/>
              <a:gd name="T25" fmla="*/ 1642 h 1800"/>
              <a:gd name="T26" fmla="*/ 5415 w 6233"/>
              <a:gd name="T27" fmla="*/ 1558 h 1800"/>
              <a:gd name="T28" fmla="*/ 5311 w 6233"/>
              <a:gd name="T29" fmla="*/ 1672 h 1800"/>
              <a:gd name="T30" fmla="*/ 5324 w 6233"/>
              <a:gd name="T31" fmla="*/ 1775 h 1800"/>
              <a:gd name="T32" fmla="*/ 4632 w 6233"/>
              <a:gd name="T33" fmla="*/ 1723 h 1800"/>
              <a:gd name="T34" fmla="*/ 4811 w 6233"/>
              <a:gd name="T35" fmla="*/ 1721 h 1800"/>
              <a:gd name="T36" fmla="*/ 4769 w 6233"/>
              <a:gd name="T37" fmla="*/ 1757 h 1800"/>
              <a:gd name="T38" fmla="*/ 4664 w 6233"/>
              <a:gd name="T39" fmla="*/ 1539 h 1800"/>
              <a:gd name="T40" fmla="*/ 4762 w 6233"/>
              <a:gd name="T41" fmla="*/ 1523 h 1800"/>
              <a:gd name="T42" fmla="*/ 4681 w 6233"/>
              <a:gd name="T43" fmla="*/ 1484 h 1800"/>
              <a:gd name="T44" fmla="*/ 4256 w 6233"/>
              <a:gd name="T45" fmla="*/ 1795 h 1800"/>
              <a:gd name="T46" fmla="*/ 4318 w 6233"/>
              <a:gd name="T47" fmla="*/ 1613 h 1800"/>
              <a:gd name="T48" fmla="*/ 4467 w 6233"/>
              <a:gd name="T49" fmla="*/ 1564 h 1800"/>
              <a:gd name="T50" fmla="*/ 4494 w 6233"/>
              <a:gd name="T51" fmla="*/ 1539 h 1800"/>
              <a:gd name="T52" fmla="*/ 4375 w 6233"/>
              <a:gd name="T53" fmla="*/ 1706 h 1800"/>
              <a:gd name="T54" fmla="*/ 0 w 6233"/>
              <a:gd name="T55" fmla="*/ 1662 h 1800"/>
              <a:gd name="T56" fmla="*/ 3798 w 6233"/>
              <a:gd name="T57" fmla="*/ 1103 h 1800"/>
              <a:gd name="T58" fmla="*/ 3798 w 6233"/>
              <a:gd name="T59" fmla="*/ 1103 h 1800"/>
              <a:gd name="T60" fmla="*/ 0 w 6233"/>
              <a:gd name="T61" fmla="*/ 727 h 1800"/>
              <a:gd name="T62" fmla="*/ 1929 w 6233"/>
              <a:gd name="T63" fmla="*/ 0 h 1800"/>
              <a:gd name="T64" fmla="*/ 2026 w 6233"/>
              <a:gd name="T65" fmla="*/ 254 h 1800"/>
              <a:gd name="T66" fmla="*/ 1685 w 6233"/>
              <a:gd name="T67" fmla="*/ 598 h 1800"/>
              <a:gd name="T68" fmla="*/ 1685 w 6233"/>
              <a:gd name="T69" fmla="*/ 598 h 1800"/>
              <a:gd name="T70" fmla="*/ 2323 w 6233"/>
              <a:gd name="T71" fmla="*/ 727 h 1800"/>
              <a:gd name="T72" fmla="*/ 4779 w 6233"/>
              <a:gd name="T73" fmla="*/ 727 h 1800"/>
              <a:gd name="T74" fmla="*/ 4609 w 6233"/>
              <a:gd name="T75" fmla="*/ 727 h 1800"/>
              <a:gd name="T76" fmla="*/ 4351 w 6233"/>
              <a:gd name="T77" fmla="*/ 973 h 1800"/>
              <a:gd name="T78" fmla="*/ 4456 w 6233"/>
              <a:gd name="T79" fmla="*/ 1356 h 1800"/>
              <a:gd name="T80" fmla="*/ 4623 w 6233"/>
              <a:gd name="T81" fmla="*/ 1356 h 1800"/>
              <a:gd name="T82" fmla="*/ 4943 w 6233"/>
              <a:gd name="T83" fmla="*/ 1795 h 1800"/>
              <a:gd name="T84" fmla="*/ 5002 w 6233"/>
              <a:gd name="T85" fmla="*/ 1638 h 1800"/>
              <a:gd name="T86" fmla="*/ 5090 w 6233"/>
              <a:gd name="T87" fmla="*/ 1539 h 1800"/>
              <a:gd name="T88" fmla="*/ 4980 w 6233"/>
              <a:gd name="T89" fmla="*/ 1539 h 1800"/>
              <a:gd name="T90" fmla="*/ 5523 w 6233"/>
              <a:gd name="T91" fmla="*/ 964 h 1800"/>
              <a:gd name="T92" fmla="*/ 5268 w 6233"/>
              <a:gd name="T93" fmla="*/ 727 h 1800"/>
              <a:gd name="T94" fmla="*/ 5093 w 6233"/>
              <a:gd name="T95" fmla="*/ 727 h 1800"/>
              <a:gd name="T96" fmla="*/ 5304 w 6233"/>
              <a:gd name="T97" fmla="*/ 1100 h 1800"/>
              <a:gd name="T98" fmla="*/ 5556 w 6233"/>
              <a:gd name="T99" fmla="*/ 1356 h 1800"/>
              <a:gd name="T100" fmla="*/ 6106 w 6233"/>
              <a:gd name="T101" fmla="*/ 1126 h 1800"/>
              <a:gd name="T102" fmla="*/ 5913 w 6233"/>
              <a:gd name="T103" fmla="*/ 1137 h 1800"/>
              <a:gd name="T104" fmla="*/ 5812 w 6233"/>
              <a:gd name="T105" fmla="*/ 1279 h 1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6233" h="1800">
                <a:moveTo>
                  <a:pt x="6094" y="1565"/>
                </a:moveTo>
                <a:lnTo>
                  <a:pt x="6125" y="1565"/>
                </a:lnTo>
                <a:cubicBezTo>
                  <a:pt x="6140" y="1565"/>
                  <a:pt x="6150" y="1567"/>
                  <a:pt x="6159" y="1570"/>
                </a:cubicBezTo>
                <a:cubicBezTo>
                  <a:pt x="6174" y="1576"/>
                  <a:pt x="6185" y="1592"/>
                  <a:pt x="6185" y="1609"/>
                </a:cubicBezTo>
                <a:cubicBezTo>
                  <a:pt x="6185" y="1626"/>
                  <a:pt x="6181" y="1639"/>
                  <a:pt x="6172" y="1647"/>
                </a:cubicBezTo>
                <a:cubicBezTo>
                  <a:pt x="6161" y="1656"/>
                  <a:pt x="6147" y="1660"/>
                  <a:pt x="6123" y="1660"/>
                </a:cubicBezTo>
                <a:lnTo>
                  <a:pt x="6094" y="1660"/>
                </a:lnTo>
                <a:lnTo>
                  <a:pt x="6094" y="1565"/>
                </a:lnTo>
                <a:close/>
                <a:moveTo>
                  <a:pt x="6124" y="1539"/>
                </a:moveTo>
                <a:lnTo>
                  <a:pt x="6062" y="1539"/>
                </a:lnTo>
                <a:lnTo>
                  <a:pt x="6062" y="1795"/>
                </a:lnTo>
                <a:lnTo>
                  <a:pt x="6094" y="1795"/>
                </a:lnTo>
                <a:lnTo>
                  <a:pt x="6094" y="1679"/>
                </a:lnTo>
                <a:cubicBezTo>
                  <a:pt x="6107" y="1680"/>
                  <a:pt x="6113" y="1683"/>
                  <a:pt x="6124" y="1696"/>
                </a:cubicBezTo>
                <a:cubicBezTo>
                  <a:pt x="6159" y="1739"/>
                  <a:pt x="6185" y="1778"/>
                  <a:pt x="6193" y="1795"/>
                </a:cubicBezTo>
                <a:lnTo>
                  <a:pt x="6233" y="1795"/>
                </a:lnTo>
                <a:cubicBezTo>
                  <a:pt x="6233" y="1795"/>
                  <a:pt x="6182" y="1723"/>
                  <a:pt x="6171" y="1708"/>
                </a:cubicBezTo>
                <a:cubicBezTo>
                  <a:pt x="6165" y="1701"/>
                  <a:pt x="6156" y="1689"/>
                  <a:pt x="6144" y="1679"/>
                </a:cubicBezTo>
                <a:lnTo>
                  <a:pt x="6148" y="1679"/>
                </a:lnTo>
                <a:cubicBezTo>
                  <a:pt x="6191" y="1679"/>
                  <a:pt x="6219" y="1651"/>
                  <a:pt x="6219" y="1609"/>
                </a:cubicBezTo>
                <a:cubicBezTo>
                  <a:pt x="6219" y="1582"/>
                  <a:pt x="6205" y="1565"/>
                  <a:pt x="6193" y="1555"/>
                </a:cubicBezTo>
                <a:cubicBezTo>
                  <a:pt x="6180" y="1545"/>
                  <a:pt x="6161" y="1539"/>
                  <a:pt x="6124" y="1539"/>
                </a:cubicBezTo>
                <a:close/>
                <a:moveTo>
                  <a:pt x="5946" y="1539"/>
                </a:moveTo>
                <a:lnTo>
                  <a:pt x="5799" y="1539"/>
                </a:lnTo>
                <a:lnTo>
                  <a:pt x="5799" y="1795"/>
                </a:lnTo>
                <a:lnTo>
                  <a:pt x="5950" y="1795"/>
                </a:lnTo>
                <a:lnTo>
                  <a:pt x="5950" y="1769"/>
                </a:lnTo>
                <a:lnTo>
                  <a:pt x="5831" y="1769"/>
                </a:lnTo>
                <a:lnTo>
                  <a:pt x="5831" y="1675"/>
                </a:lnTo>
                <a:lnTo>
                  <a:pt x="5924" y="1675"/>
                </a:lnTo>
                <a:lnTo>
                  <a:pt x="5924" y="1648"/>
                </a:lnTo>
                <a:lnTo>
                  <a:pt x="5831" y="1648"/>
                </a:lnTo>
                <a:lnTo>
                  <a:pt x="5831" y="1564"/>
                </a:lnTo>
                <a:lnTo>
                  <a:pt x="5942" y="1564"/>
                </a:lnTo>
                <a:lnTo>
                  <a:pt x="5946" y="1539"/>
                </a:lnTo>
                <a:close/>
                <a:moveTo>
                  <a:pt x="5698" y="1539"/>
                </a:moveTo>
                <a:lnTo>
                  <a:pt x="5519" y="1539"/>
                </a:lnTo>
                <a:lnTo>
                  <a:pt x="5519" y="1565"/>
                </a:lnTo>
                <a:lnTo>
                  <a:pt x="5592" y="1565"/>
                </a:lnTo>
                <a:lnTo>
                  <a:pt x="5592" y="1795"/>
                </a:lnTo>
                <a:lnTo>
                  <a:pt x="5623" y="1795"/>
                </a:lnTo>
                <a:lnTo>
                  <a:pt x="5623" y="1565"/>
                </a:lnTo>
                <a:lnTo>
                  <a:pt x="5696" y="1565"/>
                </a:lnTo>
                <a:lnTo>
                  <a:pt x="5698" y="1539"/>
                </a:lnTo>
                <a:close/>
                <a:moveTo>
                  <a:pt x="5252" y="1753"/>
                </a:moveTo>
                <a:lnTo>
                  <a:pt x="5238" y="1777"/>
                </a:lnTo>
                <a:cubicBezTo>
                  <a:pt x="5264" y="1793"/>
                  <a:pt x="5292" y="1800"/>
                  <a:pt x="5324" y="1800"/>
                </a:cubicBezTo>
                <a:cubicBezTo>
                  <a:pt x="5349" y="1800"/>
                  <a:pt x="5367" y="1795"/>
                  <a:pt x="5385" y="1784"/>
                </a:cubicBezTo>
                <a:cubicBezTo>
                  <a:pt x="5409" y="1770"/>
                  <a:pt x="5422" y="1747"/>
                  <a:pt x="5422" y="1723"/>
                </a:cubicBezTo>
                <a:cubicBezTo>
                  <a:pt x="5422" y="1707"/>
                  <a:pt x="5415" y="1689"/>
                  <a:pt x="5404" y="1678"/>
                </a:cubicBezTo>
                <a:cubicBezTo>
                  <a:pt x="5393" y="1666"/>
                  <a:pt x="5381" y="1659"/>
                  <a:pt x="5357" y="1652"/>
                </a:cubicBezTo>
                <a:lnTo>
                  <a:pt x="5326" y="1642"/>
                </a:lnTo>
                <a:cubicBezTo>
                  <a:pt x="5294" y="1633"/>
                  <a:pt x="5281" y="1621"/>
                  <a:pt x="5281" y="1601"/>
                </a:cubicBezTo>
                <a:cubicBezTo>
                  <a:pt x="5281" y="1574"/>
                  <a:pt x="5301" y="1558"/>
                  <a:pt x="5335" y="1558"/>
                </a:cubicBezTo>
                <a:cubicBezTo>
                  <a:pt x="5358" y="1558"/>
                  <a:pt x="5375" y="1564"/>
                  <a:pt x="5400" y="1580"/>
                </a:cubicBezTo>
                <a:lnTo>
                  <a:pt x="5415" y="1558"/>
                </a:lnTo>
                <a:cubicBezTo>
                  <a:pt x="5389" y="1542"/>
                  <a:pt x="5362" y="1533"/>
                  <a:pt x="5333" y="1533"/>
                </a:cubicBezTo>
                <a:cubicBezTo>
                  <a:pt x="5281" y="1533"/>
                  <a:pt x="5246" y="1563"/>
                  <a:pt x="5246" y="1607"/>
                </a:cubicBezTo>
                <a:cubicBezTo>
                  <a:pt x="5246" y="1623"/>
                  <a:pt x="5252" y="1638"/>
                  <a:pt x="5263" y="1649"/>
                </a:cubicBezTo>
                <a:cubicBezTo>
                  <a:pt x="5274" y="1659"/>
                  <a:pt x="5286" y="1664"/>
                  <a:pt x="5311" y="1672"/>
                </a:cubicBezTo>
                <a:lnTo>
                  <a:pt x="5338" y="1679"/>
                </a:lnTo>
                <a:cubicBezTo>
                  <a:pt x="5371" y="1689"/>
                  <a:pt x="5386" y="1704"/>
                  <a:pt x="5386" y="1727"/>
                </a:cubicBezTo>
                <a:cubicBezTo>
                  <a:pt x="5386" y="1742"/>
                  <a:pt x="5380" y="1754"/>
                  <a:pt x="5367" y="1764"/>
                </a:cubicBezTo>
                <a:cubicBezTo>
                  <a:pt x="5356" y="1772"/>
                  <a:pt x="5345" y="1775"/>
                  <a:pt x="5324" y="1775"/>
                </a:cubicBezTo>
                <a:cubicBezTo>
                  <a:pt x="5297" y="1775"/>
                  <a:pt x="5274" y="1768"/>
                  <a:pt x="5252" y="1753"/>
                </a:cubicBezTo>
                <a:close/>
                <a:moveTo>
                  <a:pt x="4664" y="1539"/>
                </a:moveTo>
                <a:lnTo>
                  <a:pt x="4632" y="1539"/>
                </a:lnTo>
                <a:lnTo>
                  <a:pt x="4632" y="1723"/>
                </a:lnTo>
                <a:cubicBezTo>
                  <a:pt x="4632" y="1734"/>
                  <a:pt x="4633" y="1750"/>
                  <a:pt x="4640" y="1763"/>
                </a:cubicBezTo>
                <a:cubicBezTo>
                  <a:pt x="4655" y="1788"/>
                  <a:pt x="4678" y="1800"/>
                  <a:pt x="4720" y="1800"/>
                </a:cubicBezTo>
                <a:cubicBezTo>
                  <a:pt x="4753" y="1800"/>
                  <a:pt x="4774" y="1793"/>
                  <a:pt x="4791" y="1780"/>
                </a:cubicBezTo>
                <a:cubicBezTo>
                  <a:pt x="4807" y="1767"/>
                  <a:pt x="4811" y="1752"/>
                  <a:pt x="4811" y="1721"/>
                </a:cubicBezTo>
                <a:lnTo>
                  <a:pt x="4811" y="1539"/>
                </a:lnTo>
                <a:lnTo>
                  <a:pt x="4779" y="1539"/>
                </a:lnTo>
                <a:lnTo>
                  <a:pt x="4779" y="1717"/>
                </a:lnTo>
                <a:cubicBezTo>
                  <a:pt x="4779" y="1735"/>
                  <a:pt x="4778" y="1746"/>
                  <a:pt x="4769" y="1757"/>
                </a:cubicBezTo>
                <a:cubicBezTo>
                  <a:pt x="4761" y="1768"/>
                  <a:pt x="4744" y="1774"/>
                  <a:pt x="4722" y="1774"/>
                </a:cubicBezTo>
                <a:cubicBezTo>
                  <a:pt x="4689" y="1774"/>
                  <a:pt x="4674" y="1760"/>
                  <a:pt x="4669" y="1749"/>
                </a:cubicBezTo>
                <a:cubicBezTo>
                  <a:pt x="4665" y="1741"/>
                  <a:pt x="4664" y="1724"/>
                  <a:pt x="4664" y="1712"/>
                </a:cubicBezTo>
                <a:lnTo>
                  <a:pt x="4664" y="1539"/>
                </a:lnTo>
                <a:close/>
                <a:moveTo>
                  <a:pt x="4782" y="1503"/>
                </a:moveTo>
                <a:cubicBezTo>
                  <a:pt x="4782" y="1493"/>
                  <a:pt x="4773" y="1484"/>
                  <a:pt x="4762" y="1484"/>
                </a:cubicBezTo>
                <a:cubicBezTo>
                  <a:pt x="4751" y="1484"/>
                  <a:pt x="4742" y="1493"/>
                  <a:pt x="4742" y="1503"/>
                </a:cubicBezTo>
                <a:cubicBezTo>
                  <a:pt x="4742" y="1514"/>
                  <a:pt x="4751" y="1523"/>
                  <a:pt x="4762" y="1523"/>
                </a:cubicBezTo>
                <a:cubicBezTo>
                  <a:pt x="4774" y="1523"/>
                  <a:pt x="4782" y="1514"/>
                  <a:pt x="4782" y="1503"/>
                </a:cubicBezTo>
                <a:close/>
                <a:moveTo>
                  <a:pt x="4681" y="1523"/>
                </a:moveTo>
                <a:cubicBezTo>
                  <a:pt x="4693" y="1523"/>
                  <a:pt x="4701" y="1514"/>
                  <a:pt x="4701" y="1503"/>
                </a:cubicBezTo>
                <a:cubicBezTo>
                  <a:pt x="4701" y="1493"/>
                  <a:pt x="4692" y="1484"/>
                  <a:pt x="4681" y="1484"/>
                </a:cubicBezTo>
                <a:cubicBezTo>
                  <a:pt x="4670" y="1484"/>
                  <a:pt x="4661" y="1493"/>
                  <a:pt x="4661" y="1503"/>
                </a:cubicBezTo>
                <a:cubicBezTo>
                  <a:pt x="4661" y="1514"/>
                  <a:pt x="4670" y="1523"/>
                  <a:pt x="4681" y="1523"/>
                </a:cubicBezTo>
                <a:close/>
                <a:moveTo>
                  <a:pt x="4279" y="1539"/>
                </a:moveTo>
                <a:lnTo>
                  <a:pt x="4256" y="1795"/>
                </a:lnTo>
                <a:lnTo>
                  <a:pt x="4287" y="1795"/>
                </a:lnTo>
                <a:lnTo>
                  <a:pt x="4302" y="1613"/>
                </a:lnTo>
                <a:cubicBezTo>
                  <a:pt x="4303" y="1598"/>
                  <a:pt x="4304" y="1568"/>
                  <a:pt x="4305" y="1564"/>
                </a:cubicBezTo>
                <a:cubicBezTo>
                  <a:pt x="4306" y="1569"/>
                  <a:pt x="4310" y="1588"/>
                  <a:pt x="4318" y="1613"/>
                </a:cubicBezTo>
                <a:lnTo>
                  <a:pt x="4372" y="1795"/>
                </a:lnTo>
                <a:lnTo>
                  <a:pt x="4399" y="1795"/>
                </a:lnTo>
                <a:lnTo>
                  <a:pt x="4457" y="1604"/>
                </a:lnTo>
                <a:cubicBezTo>
                  <a:pt x="4462" y="1588"/>
                  <a:pt x="4467" y="1566"/>
                  <a:pt x="4467" y="1564"/>
                </a:cubicBezTo>
                <a:cubicBezTo>
                  <a:pt x="4467" y="1566"/>
                  <a:pt x="4468" y="1591"/>
                  <a:pt x="4469" y="1607"/>
                </a:cubicBezTo>
                <a:lnTo>
                  <a:pt x="4485" y="1795"/>
                </a:lnTo>
                <a:lnTo>
                  <a:pt x="4517" y="1795"/>
                </a:lnTo>
                <a:lnTo>
                  <a:pt x="4494" y="1539"/>
                </a:lnTo>
                <a:lnTo>
                  <a:pt x="4447" y="1539"/>
                </a:lnTo>
                <a:lnTo>
                  <a:pt x="4396" y="1709"/>
                </a:lnTo>
                <a:cubicBezTo>
                  <a:pt x="4390" y="1729"/>
                  <a:pt x="4387" y="1749"/>
                  <a:pt x="4386" y="1751"/>
                </a:cubicBezTo>
                <a:cubicBezTo>
                  <a:pt x="4386" y="1748"/>
                  <a:pt x="4382" y="1730"/>
                  <a:pt x="4375" y="1706"/>
                </a:cubicBezTo>
                <a:lnTo>
                  <a:pt x="4326" y="1539"/>
                </a:lnTo>
                <a:lnTo>
                  <a:pt x="4279" y="1539"/>
                </a:lnTo>
                <a:close/>
                <a:moveTo>
                  <a:pt x="3798" y="1662"/>
                </a:moveTo>
                <a:lnTo>
                  <a:pt x="0" y="1662"/>
                </a:lnTo>
                <a:lnTo>
                  <a:pt x="0" y="1796"/>
                </a:lnTo>
                <a:lnTo>
                  <a:pt x="3798" y="1796"/>
                </a:lnTo>
                <a:lnTo>
                  <a:pt x="3798" y="1662"/>
                </a:lnTo>
                <a:close/>
                <a:moveTo>
                  <a:pt x="3798" y="1103"/>
                </a:moveTo>
                <a:lnTo>
                  <a:pt x="0" y="1103"/>
                </a:lnTo>
                <a:lnTo>
                  <a:pt x="0" y="1166"/>
                </a:lnTo>
                <a:lnTo>
                  <a:pt x="3798" y="1166"/>
                </a:lnTo>
                <a:lnTo>
                  <a:pt x="3798" y="1103"/>
                </a:lnTo>
                <a:close/>
                <a:moveTo>
                  <a:pt x="0" y="862"/>
                </a:moveTo>
                <a:lnTo>
                  <a:pt x="1475" y="862"/>
                </a:lnTo>
                <a:lnTo>
                  <a:pt x="1475" y="727"/>
                </a:lnTo>
                <a:lnTo>
                  <a:pt x="0" y="727"/>
                </a:lnTo>
                <a:lnTo>
                  <a:pt x="0" y="862"/>
                </a:lnTo>
                <a:close/>
                <a:moveTo>
                  <a:pt x="1869" y="135"/>
                </a:moveTo>
                <a:lnTo>
                  <a:pt x="1929" y="135"/>
                </a:lnTo>
                <a:lnTo>
                  <a:pt x="1929" y="0"/>
                </a:lnTo>
                <a:lnTo>
                  <a:pt x="1869" y="0"/>
                </a:lnTo>
                <a:lnTo>
                  <a:pt x="1869" y="135"/>
                </a:lnTo>
                <a:close/>
                <a:moveTo>
                  <a:pt x="1772" y="254"/>
                </a:moveTo>
                <a:lnTo>
                  <a:pt x="2026" y="254"/>
                </a:lnTo>
                <a:lnTo>
                  <a:pt x="2026" y="191"/>
                </a:lnTo>
                <a:lnTo>
                  <a:pt x="1772" y="191"/>
                </a:lnTo>
                <a:lnTo>
                  <a:pt x="1772" y="254"/>
                </a:lnTo>
                <a:close/>
                <a:moveTo>
                  <a:pt x="1685" y="598"/>
                </a:moveTo>
                <a:lnTo>
                  <a:pt x="2116" y="598"/>
                </a:lnTo>
                <a:lnTo>
                  <a:pt x="2116" y="463"/>
                </a:lnTo>
                <a:lnTo>
                  <a:pt x="1685" y="463"/>
                </a:lnTo>
                <a:lnTo>
                  <a:pt x="1685" y="598"/>
                </a:lnTo>
                <a:close/>
                <a:moveTo>
                  <a:pt x="2323" y="862"/>
                </a:moveTo>
                <a:lnTo>
                  <a:pt x="3799" y="862"/>
                </a:lnTo>
                <a:lnTo>
                  <a:pt x="3799" y="727"/>
                </a:lnTo>
                <a:lnTo>
                  <a:pt x="2323" y="727"/>
                </a:lnTo>
                <a:lnTo>
                  <a:pt x="2323" y="862"/>
                </a:lnTo>
                <a:close/>
                <a:moveTo>
                  <a:pt x="4760" y="1356"/>
                </a:moveTo>
                <a:lnTo>
                  <a:pt x="4911" y="727"/>
                </a:lnTo>
                <a:lnTo>
                  <a:pt x="4779" y="727"/>
                </a:lnTo>
                <a:lnTo>
                  <a:pt x="4728" y="964"/>
                </a:lnTo>
                <a:cubicBezTo>
                  <a:pt x="4714" y="1025"/>
                  <a:pt x="4696" y="1151"/>
                  <a:pt x="4694" y="1171"/>
                </a:cubicBezTo>
                <a:cubicBezTo>
                  <a:pt x="4694" y="1171"/>
                  <a:pt x="4679" y="1064"/>
                  <a:pt x="4667" y="1006"/>
                </a:cubicBezTo>
                <a:lnTo>
                  <a:pt x="4609" y="727"/>
                </a:lnTo>
                <a:lnTo>
                  <a:pt x="4472" y="727"/>
                </a:lnTo>
                <a:lnTo>
                  <a:pt x="4417" y="979"/>
                </a:lnTo>
                <a:cubicBezTo>
                  <a:pt x="4398" y="1065"/>
                  <a:pt x="4387" y="1154"/>
                  <a:pt x="4384" y="1178"/>
                </a:cubicBezTo>
                <a:cubicBezTo>
                  <a:pt x="4384" y="1178"/>
                  <a:pt x="4376" y="1089"/>
                  <a:pt x="4351" y="973"/>
                </a:cubicBezTo>
                <a:lnTo>
                  <a:pt x="4297" y="727"/>
                </a:lnTo>
                <a:lnTo>
                  <a:pt x="4164" y="727"/>
                </a:lnTo>
                <a:lnTo>
                  <a:pt x="4313" y="1356"/>
                </a:lnTo>
                <a:lnTo>
                  <a:pt x="4456" y="1356"/>
                </a:lnTo>
                <a:lnTo>
                  <a:pt x="4508" y="1100"/>
                </a:lnTo>
                <a:cubicBezTo>
                  <a:pt x="4525" y="1018"/>
                  <a:pt x="4536" y="939"/>
                  <a:pt x="4538" y="924"/>
                </a:cubicBezTo>
                <a:cubicBezTo>
                  <a:pt x="4539" y="947"/>
                  <a:pt x="4549" y="1024"/>
                  <a:pt x="4567" y="1102"/>
                </a:cubicBezTo>
                <a:lnTo>
                  <a:pt x="4623" y="1356"/>
                </a:lnTo>
                <a:lnTo>
                  <a:pt x="4760" y="1356"/>
                </a:lnTo>
                <a:close/>
                <a:moveTo>
                  <a:pt x="4980" y="1539"/>
                </a:moveTo>
                <a:lnTo>
                  <a:pt x="4943" y="1539"/>
                </a:lnTo>
                <a:lnTo>
                  <a:pt x="4943" y="1795"/>
                </a:lnTo>
                <a:lnTo>
                  <a:pt x="4976" y="1795"/>
                </a:lnTo>
                <a:lnTo>
                  <a:pt x="4975" y="1647"/>
                </a:lnTo>
                <a:cubicBezTo>
                  <a:pt x="4974" y="1613"/>
                  <a:pt x="4971" y="1577"/>
                  <a:pt x="4971" y="1577"/>
                </a:cubicBezTo>
                <a:cubicBezTo>
                  <a:pt x="4971" y="1577"/>
                  <a:pt x="4985" y="1607"/>
                  <a:pt x="5002" y="1638"/>
                </a:cubicBezTo>
                <a:lnTo>
                  <a:pt x="5088" y="1795"/>
                </a:lnTo>
                <a:lnTo>
                  <a:pt x="5122" y="1795"/>
                </a:lnTo>
                <a:lnTo>
                  <a:pt x="5122" y="1539"/>
                </a:lnTo>
                <a:lnTo>
                  <a:pt x="5090" y="1539"/>
                </a:lnTo>
                <a:lnTo>
                  <a:pt x="5092" y="1678"/>
                </a:lnTo>
                <a:cubicBezTo>
                  <a:pt x="5092" y="1715"/>
                  <a:pt x="5095" y="1756"/>
                  <a:pt x="5095" y="1756"/>
                </a:cubicBezTo>
                <a:cubicBezTo>
                  <a:pt x="5094" y="1754"/>
                  <a:pt x="5083" y="1727"/>
                  <a:pt x="5070" y="1703"/>
                </a:cubicBezTo>
                <a:lnTo>
                  <a:pt x="4980" y="1539"/>
                </a:lnTo>
                <a:close/>
                <a:moveTo>
                  <a:pt x="5556" y="1356"/>
                </a:moveTo>
                <a:lnTo>
                  <a:pt x="5706" y="727"/>
                </a:lnTo>
                <a:lnTo>
                  <a:pt x="5575" y="727"/>
                </a:lnTo>
                <a:lnTo>
                  <a:pt x="5523" y="964"/>
                </a:lnTo>
                <a:cubicBezTo>
                  <a:pt x="5510" y="1025"/>
                  <a:pt x="5491" y="1151"/>
                  <a:pt x="5489" y="1171"/>
                </a:cubicBezTo>
                <a:cubicBezTo>
                  <a:pt x="5489" y="1171"/>
                  <a:pt x="5474" y="1064"/>
                  <a:pt x="5462" y="1006"/>
                </a:cubicBezTo>
                <a:lnTo>
                  <a:pt x="5405" y="727"/>
                </a:lnTo>
                <a:lnTo>
                  <a:pt x="5268" y="727"/>
                </a:lnTo>
                <a:lnTo>
                  <a:pt x="5212" y="979"/>
                </a:lnTo>
                <a:cubicBezTo>
                  <a:pt x="5193" y="1065"/>
                  <a:pt x="5182" y="1154"/>
                  <a:pt x="5180" y="1178"/>
                </a:cubicBezTo>
                <a:cubicBezTo>
                  <a:pt x="5180" y="1178"/>
                  <a:pt x="5172" y="1089"/>
                  <a:pt x="5147" y="973"/>
                </a:cubicBezTo>
                <a:lnTo>
                  <a:pt x="5093" y="727"/>
                </a:lnTo>
                <a:lnTo>
                  <a:pt x="4960" y="727"/>
                </a:lnTo>
                <a:lnTo>
                  <a:pt x="5109" y="1356"/>
                </a:lnTo>
                <a:lnTo>
                  <a:pt x="5252" y="1356"/>
                </a:lnTo>
                <a:lnTo>
                  <a:pt x="5304" y="1100"/>
                </a:lnTo>
                <a:cubicBezTo>
                  <a:pt x="5321" y="1018"/>
                  <a:pt x="5331" y="939"/>
                  <a:pt x="5333" y="924"/>
                </a:cubicBezTo>
                <a:cubicBezTo>
                  <a:pt x="5335" y="947"/>
                  <a:pt x="5345" y="1024"/>
                  <a:pt x="5363" y="1102"/>
                </a:cubicBezTo>
                <a:lnTo>
                  <a:pt x="5418" y="1356"/>
                </a:lnTo>
                <a:lnTo>
                  <a:pt x="5556" y="1356"/>
                </a:lnTo>
                <a:close/>
                <a:moveTo>
                  <a:pt x="6233" y="1147"/>
                </a:moveTo>
                <a:lnTo>
                  <a:pt x="6233" y="727"/>
                </a:lnTo>
                <a:lnTo>
                  <a:pt x="6106" y="727"/>
                </a:lnTo>
                <a:lnTo>
                  <a:pt x="6106" y="1126"/>
                </a:lnTo>
                <a:cubicBezTo>
                  <a:pt x="6106" y="1159"/>
                  <a:pt x="6106" y="1168"/>
                  <a:pt x="6104" y="1182"/>
                </a:cubicBezTo>
                <a:cubicBezTo>
                  <a:pt x="6099" y="1228"/>
                  <a:pt x="6064" y="1255"/>
                  <a:pt x="6009" y="1255"/>
                </a:cubicBezTo>
                <a:cubicBezTo>
                  <a:pt x="5968" y="1255"/>
                  <a:pt x="5938" y="1239"/>
                  <a:pt x="5924" y="1211"/>
                </a:cubicBezTo>
                <a:cubicBezTo>
                  <a:pt x="5917" y="1198"/>
                  <a:pt x="5913" y="1176"/>
                  <a:pt x="5913" y="1137"/>
                </a:cubicBezTo>
                <a:lnTo>
                  <a:pt x="5913" y="727"/>
                </a:lnTo>
                <a:lnTo>
                  <a:pt x="5785" y="727"/>
                </a:lnTo>
                <a:lnTo>
                  <a:pt x="5785" y="1161"/>
                </a:lnTo>
                <a:cubicBezTo>
                  <a:pt x="5785" y="1221"/>
                  <a:pt x="5791" y="1246"/>
                  <a:pt x="5812" y="1279"/>
                </a:cubicBezTo>
                <a:cubicBezTo>
                  <a:pt x="5847" y="1333"/>
                  <a:pt x="5917" y="1362"/>
                  <a:pt x="6012" y="1362"/>
                </a:cubicBezTo>
                <a:cubicBezTo>
                  <a:pt x="6146" y="1362"/>
                  <a:pt x="6207" y="1294"/>
                  <a:pt x="6224" y="1245"/>
                </a:cubicBezTo>
                <a:cubicBezTo>
                  <a:pt x="6233" y="1218"/>
                  <a:pt x="6233" y="1206"/>
                  <a:pt x="6233" y="1147"/>
                </a:cubicBez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51382" tIns="25691" rIns="51382" bIns="25691" numCol="1" anchor="t" anchorCtr="0" compatLnSpc="1">
            <a:prstTxWarp prst="textNoShape">
              <a:avLst/>
            </a:prstTxWarp>
          </a:bodyPr>
          <a:lstStyle/>
          <a:p>
            <a:endParaRPr lang="de-DE" sz="1350" dirty="0"/>
          </a:p>
        </p:txBody>
      </p:sp>
      <p:sp>
        <p:nvSpPr>
          <p:cNvPr id="61" name="wissen.leben"/>
          <p:cNvSpPr>
            <a:spLocks noEditPoints="1"/>
          </p:cNvSpPr>
          <p:nvPr userDrawn="1"/>
        </p:nvSpPr>
        <p:spPr bwMode="auto">
          <a:xfrm>
            <a:off x="358401" y="6323606"/>
            <a:ext cx="1348595" cy="180000"/>
          </a:xfrm>
          <a:custGeom>
            <a:avLst/>
            <a:gdLst>
              <a:gd name="T0" fmla="*/ 3663 w 3750"/>
              <a:gd name="T1" fmla="*/ 144 h 500"/>
              <a:gd name="T2" fmla="*/ 3483 w 3750"/>
              <a:gd name="T3" fmla="*/ 162 h 500"/>
              <a:gd name="T4" fmla="*/ 3567 w 3750"/>
              <a:gd name="T5" fmla="*/ 486 h 500"/>
              <a:gd name="T6" fmla="*/ 3678 w 3750"/>
              <a:gd name="T7" fmla="*/ 265 h 500"/>
              <a:gd name="T8" fmla="*/ 3339 w 3750"/>
              <a:gd name="T9" fmla="*/ 286 h 500"/>
              <a:gd name="T10" fmla="*/ 3339 w 3750"/>
              <a:gd name="T11" fmla="*/ 286 h 500"/>
              <a:gd name="T12" fmla="*/ 3371 w 3750"/>
              <a:gd name="T13" fmla="*/ 179 h 500"/>
              <a:gd name="T14" fmla="*/ 3136 w 3750"/>
              <a:gd name="T15" fmla="*/ 320 h 500"/>
              <a:gd name="T16" fmla="*/ 3381 w 3750"/>
              <a:gd name="T17" fmla="*/ 406 h 500"/>
              <a:gd name="T18" fmla="*/ 3215 w 3750"/>
              <a:gd name="T19" fmla="*/ 339 h 500"/>
              <a:gd name="T20" fmla="*/ 2921 w 3750"/>
              <a:gd name="T21" fmla="*/ 431 h 500"/>
              <a:gd name="T22" fmla="*/ 2922 w 3750"/>
              <a:gd name="T23" fmla="*/ 206 h 500"/>
              <a:gd name="T24" fmla="*/ 2938 w 3750"/>
              <a:gd name="T25" fmla="*/ 144 h 500"/>
              <a:gd name="T26" fmla="*/ 2858 w 3750"/>
              <a:gd name="T27" fmla="*/ 144 h 500"/>
              <a:gd name="T28" fmla="*/ 2777 w 3750"/>
              <a:gd name="T29" fmla="*/ 16 h 500"/>
              <a:gd name="T30" fmla="*/ 2777 w 3750"/>
              <a:gd name="T31" fmla="*/ 486 h 500"/>
              <a:gd name="T32" fmla="*/ 2934 w 3750"/>
              <a:gd name="T33" fmla="*/ 493 h 500"/>
              <a:gd name="T34" fmla="*/ 2506 w 3750"/>
              <a:gd name="T35" fmla="*/ 286 h 500"/>
              <a:gd name="T36" fmla="*/ 2705 w 3750"/>
              <a:gd name="T37" fmla="*/ 339 h 500"/>
              <a:gd name="T38" fmla="*/ 2569 w 3750"/>
              <a:gd name="T39" fmla="*/ 144 h 500"/>
              <a:gd name="T40" fmla="*/ 2579 w 3750"/>
              <a:gd name="T41" fmla="*/ 495 h 500"/>
              <a:gd name="T42" fmla="*/ 2588 w 3750"/>
              <a:gd name="T43" fmla="*/ 439 h 500"/>
              <a:gd name="T44" fmla="*/ 2705 w 3750"/>
              <a:gd name="T45" fmla="*/ 339 h 500"/>
              <a:gd name="T46" fmla="*/ 2348 w 3750"/>
              <a:gd name="T47" fmla="*/ 435 h 500"/>
              <a:gd name="T48" fmla="*/ 2334 w 3750"/>
              <a:gd name="T49" fmla="*/ 1 h 500"/>
              <a:gd name="T50" fmla="*/ 2266 w 3750"/>
              <a:gd name="T51" fmla="*/ 399 h 500"/>
              <a:gd name="T52" fmla="*/ 2168 w 3750"/>
              <a:gd name="T53" fmla="*/ 425 h 500"/>
              <a:gd name="T54" fmla="*/ 2098 w 3750"/>
              <a:gd name="T55" fmla="*/ 500 h 500"/>
              <a:gd name="T56" fmla="*/ 1909 w 3750"/>
              <a:gd name="T57" fmla="*/ 237 h 500"/>
              <a:gd name="T58" fmla="*/ 1708 w 3750"/>
              <a:gd name="T59" fmla="*/ 143 h 500"/>
              <a:gd name="T60" fmla="*/ 1654 w 3750"/>
              <a:gd name="T61" fmla="*/ 486 h 500"/>
              <a:gd name="T62" fmla="*/ 1799 w 3750"/>
              <a:gd name="T63" fmla="*/ 206 h 500"/>
              <a:gd name="T64" fmla="*/ 1909 w 3750"/>
              <a:gd name="T65" fmla="*/ 486 h 500"/>
              <a:gd name="T66" fmla="*/ 1438 w 3750"/>
              <a:gd name="T67" fmla="*/ 199 h 500"/>
              <a:gd name="T68" fmla="*/ 1574 w 3750"/>
              <a:gd name="T69" fmla="*/ 324 h 500"/>
              <a:gd name="T70" fmla="*/ 1336 w 3750"/>
              <a:gd name="T71" fmla="*/ 189 h 500"/>
              <a:gd name="T72" fmla="*/ 1568 w 3750"/>
              <a:gd name="T73" fmla="*/ 451 h 500"/>
              <a:gd name="T74" fmla="*/ 1374 w 3750"/>
              <a:gd name="T75" fmla="*/ 344 h 500"/>
              <a:gd name="T76" fmla="*/ 1233 w 3750"/>
              <a:gd name="T77" fmla="*/ 382 h 500"/>
              <a:gd name="T78" fmla="*/ 1062 w 3750"/>
              <a:gd name="T79" fmla="*/ 239 h 500"/>
              <a:gd name="T80" fmla="*/ 1218 w 3750"/>
              <a:gd name="T81" fmla="*/ 170 h 500"/>
              <a:gd name="T82" fmla="*/ 1063 w 3750"/>
              <a:gd name="T83" fmla="*/ 339 h 500"/>
              <a:gd name="T84" fmla="*/ 1104 w 3750"/>
              <a:gd name="T85" fmla="*/ 441 h 500"/>
              <a:gd name="T86" fmla="*/ 1098 w 3750"/>
              <a:gd name="T87" fmla="*/ 495 h 500"/>
              <a:gd name="T88" fmla="*/ 836 w 3750"/>
              <a:gd name="T89" fmla="*/ 289 h 500"/>
              <a:gd name="T90" fmla="*/ 800 w 3750"/>
              <a:gd name="T91" fmla="*/ 196 h 500"/>
              <a:gd name="T92" fmla="*/ 796 w 3750"/>
              <a:gd name="T93" fmla="*/ 141 h 500"/>
              <a:gd name="T94" fmla="*/ 792 w 3750"/>
              <a:gd name="T95" fmla="*/ 348 h 500"/>
              <a:gd name="T96" fmla="*/ 683 w 3750"/>
              <a:gd name="T97" fmla="*/ 406 h 500"/>
              <a:gd name="T98" fmla="*/ 921 w 3750"/>
              <a:gd name="T99" fmla="*/ 382 h 500"/>
              <a:gd name="T100" fmla="*/ 500 w 3750"/>
              <a:gd name="T101" fmla="*/ 55 h 500"/>
              <a:gd name="T102" fmla="*/ 584 w 3750"/>
              <a:gd name="T103" fmla="*/ 486 h 500"/>
              <a:gd name="T104" fmla="*/ 511 w 3750"/>
              <a:gd name="T105" fmla="*/ 486 h 500"/>
              <a:gd name="T106" fmla="*/ 372 w 3750"/>
              <a:gd name="T107" fmla="*/ 152 h 500"/>
              <a:gd name="T108" fmla="*/ 319 w 3750"/>
              <a:gd name="T109" fmla="*/ 398 h 500"/>
              <a:gd name="T110" fmla="*/ 189 w 3750"/>
              <a:gd name="T111" fmla="*/ 152 h 500"/>
              <a:gd name="T112" fmla="*/ 125 w 3750"/>
              <a:gd name="T113" fmla="*/ 396 h 500"/>
              <a:gd name="T114" fmla="*/ 0 w 3750"/>
              <a:gd name="T115" fmla="*/ 157 h 500"/>
              <a:gd name="T116" fmla="*/ 199 w 3750"/>
              <a:gd name="T117" fmla="*/ 337 h 500"/>
              <a:gd name="T118" fmla="*/ 244 w 3750"/>
              <a:gd name="T119" fmla="*/ 334 h 500"/>
              <a:gd name="T120" fmla="*/ 447 w 3750"/>
              <a:gd name="T121" fmla="*/ 152 h 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750" h="500">
                <a:moveTo>
                  <a:pt x="3750" y="486"/>
                </a:moveTo>
                <a:lnTo>
                  <a:pt x="3750" y="237"/>
                </a:lnTo>
                <a:cubicBezTo>
                  <a:pt x="3750" y="175"/>
                  <a:pt x="3714" y="144"/>
                  <a:pt x="3663" y="144"/>
                </a:cubicBezTo>
                <a:cubicBezTo>
                  <a:pt x="3627" y="144"/>
                  <a:pt x="3596" y="160"/>
                  <a:pt x="3561" y="191"/>
                </a:cubicBezTo>
                <a:cubicBezTo>
                  <a:pt x="3561" y="173"/>
                  <a:pt x="3557" y="158"/>
                  <a:pt x="3549" y="143"/>
                </a:cubicBezTo>
                <a:lnTo>
                  <a:pt x="3483" y="162"/>
                </a:lnTo>
                <a:cubicBezTo>
                  <a:pt x="3492" y="185"/>
                  <a:pt x="3495" y="206"/>
                  <a:pt x="3495" y="241"/>
                </a:cubicBezTo>
                <a:lnTo>
                  <a:pt x="3495" y="486"/>
                </a:lnTo>
                <a:lnTo>
                  <a:pt x="3567" y="486"/>
                </a:lnTo>
                <a:lnTo>
                  <a:pt x="3567" y="244"/>
                </a:lnTo>
                <a:cubicBezTo>
                  <a:pt x="3588" y="222"/>
                  <a:pt x="3619" y="206"/>
                  <a:pt x="3640" y="206"/>
                </a:cubicBezTo>
                <a:cubicBezTo>
                  <a:pt x="3668" y="206"/>
                  <a:pt x="3678" y="219"/>
                  <a:pt x="3678" y="265"/>
                </a:cubicBezTo>
                <a:lnTo>
                  <a:pt x="3678" y="486"/>
                </a:lnTo>
                <a:lnTo>
                  <a:pt x="3750" y="486"/>
                </a:lnTo>
                <a:close/>
                <a:moveTo>
                  <a:pt x="3339" y="286"/>
                </a:moveTo>
                <a:lnTo>
                  <a:pt x="3216" y="286"/>
                </a:lnTo>
                <a:cubicBezTo>
                  <a:pt x="3216" y="232"/>
                  <a:pt x="3238" y="199"/>
                  <a:pt x="3279" y="199"/>
                </a:cubicBezTo>
                <a:cubicBezTo>
                  <a:pt x="3316" y="199"/>
                  <a:pt x="3339" y="232"/>
                  <a:pt x="3339" y="286"/>
                </a:cubicBezTo>
                <a:close/>
                <a:moveTo>
                  <a:pt x="3415" y="339"/>
                </a:moveTo>
                <a:lnTo>
                  <a:pt x="3415" y="324"/>
                </a:lnTo>
                <a:cubicBezTo>
                  <a:pt x="3415" y="246"/>
                  <a:pt x="3400" y="205"/>
                  <a:pt x="3371" y="179"/>
                </a:cubicBezTo>
                <a:cubicBezTo>
                  <a:pt x="3343" y="153"/>
                  <a:pt x="3312" y="144"/>
                  <a:pt x="3279" y="144"/>
                </a:cubicBezTo>
                <a:cubicBezTo>
                  <a:pt x="3237" y="144"/>
                  <a:pt x="3204" y="158"/>
                  <a:pt x="3177" y="189"/>
                </a:cubicBezTo>
                <a:cubicBezTo>
                  <a:pt x="3148" y="222"/>
                  <a:pt x="3136" y="261"/>
                  <a:pt x="3136" y="320"/>
                </a:cubicBezTo>
                <a:cubicBezTo>
                  <a:pt x="3136" y="427"/>
                  <a:pt x="3195" y="495"/>
                  <a:pt x="3289" y="495"/>
                </a:cubicBezTo>
                <a:cubicBezTo>
                  <a:pt x="3334" y="495"/>
                  <a:pt x="3374" y="480"/>
                  <a:pt x="3409" y="451"/>
                </a:cubicBezTo>
                <a:lnTo>
                  <a:pt x="3381" y="406"/>
                </a:lnTo>
                <a:cubicBezTo>
                  <a:pt x="3356" y="428"/>
                  <a:pt x="3329" y="439"/>
                  <a:pt x="3298" y="439"/>
                </a:cubicBezTo>
                <a:cubicBezTo>
                  <a:pt x="3233" y="439"/>
                  <a:pt x="3215" y="391"/>
                  <a:pt x="3215" y="344"/>
                </a:cubicBezTo>
                <a:lnTo>
                  <a:pt x="3215" y="339"/>
                </a:lnTo>
                <a:lnTo>
                  <a:pt x="3415" y="339"/>
                </a:lnTo>
                <a:close/>
                <a:moveTo>
                  <a:pt x="2986" y="315"/>
                </a:moveTo>
                <a:cubicBezTo>
                  <a:pt x="2986" y="398"/>
                  <a:pt x="2966" y="431"/>
                  <a:pt x="2921" y="431"/>
                </a:cubicBezTo>
                <a:cubicBezTo>
                  <a:pt x="2894" y="431"/>
                  <a:pt x="2873" y="418"/>
                  <a:pt x="2859" y="402"/>
                </a:cubicBezTo>
                <a:lnTo>
                  <a:pt x="2859" y="239"/>
                </a:lnTo>
                <a:cubicBezTo>
                  <a:pt x="2872" y="223"/>
                  <a:pt x="2892" y="206"/>
                  <a:pt x="2922" y="206"/>
                </a:cubicBezTo>
                <a:cubicBezTo>
                  <a:pt x="2974" y="206"/>
                  <a:pt x="2986" y="255"/>
                  <a:pt x="2986" y="315"/>
                </a:cubicBezTo>
                <a:close/>
                <a:moveTo>
                  <a:pt x="3068" y="314"/>
                </a:moveTo>
                <a:cubicBezTo>
                  <a:pt x="3068" y="210"/>
                  <a:pt x="3018" y="144"/>
                  <a:pt x="2938" y="144"/>
                </a:cubicBezTo>
                <a:cubicBezTo>
                  <a:pt x="2906" y="144"/>
                  <a:pt x="2882" y="154"/>
                  <a:pt x="2859" y="177"/>
                </a:cubicBezTo>
                <a:lnTo>
                  <a:pt x="2856" y="176"/>
                </a:lnTo>
                <a:cubicBezTo>
                  <a:pt x="2856" y="176"/>
                  <a:pt x="2858" y="166"/>
                  <a:pt x="2858" y="144"/>
                </a:cubicBezTo>
                <a:lnTo>
                  <a:pt x="2858" y="67"/>
                </a:lnTo>
                <a:cubicBezTo>
                  <a:pt x="2858" y="40"/>
                  <a:pt x="2857" y="24"/>
                  <a:pt x="2853" y="0"/>
                </a:cubicBezTo>
                <a:lnTo>
                  <a:pt x="2777" y="16"/>
                </a:lnTo>
                <a:cubicBezTo>
                  <a:pt x="2783" y="35"/>
                  <a:pt x="2786" y="59"/>
                  <a:pt x="2786" y="97"/>
                </a:cubicBezTo>
                <a:lnTo>
                  <a:pt x="2786" y="412"/>
                </a:lnTo>
                <a:cubicBezTo>
                  <a:pt x="2786" y="457"/>
                  <a:pt x="2783" y="471"/>
                  <a:pt x="2777" y="486"/>
                </a:cubicBezTo>
                <a:lnTo>
                  <a:pt x="2844" y="486"/>
                </a:lnTo>
                <a:cubicBezTo>
                  <a:pt x="2849" y="477"/>
                  <a:pt x="2850" y="472"/>
                  <a:pt x="2853" y="455"/>
                </a:cubicBezTo>
                <a:cubicBezTo>
                  <a:pt x="2874" y="480"/>
                  <a:pt x="2901" y="493"/>
                  <a:pt x="2934" y="493"/>
                </a:cubicBezTo>
                <a:cubicBezTo>
                  <a:pt x="3012" y="493"/>
                  <a:pt x="3068" y="421"/>
                  <a:pt x="3068" y="314"/>
                </a:cubicBezTo>
                <a:close/>
                <a:moveTo>
                  <a:pt x="2629" y="286"/>
                </a:moveTo>
                <a:lnTo>
                  <a:pt x="2506" y="286"/>
                </a:lnTo>
                <a:cubicBezTo>
                  <a:pt x="2506" y="232"/>
                  <a:pt x="2528" y="199"/>
                  <a:pt x="2569" y="199"/>
                </a:cubicBezTo>
                <a:cubicBezTo>
                  <a:pt x="2606" y="199"/>
                  <a:pt x="2629" y="232"/>
                  <a:pt x="2629" y="286"/>
                </a:cubicBezTo>
                <a:close/>
                <a:moveTo>
                  <a:pt x="2705" y="339"/>
                </a:moveTo>
                <a:lnTo>
                  <a:pt x="2705" y="324"/>
                </a:lnTo>
                <a:cubicBezTo>
                  <a:pt x="2705" y="246"/>
                  <a:pt x="2690" y="205"/>
                  <a:pt x="2661" y="179"/>
                </a:cubicBezTo>
                <a:cubicBezTo>
                  <a:pt x="2633" y="153"/>
                  <a:pt x="2602" y="144"/>
                  <a:pt x="2569" y="144"/>
                </a:cubicBezTo>
                <a:cubicBezTo>
                  <a:pt x="2527" y="144"/>
                  <a:pt x="2494" y="158"/>
                  <a:pt x="2467" y="189"/>
                </a:cubicBezTo>
                <a:cubicBezTo>
                  <a:pt x="2438" y="222"/>
                  <a:pt x="2425" y="261"/>
                  <a:pt x="2425" y="320"/>
                </a:cubicBezTo>
                <a:cubicBezTo>
                  <a:pt x="2425" y="427"/>
                  <a:pt x="2485" y="495"/>
                  <a:pt x="2579" y="495"/>
                </a:cubicBezTo>
                <a:cubicBezTo>
                  <a:pt x="2624" y="495"/>
                  <a:pt x="2664" y="480"/>
                  <a:pt x="2699" y="451"/>
                </a:cubicBezTo>
                <a:lnTo>
                  <a:pt x="2671" y="406"/>
                </a:lnTo>
                <a:cubicBezTo>
                  <a:pt x="2646" y="428"/>
                  <a:pt x="2619" y="439"/>
                  <a:pt x="2588" y="439"/>
                </a:cubicBezTo>
                <a:cubicBezTo>
                  <a:pt x="2522" y="439"/>
                  <a:pt x="2505" y="391"/>
                  <a:pt x="2505" y="344"/>
                </a:cubicBezTo>
                <a:lnTo>
                  <a:pt x="2505" y="339"/>
                </a:lnTo>
                <a:lnTo>
                  <a:pt x="2705" y="339"/>
                </a:lnTo>
                <a:close/>
                <a:moveTo>
                  <a:pt x="2383" y="486"/>
                </a:moveTo>
                <a:lnTo>
                  <a:pt x="2371" y="441"/>
                </a:lnTo>
                <a:cubicBezTo>
                  <a:pt x="2363" y="445"/>
                  <a:pt x="2351" y="441"/>
                  <a:pt x="2348" y="435"/>
                </a:cubicBezTo>
                <a:cubicBezTo>
                  <a:pt x="2342" y="428"/>
                  <a:pt x="2340" y="420"/>
                  <a:pt x="2340" y="375"/>
                </a:cubicBezTo>
                <a:lnTo>
                  <a:pt x="2340" y="92"/>
                </a:lnTo>
                <a:cubicBezTo>
                  <a:pt x="2340" y="49"/>
                  <a:pt x="2340" y="21"/>
                  <a:pt x="2334" y="1"/>
                </a:cubicBezTo>
                <a:lnTo>
                  <a:pt x="2260" y="17"/>
                </a:lnTo>
                <a:cubicBezTo>
                  <a:pt x="2264" y="45"/>
                  <a:pt x="2266" y="69"/>
                  <a:pt x="2266" y="115"/>
                </a:cubicBezTo>
                <a:lnTo>
                  <a:pt x="2266" y="399"/>
                </a:lnTo>
                <a:cubicBezTo>
                  <a:pt x="2266" y="428"/>
                  <a:pt x="2266" y="493"/>
                  <a:pt x="2340" y="493"/>
                </a:cubicBezTo>
                <a:cubicBezTo>
                  <a:pt x="2356" y="493"/>
                  <a:pt x="2370" y="491"/>
                  <a:pt x="2383" y="486"/>
                </a:cubicBezTo>
                <a:close/>
                <a:moveTo>
                  <a:pt x="2168" y="425"/>
                </a:moveTo>
                <a:cubicBezTo>
                  <a:pt x="2168" y="386"/>
                  <a:pt x="2136" y="354"/>
                  <a:pt x="2096" y="354"/>
                </a:cubicBezTo>
                <a:cubicBezTo>
                  <a:pt x="2057" y="354"/>
                  <a:pt x="2026" y="386"/>
                  <a:pt x="2026" y="425"/>
                </a:cubicBezTo>
                <a:cubicBezTo>
                  <a:pt x="2026" y="466"/>
                  <a:pt x="2058" y="500"/>
                  <a:pt x="2098" y="500"/>
                </a:cubicBezTo>
                <a:cubicBezTo>
                  <a:pt x="2136" y="500"/>
                  <a:pt x="2168" y="466"/>
                  <a:pt x="2168" y="425"/>
                </a:cubicBezTo>
                <a:close/>
                <a:moveTo>
                  <a:pt x="1909" y="486"/>
                </a:moveTo>
                <a:lnTo>
                  <a:pt x="1909" y="237"/>
                </a:lnTo>
                <a:cubicBezTo>
                  <a:pt x="1909" y="175"/>
                  <a:pt x="1873" y="144"/>
                  <a:pt x="1822" y="144"/>
                </a:cubicBezTo>
                <a:cubicBezTo>
                  <a:pt x="1786" y="144"/>
                  <a:pt x="1755" y="160"/>
                  <a:pt x="1720" y="191"/>
                </a:cubicBezTo>
                <a:cubicBezTo>
                  <a:pt x="1720" y="173"/>
                  <a:pt x="1716" y="158"/>
                  <a:pt x="1708" y="143"/>
                </a:cubicBezTo>
                <a:lnTo>
                  <a:pt x="1642" y="162"/>
                </a:lnTo>
                <a:cubicBezTo>
                  <a:pt x="1651" y="185"/>
                  <a:pt x="1654" y="206"/>
                  <a:pt x="1654" y="241"/>
                </a:cubicBezTo>
                <a:lnTo>
                  <a:pt x="1654" y="486"/>
                </a:lnTo>
                <a:lnTo>
                  <a:pt x="1726" y="486"/>
                </a:lnTo>
                <a:lnTo>
                  <a:pt x="1726" y="244"/>
                </a:lnTo>
                <a:cubicBezTo>
                  <a:pt x="1747" y="222"/>
                  <a:pt x="1778" y="206"/>
                  <a:pt x="1799" y="206"/>
                </a:cubicBezTo>
                <a:cubicBezTo>
                  <a:pt x="1827" y="206"/>
                  <a:pt x="1837" y="219"/>
                  <a:pt x="1837" y="265"/>
                </a:cubicBezTo>
                <a:lnTo>
                  <a:pt x="1837" y="486"/>
                </a:lnTo>
                <a:lnTo>
                  <a:pt x="1909" y="486"/>
                </a:lnTo>
                <a:close/>
                <a:moveTo>
                  <a:pt x="1498" y="286"/>
                </a:moveTo>
                <a:lnTo>
                  <a:pt x="1375" y="286"/>
                </a:lnTo>
                <a:cubicBezTo>
                  <a:pt x="1375" y="232"/>
                  <a:pt x="1397" y="199"/>
                  <a:pt x="1438" y="199"/>
                </a:cubicBezTo>
                <a:cubicBezTo>
                  <a:pt x="1475" y="199"/>
                  <a:pt x="1498" y="232"/>
                  <a:pt x="1498" y="286"/>
                </a:cubicBezTo>
                <a:close/>
                <a:moveTo>
                  <a:pt x="1574" y="339"/>
                </a:moveTo>
                <a:lnTo>
                  <a:pt x="1574" y="324"/>
                </a:lnTo>
                <a:cubicBezTo>
                  <a:pt x="1574" y="246"/>
                  <a:pt x="1559" y="205"/>
                  <a:pt x="1530" y="179"/>
                </a:cubicBezTo>
                <a:cubicBezTo>
                  <a:pt x="1502" y="153"/>
                  <a:pt x="1471" y="144"/>
                  <a:pt x="1438" y="144"/>
                </a:cubicBezTo>
                <a:cubicBezTo>
                  <a:pt x="1396" y="144"/>
                  <a:pt x="1363" y="158"/>
                  <a:pt x="1336" y="189"/>
                </a:cubicBezTo>
                <a:cubicBezTo>
                  <a:pt x="1307" y="222"/>
                  <a:pt x="1295" y="261"/>
                  <a:pt x="1295" y="320"/>
                </a:cubicBezTo>
                <a:cubicBezTo>
                  <a:pt x="1295" y="427"/>
                  <a:pt x="1354" y="495"/>
                  <a:pt x="1448" y="495"/>
                </a:cubicBezTo>
                <a:cubicBezTo>
                  <a:pt x="1493" y="495"/>
                  <a:pt x="1533" y="480"/>
                  <a:pt x="1568" y="451"/>
                </a:cubicBezTo>
                <a:lnTo>
                  <a:pt x="1540" y="406"/>
                </a:lnTo>
                <a:cubicBezTo>
                  <a:pt x="1515" y="428"/>
                  <a:pt x="1488" y="439"/>
                  <a:pt x="1457" y="439"/>
                </a:cubicBezTo>
                <a:cubicBezTo>
                  <a:pt x="1392" y="439"/>
                  <a:pt x="1374" y="391"/>
                  <a:pt x="1374" y="344"/>
                </a:cubicBezTo>
                <a:lnTo>
                  <a:pt x="1374" y="339"/>
                </a:lnTo>
                <a:lnTo>
                  <a:pt x="1574" y="339"/>
                </a:lnTo>
                <a:close/>
                <a:moveTo>
                  <a:pt x="1233" y="382"/>
                </a:moveTo>
                <a:cubicBezTo>
                  <a:pt x="1233" y="343"/>
                  <a:pt x="1215" y="306"/>
                  <a:pt x="1148" y="289"/>
                </a:cubicBezTo>
                <a:lnTo>
                  <a:pt x="1106" y="278"/>
                </a:lnTo>
                <a:cubicBezTo>
                  <a:pt x="1073" y="270"/>
                  <a:pt x="1062" y="259"/>
                  <a:pt x="1062" y="239"/>
                </a:cubicBezTo>
                <a:cubicBezTo>
                  <a:pt x="1062" y="213"/>
                  <a:pt x="1081" y="196"/>
                  <a:pt x="1112" y="196"/>
                </a:cubicBezTo>
                <a:cubicBezTo>
                  <a:pt x="1139" y="196"/>
                  <a:pt x="1163" y="204"/>
                  <a:pt x="1194" y="220"/>
                </a:cubicBezTo>
                <a:lnTo>
                  <a:pt x="1218" y="170"/>
                </a:lnTo>
                <a:cubicBezTo>
                  <a:pt x="1190" y="155"/>
                  <a:pt x="1153" y="141"/>
                  <a:pt x="1108" y="141"/>
                </a:cubicBezTo>
                <a:cubicBezTo>
                  <a:pt x="1034" y="141"/>
                  <a:pt x="984" y="185"/>
                  <a:pt x="984" y="247"/>
                </a:cubicBezTo>
                <a:cubicBezTo>
                  <a:pt x="984" y="294"/>
                  <a:pt x="1013" y="329"/>
                  <a:pt x="1063" y="339"/>
                </a:cubicBezTo>
                <a:lnTo>
                  <a:pt x="1104" y="348"/>
                </a:lnTo>
                <a:cubicBezTo>
                  <a:pt x="1141" y="356"/>
                  <a:pt x="1158" y="369"/>
                  <a:pt x="1158" y="395"/>
                </a:cubicBezTo>
                <a:cubicBezTo>
                  <a:pt x="1158" y="422"/>
                  <a:pt x="1135" y="441"/>
                  <a:pt x="1104" y="441"/>
                </a:cubicBezTo>
                <a:cubicBezTo>
                  <a:pt x="1066" y="441"/>
                  <a:pt x="1025" y="424"/>
                  <a:pt x="996" y="406"/>
                </a:cubicBezTo>
                <a:lnTo>
                  <a:pt x="970" y="459"/>
                </a:lnTo>
                <a:cubicBezTo>
                  <a:pt x="1013" y="482"/>
                  <a:pt x="1057" y="495"/>
                  <a:pt x="1098" y="495"/>
                </a:cubicBezTo>
                <a:cubicBezTo>
                  <a:pt x="1178" y="495"/>
                  <a:pt x="1233" y="449"/>
                  <a:pt x="1233" y="382"/>
                </a:cubicBezTo>
                <a:close/>
                <a:moveTo>
                  <a:pt x="921" y="382"/>
                </a:moveTo>
                <a:cubicBezTo>
                  <a:pt x="921" y="343"/>
                  <a:pt x="903" y="306"/>
                  <a:pt x="836" y="289"/>
                </a:cubicBezTo>
                <a:lnTo>
                  <a:pt x="794" y="278"/>
                </a:lnTo>
                <a:cubicBezTo>
                  <a:pt x="761" y="270"/>
                  <a:pt x="749" y="259"/>
                  <a:pt x="749" y="239"/>
                </a:cubicBezTo>
                <a:cubicBezTo>
                  <a:pt x="749" y="213"/>
                  <a:pt x="769" y="196"/>
                  <a:pt x="800" y="196"/>
                </a:cubicBezTo>
                <a:cubicBezTo>
                  <a:pt x="827" y="196"/>
                  <a:pt x="851" y="204"/>
                  <a:pt x="882" y="220"/>
                </a:cubicBezTo>
                <a:lnTo>
                  <a:pt x="906" y="170"/>
                </a:lnTo>
                <a:cubicBezTo>
                  <a:pt x="877" y="155"/>
                  <a:pt x="841" y="141"/>
                  <a:pt x="796" y="141"/>
                </a:cubicBezTo>
                <a:cubicBezTo>
                  <a:pt x="722" y="141"/>
                  <a:pt x="671" y="185"/>
                  <a:pt x="671" y="247"/>
                </a:cubicBezTo>
                <a:cubicBezTo>
                  <a:pt x="671" y="294"/>
                  <a:pt x="701" y="329"/>
                  <a:pt x="751" y="339"/>
                </a:cubicBezTo>
                <a:lnTo>
                  <a:pt x="792" y="348"/>
                </a:lnTo>
                <a:cubicBezTo>
                  <a:pt x="829" y="356"/>
                  <a:pt x="846" y="369"/>
                  <a:pt x="846" y="395"/>
                </a:cubicBezTo>
                <a:cubicBezTo>
                  <a:pt x="846" y="422"/>
                  <a:pt x="823" y="441"/>
                  <a:pt x="792" y="441"/>
                </a:cubicBezTo>
                <a:cubicBezTo>
                  <a:pt x="754" y="441"/>
                  <a:pt x="713" y="424"/>
                  <a:pt x="683" y="406"/>
                </a:cubicBezTo>
                <a:lnTo>
                  <a:pt x="658" y="459"/>
                </a:lnTo>
                <a:cubicBezTo>
                  <a:pt x="701" y="482"/>
                  <a:pt x="745" y="495"/>
                  <a:pt x="786" y="495"/>
                </a:cubicBezTo>
                <a:cubicBezTo>
                  <a:pt x="866" y="495"/>
                  <a:pt x="921" y="449"/>
                  <a:pt x="921" y="382"/>
                </a:cubicBezTo>
                <a:close/>
                <a:moveTo>
                  <a:pt x="596" y="55"/>
                </a:moveTo>
                <a:cubicBezTo>
                  <a:pt x="596" y="27"/>
                  <a:pt x="574" y="6"/>
                  <a:pt x="548" y="6"/>
                </a:cubicBezTo>
                <a:cubicBezTo>
                  <a:pt x="521" y="6"/>
                  <a:pt x="500" y="28"/>
                  <a:pt x="500" y="55"/>
                </a:cubicBezTo>
                <a:cubicBezTo>
                  <a:pt x="500" y="81"/>
                  <a:pt x="521" y="103"/>
                  <a:pt x="547" y="103"/>
                </a:cubicBezTo>
                <a:cubicBezTo>
                  <a:pt x="574" y="103"/>
                  <a:pt x="596" y="81"/>
                  <a:pt x="596" y="55"/>
                </a:cubicBezTo>
                <a:close/>
                <a:moveTo>
                  <a:pt x="584" y="486"/>
                </a:moveTo>
                <a:lnTo>
                  <a:pt x="584" y="144"/>
                </a:lnTo>
                <a:lnTo>
                  <a:pt x="511" y="158"/>
                </a:lnTo>
                <a:lnTo>
                  <a:pt x="511" y="486"/>
                </a:lnTo>
                <a:lnTo>
                  <a:pt x="584" y="486"/>
                </a:lnTo>
                <a:close/>
                <a:moveTo>
                  <a:pt x="447" y="152"/>
                </a:moveTo>
                <a:lnTo>
                  <a:pt x="372" y="152"/>
                </a:lnTo>
                <a:lnTo>
                  <a:pt x="338" y="308"/>
                </a:lnTo>
                <a:cubicBezTo>
                  <a:pt x="329" y="347"/>
                  <a:pt x="321" y="398"/>
                  <a:pt x="321" y="398"/>
                </a:cubicBezTo>
                <a:lnTo>
                  <a:pt x="319" y="398"/>
                </a:lnTo>
                <a:cubicBezTo>
                  <a:pt x="319" y="398"/>
                  <a:pt x="312" y="357"/>
                  <a:pt x="298" y="303"/>
                </a:cubicBezTo>
                <a:lnTo>
                  <a:pt x="261" y="152"/>
                </a:lnTo>
                <a:lnTo>
                  <a:pt x="189" y="152"/>
                </a:lnTo>
                <a:lnTo>
                  <a:pt x="146" y="307"/>
                </a:lnTo>
                <a:cubicBezTo>
                  <a:pt x="134" y="353"/>
                  <a:pt x="127" y="396"/>
                  <a:pt x="127" y="396"/>
                </a:cubicBezTo>
                <a:lnTo>
                  <a:pt x="125" y="396"/>
                </a:lnTo>
                <a:cubicBezTo>
                  <a:pt x="125" y="396"/>
                  <a:pt x="117" y="350"/>
                  <a:pt x="108" y="309"/>
                </a:cubicBezTo>
                <a:lnTo>
                  <a:pt x="72" y="147"/>
                </a:lnTo>
                <a:lnTo>
                  <a:pt x="0" y="157"/>
                </a:lnTo>
                <a:lnTo>
                  <a:pt x="91" y="488"/>
                </a:lnTo>
                <a:lnTo>
                  <a:pt x="159" y="488"/>
                </a:lnTo>
                <a:lnTo>
                  <a:pt x="199" y="337"/>
                </a:lnTo>
                <a:cubicBezTo>
                  <a:pt x="216" y="276"/>
                  <a:pt x="221" y="243"/>
                  <a:pt x="221" y="243"/>
                </a:cubicBezTo>
                <a:lnTo>
                  <a:pt x="222" y="243"/>
                </a:lnTo>
                <a:cubicBezTo>
                  <a:pt x="222" y="243"/>
                  <a:pt x="234" y="294"/>
                  <a:pt x="244" y="334"/>
                </a:cubicBezTo>
                <a:lnTo>
                  <a:pt x="285" y="488"/>
                </a:lnTo>
                <a:lnTo>
                  <a:pt x="353" y="488"/>
                </a:lnTo>
                <a:lnTo>
                  <a:pt x="447" y="152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51382" tIns="25691" rIns="51382" bIns="25691" numCol="1" anchor="t" anchorCtr="0" compatLnSpc="1">
            <a:prstTxWarp prst="textNoShape">
              <a:avLst/>
            </a:prstTxWarp>
          </a:bodyPr>
          <a:lstStyle/>
          <a:p>
            <a:endParaRPr lang="de-DE" sz="1350"/>
          </a:p>
        </p:txBody>
      </p:sp>
      <p:grpSp>
        <p:nvGrpSpPr>
          <p:cNvPr id="37" name="Ecke">
            <a:extLst>
              <a:ext uri="{FF2B5EF4-FFF2-40B4-BE49-F238E27FC236}">
                <a16:creationId xmlns:a16="http://schemas.microsoft.com/office/drawing/2014/main" id="{4F61CB19-1BAF-4DFF-BC6D-CEA481BC04A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812557" y="0"/>
            <a:ext cx="3379443" cy="6858000"/>
            <a:chOff x="1316" y="-660"/>
            <a:chExt cx="2131" cy="4320"/>
          </a:xfrm>
        </p:grpSpPr>
        <p:sp>
          <p:nvSpPr>
            <p:cNvPr id="38" name="Fläche">
              <a:extLst>
                <a:ext uri="{FF2B5EF4-FFF2-40B4-BE49-F238E27FC236}">
                  <a16:creationId xmlns:a16="http://schemas.microsoft.com/office/drawing/2014/main" id="{58FCB60F-A8DD-4F3E-BBF6-B446092A11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16" y="-660"/>
              <a:ext cx="2131" cy="4320"/>
            </a:xfrm>
            <a:custGeom>
              <a:avLst/>
              <a:gdLst>
                <a:gd name="T0" fmla="*/ 9400 w 9400"/>
                <a:gd name="T1" fmla="*/ 0 h 19050"/>
                <a:gd name="T2" fmla="*/ 0 w 9400"/>
                <a:gd name="T3" fmla="*/ 19050 h 19050"/>
                <a:gd name="T4" fmla="*/ 9400 w 9400"/>
                <a:gd name="T5" fmla="*/ 19050 h 19050"/>
                <a:gd name="T6" fmla="*/ 9400 w 9400"/>
                <a:gd name="T7" fmla="*/ 0 h 19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400" h="19050">
                  <a:moveTo>
                    <a:pt x="9400" y="0"/>
                  </a:moveTo>
                  <a:lnTo>
                    <a:pt x="0" y="19050"/>
                  </a:lnTo>
                  <a:lnTo>
                    <a:pt x="9400" y="19050"/>
                  </a:lnTo>
                  <a:lnTo>
                    <a:pt x="9400" y="0"/>
                  </a:ln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 sz="1012"/>
            </a:p>
          </p:txBody>
        </p:sp>
        <p:sp>
          <p:nvSpPr>
            <p:cNvPr id="39" name="FONT">
              <a:extLst>
                <a:ext uri="{FF2B5EF4-FFF2-40B4-BE49-F238E27FC236}">
                  <a16:creationId xmlns:a16="http://schemas.microsoft.com/office/drawing/2014/main" id="{E8774BCC-AA91-4C25-94FF-EE92CF3CE3A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406" y="-479"/>
              <a:ext cx="2041" cy="4139"/>
            </a:xfrm>
            <a:custGeom>
              <a:avLst/>
              <a:gdLst>
                <a:gd name="T0" fmla="*/ 9002 w 9002"/>
                <a:gd name="T1" fmla="*/ 357 h 18254"/>
                <a:gd name="T2" fmla="*/ 906 w 9002"/>
                <a:gd name="T3" fmla="*/ 16229 h 18254"/>
                <a:gd name="T4" fmla="*/ 2239 w 9002"/>
                <a:gd name="T5" fmla="*/ 14589 h 18254"/>
                <a:gd name="T6" fmla="*/ 3365 w 9002"/>
                <a:gd name="T7" fmla="*/ 12300 h 18254"/>
                <a:gd name="T8" fmla="*/ 4050 w 9002"/>
                <a:gd name="T9" fmla="*/ 10908 h 18254"/>
                <a:gd name="T10" fmla="*/ 4678 w 9002"/>
                <a:gd name="T11" fmla="*/ 9535 h 18254"/>
                <a:gd name="T12" fmla="*/ 5641 w 9002"/>
                <a:gd name="T13" fmla="*/ 7561 h 18254"/>
                <a:gd name="T14" fmla="*/ 6238 w 9002"/>
                <a:gd name="T15" fmla="*/ 6461 h 18254"/>
                <a:gd name="T16" fmla="*/ 7029 w 9002"/>
                <a:gd name="T17" fmla="*/ 4855 h 18254"/>
                <a:gd name="T18" fmla="*/ 7419 w 9002"/>
                <a:gd name="T19" fmla="*/ 3133 h 18254"/>
                <a:gd name="T20" fmla="*/ 8803 w 9002"/>
                <a:gd name="T21" fmla="*/ 1078 h 18254"/>
                <a:gd name="T22" fmla="*/ 8728 w 9002"/>
                <a:gd name="T23" fmla="*/ 2142 h 18254"/>
                <a:gd name="T24" fmla="*/ 2062 w 9002"/>
                <a:gd name="T25" fmla="*/ 16564 h 18254"/>
                <a:gd name="T26" fmla="*/ 2461 w 9002"/>
                <a:gd name="T27" fmla="*/ 14687 h 18254"/>
                <a:gd name="T28" fmla="*/ 3518 w 9002"/>
                <a:gd name="T29" fmla="*/ 13239 h 18254"/>
                <a:gd name="T30" fmla="*/ 4944 w 9002"/>
                <a:gd name="T31" fmla="*/ 10647 h 18254"/>
                <a:gd name="T32" fmla="*/ 5586 w 9002"/>
                <a:gd name="T33" fmla="*/ 9227 h 18254"/>
                <a:gd name="T34" fmla="*/ 6125 w 9002"/>
                <a:gd name="T35" fmla="*/ 7589 h 18254"/>
                <a:gd name="T36" fmla="*/ 6868 w 9002"/>
                <a:gd name="T37" fmla="*/ 6017 h 18254"/>
                <a:gd name="T38" fmla="*/ 7654 w 9002"/>
                <a:gd name="T39" fmla="*/ 5212 h 18254"/>
                <a:gd name="T40" fmla="*/ 8238 w 9002"/>
                <a:gd name="T41" fmla="*/ 3137 h 18254"/>
                <a:gd name="T42" fmla="*/ 2173 w 9002"/>
                <a:gd name="T43" fmla="*/ 17188 h 18254"/>
                <a:gd name="T44" fmla="*/ 3279 w 9002"/>
                <a:gd name="T45" fmla="*/ 15781 h 18254"/>
                <a:gd name="T46" fmla="*/ 3545 w 9002"/>
                <a:gd name="T47" fmla="*/ 14500 h 18254"/>
                <a:gd name="T48" fmla="*/ 4723 w 9002"/>
                <a:gd name="T49" fmla="*/ 12890 h 18254"/>
                <a:gd name="T50" fmla="*/ 5595 w 9002"/>
                <a:gd name="T51" fmla="*/ 11220 h 18254"/>
                <a:gd name="T52" fmla="*/ 6528 w 9002"/>
                <a:gd name="T53" fmla="*/ 9189 h 18254"/>
                <a:gd name="T54" fmla="*/ 7202 w 9002"/>
                <a:gd name="T55" fmla="*/ 7179 h 18254"/>
                <a:gd name="T56" fmla="*/ 8023 w 9002"/>
                <a:gd name="T57" fmla="*/ 5298 h 18254"/>
                <a:gd name="T58" fmla="*/ 8797 w 9002"/>
                <a:gd name="T59" fmla="*/ 4434 h 18254"/>
                <a:gd name="T60" fmla="*/ 8821 w 9002"/>
                <a:gd name="T61" fmla="*/ 5411 h 18254"/>
                <a:gd name="T62" fmla="*/ 3561 w 9002"/>
                <a:gd name="T63" fmla="*/ 17003 h 18254"/>
                <a:gd name="T64" fmla="*/ 4387 w 9002"/>
                <a:gd name="T65" fmla="*/ 15116 h 18254"/>
                <a:gd name="T66" fmla="*/ 5272 w 9002"/>
                <a:gd name="T67" fmla="*/ 13232 h 18254"/>
                <a:gd name="T68" fmla="*/ 5825 w 9002"/>
                <a:gd name="T69" fmla="*/ 11492 h 18254"/>
                <a:gd name="T70" fmla="*/ 6451 w 9002"/>
                <a:gd name="T71" fmla="*/ 10468 h 18254"/>
                <a:gd name="T72" fmla="*/ 7035 w 9002"/>
                <a:gd name="T73" fmla="*/ 9133 h 18254"/>
                <a:gd name="T74" fmla="*/ 8329 w 9002"/>
                <a:gd name="T75" fmla="*/ 7390 h 18254"/>
                <a:gd name="T76" fmla="*/ 3579 w 9002"/>
                <a:gd name="T77" fmla="*/ 17782 h 18254"/>
                <a:gd name="T78" fmla="*/ 4870 w 9002"/>
                <a:gd name="T79" fmla="*/ 15446 h 18254"/>
                <a:gd name="T80" fmla="*/ 5550 w 9002"/>
                <a:gd name="T81" fmla="*/ 14081 h 18254"/>
                <a:gd name="T82" fmla="*/ 6566 w 9002"/>
                <a:gd name="T83" fmla="*/ 12611 h 18254"/>
                <a:gd name="T84" fmla="*/ 7519 w 9002"/>
                <a:gd name="T85" fmla="*/ 10679 h 18254"/>
                <a:gd name="T86" fmla="*/ 7704 w 9002"/>
                <a:gd name="T87" fmla="*/ 9498 h 18254"/>
                <a:gd name="T88" fmla="*/ 8504 w 9002"/>
                <a:gd name="T89" fmla="*/ 7774 h 18254"/>
                <a:gd name="T90" fmla="*/ 4565 w 9002"/>
                <a:gd name="T91" fmla="*/ 17623 h 18254"/>
                <a:gd name="T92" fmla="*/ 6006 w 9002"/>
                <a:gd name="T93" fmla="*/ 15562 h 18254"/>
                <a:gd name="T94" fmla="*/ 6311 w 9002"/>
                <a:gd name="T95" fmla="*/ 14432 h 18254"/>
                <a:gd name="T96" fmla="*/ 7213 w 9002"/>
                <a:gd name="T97" fmla="*/ 13329 h 18254"/>
                <a:gd name="T98" fmla="*/ 7814 w 9002"/>
                <a:gd name="T99" fmla="*/ 11324 h 18254"/>
                <a:gd name="T100" fmla="*/ 8423 w 9002"/>
                <a:gd name="T101" fmla="*/ 10161 h 18254"/>
                <a:gd name="T102" fmla="*/ 6000 w 9002"/>
                <a:gd name="T103" fmla="*/ 16515 h 18254"/>
                <a:gd name="T104" fmla="*/ 7055 w 9002"/>
                <a:gd name="T105" fmla="*/ 15156 h 18254"/>
                <a:gd name="T106" fmla="*/ 7556 w 9002"/>
                <a:gd name="T107" fmla="*/ 14068 h 18254"/>
                <a:gd name="T108" fmla="*/ 8506 w 9002"/>
                <a:gd name="T109" fmla="*/ 12028 h 18254"/>
                <a:gd name="T110" fmla="*/ 6203 w 9002"/>
                <a:gd name="T111" fmla="*/ 18169 h 18254"/>
                <a:gd name="T112" fmla="*/ 6705 w 9002"/>
                <a:gd name="T113" fmla="*/ 17310 h 18254"/>
                <a:gd name="T114" fmla="*/ 7589 w 9002"/>
                <a:gd name="T115" fmla="*/ 15425 h 18254"/>
                <a:gd name="T116" fmla="*/ 8143 w 9002"/>
                <a:gd name="T117" fmla="*/ 13685 h 18254"/>
                <a:gd name="T118" fmla="*/ 8894 w 9002"/>
                <a:gd name="T119" fmla="*/ 14320 h 18254"/>
                <a:gd name="T120" fmla="*/ 7916 w 9002"/>
                <a:gd name="T121" fmla="*/ 16724 h 18254"/>
                <a:gd name="T122" fmla="*/ 8631 w 9002"/>
                <a:gd name="T123" fmla="*/ 15405 h 18254"/>
                <a:gd name="T124" fmla="*/ 8486 w 9002"/>
                <a:gd name="T125" fmla="*/ 17234 h 18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002" h="18254">
                  <a:moveTo>
                    <a:pt x="9002" y="17952"/>
                  </a:moveTo>
                  <a:lnTo>
                    <a:pt x="8657" y="17818"/>
                  </a:lnTo>
                  <a:lnTo>
                    <a:pt x="8623" y="17886"/>
                  </a:lnTo>
                  <a:lnTo>
                    <a:pt x="8847" y="18088"/>
                  </a:lnTo>
                  <a:cubicBezTo>
                    <a:pt x="8861" y="18100"/>
                    <a:pt x="8873" y="18110"/>
                    <a:pt x="8884" y="18119"/>
                  </a:cubicBezTo>
                  <a:cubicBezTo>
                    <a:pt x="8896" y="18127"/>
                    <a:pt x="8902" y="18132"/>
                    <a:pt x="8903" y="18133"/>
                  </a:cubicBezTo>
                  <a:cubicBezTo>
                    <a:pt x="8901" y="18133"/>
                    <a:pt x="8893" y="18130"/>
                    <a:pt x="8879" y="18127"/>
                  </a:cubicBezTo>
                  <a:cubicBezTo>
                    <a:pt x="8866" y="18123"/>
                    <a:pt x="8848" y="18119"/>
                    <a:pt x="8828" y="18115"/>
                  </a:cubicBezTo>
                  <a:lnTo>
                    <a:pt x="8538" y="18061"/>
                  </a:lnTo>
                  <a:lnTo>
                    <a:pt x="8504" y="18129"/>
                  </a:lnTo>
                  <a:lnTo>
                    <a:pt x="8710" y="18254"/>
                  </a:lnTo>
                  <a:lnTo>
                    <a:pt x="8804" y="18254"/>
                  </a:lnTo>
                  <a:lnTo>
                    <a:pt x="8633" y="18152"/>
                  </a:lnTo>
                  <a:cubicBezTo>
                    <a:pt x="8627" y="18149"/>
                    <a:pt x="8621" y="18145"/>
                    <a:pt x="8613" y="18141"/>
                  </a:cubicBezTo>
                  <a:cubicBezTo>
                    <a:pt x="8606" y="18136"/>
                    <a:pt x="8598" y="18132"/>
                    <a:pt x="8591" y="18128"/>
                  </a:cubicBezTo>
                  <a:cubicBezTo>
                    <a:pt x="8583" y="18124"/>
                    <a:pt x="8577" y="18120"/>
                    <a:pt x="8571" y="18117"/>
                  </a:cubicBezTo>
                  <a:cubicBezTo>
                    <a:pt x="8567" y="18114"/>
                    <a:pt x="8564" y="18113"/>
                    <a:pt x="8562" y="18112"/>
                  </a:cubicBezTo>
                  <a:cubicBezTo>
                    <a:pt x="8567" y="18113"/>
                    <a:pt x="8576" y="18115"/>
                    <a:pt x="8590" y="18118"/>
                  </a:cubicBezTo>
                  <a:cubicBezTo>
                    <a:pt x="8605" y="18121"/>
                    <a:pt x="8623" y="18124"/>
                    <a:pt x="8645" y="18129"/>
                  </a:cubicBezTo>
                  <a:lnTo>
                    <a:pt x="8961" y="18188"/>
                  </a:lnTo>
                  <a:lnTo>
                    <a:pt x="8980" y="18148"/>
                  </a:lnTo>
                  <a:lnTo>
                    <a:pt x="8730" y="17920"/>
                  </a:lnTo>
                  <a:cubicBezTo>
                    <a:pt x="8724" y="17916"/>
                    <a:pt x="8719" y="17911"/>
                    <a:pt x="8713" y="17906"/>
                  </a:cubicBezTo>
                  <a:cubicBezTo>
                    <a:pt x="8707" y="17901"/>
                    <a:pt x="8702" y="17897"/>
                    <a:pt x="8696" y="17892"/>
                  </a:cubicBezTo>
                  <a:cubicBezTo>
                    <a:pt x="8691" y="17887"/>
                    <a:pt x="8687" y="17884"/>
                    <a:pt x="8683" y="17881"/>
                  </a:cubicBezTo>
                  <a:cubicBezTo>
                    <a:pt x="8679" y="17878"/>
                    <a:pt x="8677" y="17876"/>
                    <a:pt x="8676" y="17875"/>
                  </a:cubicBezTo>
                  <a:cubicBezTo>
                    <a:pt x="8677" y="17875"/>
                    <a:pt x="8680" y="17877"/>
                    <a:pt x="8684" y="17879"/>
                  </a:cubicBezTo>
                  <a:cubicBezTo>
                    <a:pt x="8689" y="17881"/>
                    <a:pt x="8695" y="17883"/>
                    <a:pt x="8702" y="17886"/>
                  </a:cubicBezTo>
                  <a:cubicBezTo>
                    <a:pt x="8708" y="17889"/>
                    <a:pt x="8715" y="17893"/>
                    <a:pt x="8723" y="17896"/>
                  </a:cubicBezTo>
                  <a:cubicBezTo>
                    <a:pt x="8731" y="17899"/>
                    <a:pt x="8738" y="17902"/>
                    <a:pt x="8744" y="17905"/>
                  </a:cubicBezTo>
                  <a:lnTo>
                    <a:pt x="9002" y="18007"/>
                  </a:lnTo>
                  <a:lnTo>
                    <a:pt x="9002" y="17952"/>
                  </a:lnTo>
                  <a:close/>
                  <a:moveTo>
                    <a:pt x="217" y="17712"/>
                  </a:moveTo>
                  <a:lnTo>
                    <a:pt x="194" y="17759"/>
                  </a:lnTo>
                  <a:lnTo>
                    <a:pt x="396" y="17919"/>
                  </a:lnTo>
                  <a:cubicBezTo>
                    <a:pt x="409" y="17929"/>
                    <a:pt x="422" y="17939"/>
                    <a:pt x="435" y="17949"/>
                  </a:cubicBezTo>
                  <a:cubicBezTo>
                    <a:pt x="448" y="17959"/>
                    <a:pt x="459" y="17967"/>
                    <a:pt x="469" y="17975"/>
                  </a:cubicBezTo>
                  <a:cubicBezTo>
                    <a:pt x="480" y="17982"/>
                    <a:pt x="488" y="17988"/>
                    <a:pt x="494" y="17993"/>
                  </a:cubicBezTo>
                  <a:cubicBezTo>
                    <a:pt x="500" y="17997"/>
                    <a:pt x="503" y="17999"/>
                    <a:pt x="504" y="18000"/>
                  </a:cubicBezTo>
                  <a:cubicBezTo>
                    <a:pt x="503" y="18000"/>
                    <a:pt x="500" y="17999"/>
                    <a:pt x="495" y="17998"/>
                  </a:cubicBezTo>
                  <a:cubicBezTo>
                    <a:pt x="489" y="17996"/>
                    <a:pt x="481" y="17993"/>
                    <a:pt x="471" y="17990"/>
                  </a:cubicBezTo>
                  <a:cubicBezTo>
                    <a:pt x="460" y="17988"/>
                    <a:pt x="449" y="17984"/>
                    <a:pt x="435" y="17981"/>
                  </a:cubicBezTo>
                  <a:cubicBezTo>
                    <a:pt x="422" y="17977"/>
                    <a:pt x="407" y="17974"/>
                    <a:pt x="391" y="17970"/>
                  </a:cubicBezTo>
                  <a:lnTo>
                    <a:pt x="122" y="17904"/>
                  </a:lnTo>
                  <a:lnTo>
                    <a:pt x="96" y="17957"/>
                  </a:lnTo>
                  <a:lnTo>
                    <a:pt x="305" y="18124"/>
                  </a:lnTo>
                  <a:cubicBezTo>
                    <a:pt x="315" y="18132"/>
                    <a:pt x="325" y="18140"/>
                    <a:pt x="337" y="18149"/>
                  </a:cubicBezTo>
                  <a:cubicBezTo>
                    <a:pt x="349" y="18158"/>
                    <a:pt x="359" y="18167"/>
                    <a:pt x="369" y="18174"/>
                  </a:cubicBezTo>
                  <a:cubicBezTo>
                    <a:pt x="379" y="18182"/>
                    <a:pt x="388" y="18188"/>
                    <a:pt x="395" y="18193"/>
                  </a:cubicBezTo>
                  <a:cubicBezTo>
                    <a:pt x="402" y="18199"/>
                    <a:pt x="406" y="18202"/>
                    <a:pt x="407" y="18202"/>
                  </a:cubicBezTo>
                  <a:cubicBezTo>
                    <a:pt x="405" y="18202"/>
                    <a:pt x="400" y="18200"/>
                    <a:pt x="391" y="18197"/>
                  </a:cubicBezTo>
                  <a:cubicBezTo>
                    <a:pt x="383" y="18195"/>
                    <a:pt x="372" y="18191"/>
                    <a:pt x="360" y="18188"/>
                  </a:cubicBezTo>
                  <a:cubicBezTo>
                    <a:pt x="348" y="18184"/>
                    <a:pt x="334" y="18180"/>
                    <a:pt x="320" y="18176"/>
                  </a:cubicBezTo>
                  <a:cubicBezTo>
                    <a:pt x="305" y="18172"/>
                    <a:pt x="291" y="18168"/>
                    <a:pt x="278" y="18165"/>
                  </a:cubicBezTo>
                  <a:lnTo>
                    <a:pt x="25" y="18102"/>
                  </a:lnTo>
                  <a:lnTo>
                    <a:pt x="0" y="18152"/>
                  </a:lnTo>
                  <a:lnTo>
                    <a:pt x="436" y="18252"/>
                  </a:lnTo>
                  <a:lnTo>
                    <a:pt x="466" y="18192"/>
                  </a:lnTo>
                  <a:lnTo>
                    <a:pt x="269" y="18035"/>
                  </a:lnTo>
                  <a:cubicBezTo>
                    <a:pt x="258" y="18026"/>
                    <a:pt x="246" y="18018"/>
                    <a:pt x="235" y="18009"/>
                  </a:cubicBezTo>
                  <a:cubicBezTo>
                    <a:pt x="224" y="18000"/>
                    <a:pt x="214" y="17993"/>
                    <a:pt x="205" y="17986"/>
                  </a:cubicBezTo>
                  <a:cubicBezTo>
                    <a:pt x="196" y="17980"/>
                    <a:pt x="188" y="17975"/>
                    <a:pt x="183" y="17970"/>
                  </a:cubicBezTo>
                  <a:cubicBezTo>
                    <a:pt x="177" y="17966"/>
                    <a:pt x="173" y="17964"/>
                    <a:pt x="172" y="17963"/>
                  </a:cubicBezTo>
                  <a:cubicBezTo>
                    <a:pt x="174" y="17964"/>
                    <a:pt x="178" y="17965"/>
                    <a:pt x="185" y="17967"/>
                  </a:cubicBezTo>
                  <a:cubicBezTo>
                    <a:pt x="192" y="17969"/>
                    <a:pt x="200" y="17971"/>
                    <a:pt x="211" y="17975"/>
                  </a:cubicBezTo>
                  <a:cubicBezTo>
                    <a:pt x="222" y="17978"/>
                    <a:pt x="234" y="17981"/>
                    <a:pt x="248" y="17985"/>
                  </a:cubicBezTo>
                  <a:cubicBezTo>
                    <a:pt x="262" y="17989"/>
                    <a:pt x="277" y="17993"/>
                    <a:pt x="292" y="17997"/>
                  </a:cubicBezTo>
                  <a:lnTo>
                    <a:pt x="533" y="18055"/>
                  </a:lnTo>
                  <a:lnTo>
                    <a:pt x="563" y="17994"/>
                  </a:lnTo>
                  <a:lnTo>
                    <a:pt x="217" y="17712"/>
                  </a:lnTo>
                  <a:close/>
                  <a:moveTo>
                    <a:pt x="9002" y="782"/>
                  </a:moveTo>
                  <a:lnTo>
                    <a:pt x="9002" y="727"/>
                  </a:lnTo>
                  <a:cubicBezTo>
                    <a:pt x="8996" y="730"/>
                    <a:pt x="8990" y="733"/>
                    <a:pt x="8984" y="734"/>
                  </a:cubicBezTo>
                  <a:cubicBezTo>
                    <a:pt x="8978" y="735"/>
                    <a:pt x="8972" y="736"/>
                    <a:pt x="8967" y="736"/>
                  </a:cubicBezTo>
                  <a:cubicBezTo>
                    <a:pt x="8960" y="736"/>
                    <a:pt x="8950" y="733"/>
                    <a:pt x="8939" y="729"/>
                  </a:cubicBezTo>
                  <a:cubicBezTo>
                    <a:pt x="8928" y="724"/>
                    <a:pt x="8917" y="720"/>
                    <a:pt x="8907" y="715"/>
                  </a:cubicBezTo>
                  <a:lnTo>
                    <a:pt x="8644" y="585"/>
                  </a:lnTo>
                  <a:lnTo>
                    <a:pt x="8621" y="632"/>
                  </a:lnTo>
                  <a:lnTo>
                    <a:pt x="8902" y="769"/>
                  </a:lnTo>
                  <a:cubicBezTo>
                    <a:pt x="8910" y="774"/>
                    <a:pt x="8921" y="778"/>
                    <a:pt x="8932" y="783"/>
                  </a:cubicBezTo>
                  <a:cubicBezTo>
                    <a:pt x="8944" y="787"/>
                    <a:pt x="8956" y="789"/>
                    <a:pt x="8968" y="788"/>
                  </a:cubicBezTo>
                  <a:cubicBezTo>
                    <a:pt x="8980" y="788"/>
                    <a:pt x="8992" y="786"/>
                    <a:pt x="9002" y="782"/>
                  </a:cubicBezTo>
                  <a:close/>
                  <a:moveTo>
                    <a:pt x="9002" y="554"/>
                  </a:moveTo>
                  <a:lnTo>
                    <a:pt x="9002" y="497"/>
                  </a:lnTo>
                  <a:lnTo>
                    <a:pt x="8749" y="372"/>
                  </a:lnTo>
                  <a:lnTo>
                    <a:pt x="8726" y="418"/>
                  </a:lnTo>
                  <a:lnTo>
                    <a:pt x="8998" y="552"/>
                  </a:lnTo>
                  <a:lnTo>
                    <a:pt x="9002" y="554"/>
                  </a:lnTo>
                  <a:close/>
                  <a:moveTo>
                    <a:pt x="9002" y="357"/>
                  </a:moveTo>
                  <a:lnTo>
                    <a:pt x="9002" y="299"/>
                  </a:lnTo>
                  <a:lnTo>
                    <a:pt x="8991" y="294"/>
                  </a:lnTo>
                  <a:cubicBezTo>
                    <a:pt x="8980" y="289"/>
                    <a:pt x="8968" y="283"/>
                    <a:pt x="8957" y="278"/>
                  </a:cubicBezTo>
                  <a:cubicBezTo>
                    <a:pt x="8945" y="273"/>
                    <a:pt x="8934" y="269"/>
                    <a:pt x="8924" y="264"/>
                  </a:cubicBezTo>
                  <a:cubicBezTo>
                    <a:pt x="8914" y="260"/>
                    <a:pt x="8905" y="256"/>
                    <a:pt x="8898" y="253"/>
                  </a:cubicBezTo>
                  <a:cubicBezTo>
                    <a:pt x="8891" y="250"/>
                    <a:pt x="8886" y="248"/>
                    <a:pt x="8883" y="247"/>
                  </a:cubicBezTo>
                  <a:cubicBezTo>
                    <a:pt x="8887" y="248"/>
                    <a:pt x="8892" y="248"/>
                    <a:pt x="8900" y="248"/>
                  </a:cubicBezTo>
                  <a:cubicBezTo>
                    <a:pt x="8907" y="249"/>
                    <a:pt x="8916" y="249"/>
                    <a:pt x="8926" y="249"/>
                  </a:cubicBezTo>
                  <a:cubicBezTo>
                    <a:pt x="8936" y="249"/>
                    <a:pt x="8947" y="249"/>
                    <a:pt x="8959" y="249"/>
                  </a:cubicBezTo>
                  <a:cubicBezTo>
                    <a:pt x="8972" y="249"/>
                    <a:pt x="8984" y="249"/>
                    <a:pt x="8998" y="249"/>
                  </a:cubicBezTo>
                  <a:lnTo>
                    <a:pt x="9002" y="249"/>
                  </a:lnTo>
                  <a:lnTo>
                    <a:pt x="9002" y="202"/>
                  </a:lnTo>
                  <a:lnTo>
                    <a:pt x="8831" y="205"/>
                  </a:lnTo>
                  <a:lnTo>
                    <a:pt x="8804" y="260"/>
                  </a:lnTo>
                  <a:lnTo>
                    <a:pt x="9002" y="357"/>
                  </a:lnTo>
                  <a:close/>
                  <a:moveTo>
                    <a:pt x="9002" y="91"/>
                  </a:moveTo>
                  <a:lnTo>
                    <a:pt x="9002" y="34"/>
                  </a:lnTo>
                  <a:lnTo>
                    <a:pt x="8932" y="0"/>
                  </a:lnTo>
                  <a:lnTo>
                    <a:pt x="8909" y="46"/>
                  </a:lnTo>
                  <a:lnTo>
                    <a:pt x="9002" y="91"/>
                  </a:lnTo>
                  <a:close/>
                  <a:moveTo>
                    <a:pt x="754" y="17607"/>
                  </a:moveTo>
                  <a:lnTo>
                    <a:pt x="714" y="17587"/>
                  </a:lnTo>
                  <a:lnTo>
                    <a:pt x="629" y="17759"/>
                  </a:lnTo>
                  <a:lnTo>
                    <a:pt x="486" y="17689"/>
                  </a:lnTo>
                  <a:lnTo>
                    <a:pt x="552" y="17555"/>
                  </a:lnTo>
                  <a:lnTo>
                    <a:pt x="511" y="17535"/>
                  </a:lnTo>
                  <a:lnTo>
                    <a:pt x="445" y="17669"/>
                  </a:lnTo>
                  <a:lnTo>
                    <a:pt x="317" y="17606"/>
                  </a:lnTo>
                  <a:lnTo>
                    <a:pt x="396" y="17445"/>
                  </a:lnTo>
                  <a:lnTo>
                    <a:pt x="360" y="17420"/>
                  </a:lnTo>
                  <a:lnTo>
                    <a:pt x="255" y="17634"/>
                  </a:lnTo>
                  <a:lnTo>
                    <a:pt x="646" y="17826"/>
                  </a:lnTo>
                  <a:lnTo>
                    <a:pt x="754" y="17607"/>
                  </a:lnTo>
                  <a:close/>
                  <a:moveTo>
                    <a:pt x="770" y="17203"/>
                  </a:moveTo>
                  <a:cubicBezTo>
                    <a:pt x="755" y="17201"/>
                    <a:pt x="742" y="17202"/>
                    <a:pt x="728" y="17205"/>
                  </a:cubicBezTo>
                  <a:cubicBezTo>
                    <a:pt x="715" y="17209"/>
                    <a:pt x="703" y="17214"/>
                    <a:pt x="693" y="17222"/>
                  </a:cubicBezTo>
                  <a:cubicBezTo>
                    <a:pt x="682" y="17229"/>
                    <a:pt x="669" y="17240"/>
                    <a:pt x="655" y="17255"/>
                  </a:cubicBezTo>
                  <a:lnTo>
                    <a:pt x="619" y="17293"/>
                  </a:lnTo>
                  <a:cubicBezTo>
                    <a:pt x="600" y="17313"/>
                    <a:pt x="583" y="17325"/>
                    <a:pt x="569" y="17330"/>
                  </a:cubicBezTo>
                  <a:cubicBezTo>
                    <a:pt x="554" y="17336"/>
                    <a:pt x="539" y="17334"/>
                    <a:pt x="523" y="17327"/>
                  </a:cubicBezTo>
                  <a:cubicBezTo>
                    <a:pt x="503" y="17317"/>
                    <a:pt x="491" y="17302"/>
                    <a:pt x="486" y="17283"/>
                  </a:cubicBezTo>
                  <a:cubicBezTo>
                    <a:pt x="481" y="17264"/>
                    <a:pt x="485" y="17242"/>
                    <a:pt x="497" y="17217"/>
                  </a:cubicBezTo>
                  <a:cubicBezTo>
                    <a:pt x="501" y="17209"/>
                    <a:pt x="506" y="17201"/>
                    <a:pt x="510" y="17194"/>
                  </a:cubicBezTo>
                  <a:cubicBezTo>
                    <a:pt x="515" y="17187"/>
                    <a:pt x="521" y="17181"/>
                    <a:pt x="527" y="17175"/>
                  </a:cubicBezTo>
                  <a:cubicBezTo>
                    <a:pt x="533" y="17169"/>
                    <a:pt x="541" y="17163"/>
                    <a:pt x="549" y="17157"/>
                  </a:cubicBezTo>
                  <a:cubicBezTo>
                    <a:pt x="557" y="17151"/>
                    <a:pt x="566" y="17145"/>
                    <a:pt x="577" y="17138"/>
                  </a:cubicBezTo>
                  <a:lnTo>
                    <a:pt x="553" y="17101"/>
                  </a:lnTo>
                  <a:cubicBezTo>
                    <a:pt x="510" y="17126"/>
                    <a:pt x="478" y="17159"/>
                    <a:pt x="458" y="17200"/>
                  </a:cubicBezTo>
                  <a:cubicBezTo>
                    <a:pt x="448" y="17219"/>
                    <a:pt x="443" y="17238"/>
                    <a:pt x="441" y="17256"/>
                  </a:cubicBezTo>
                  <a:cubicBezTo>
                    <a:pt x="438" y="17275"/>
                    <a:pt x="440" y="17292"/>
                    <a:pt x="444" y="17308"/>
                  </a:cubicBezTo>
                  <a:cubicBezTo>
                    <a:pt x="448" y="17323"/>
                    <a:pt x="456" y="17338"/>
                    <a:pt x="467" y="17351"/>
                  </a:cubicBezTo>
                  <a:cubicBezTo>
                    <a:pt x="477" y="17363"/>
                    <a:pt x="491" y="17374"/>
                    <a:pt x="508" y="17382"/>
                  </a:cubicBezTo>
                  <a:cubicBezTo>
                    <a:pt x="533" y="17394"/>
                    <a:pt x="558" y="17397"/>
                    <a:pt x="584" y="17389"/>
                  </a:cubicBezTo>
                  <a:cubicBezTo>
                    <a:pt x="595" y="17385"/>
                    <a:pt x="606" y="17380"/>
                    <a:pt x="616" y="17371"/>
                  </a:cubicBezTo>
                  <a:cubicBezTo>
                    <a:pt x="626" y="17363"/>
                    <a:pt x="639" y="17352"/>
                    <a:pt x="653" y="17337"/>
                  </a:cubicBezTo>
                  <a:lnTo>
                    <a:pt x="684" y="17303"/>
                  </a:lnTo>
                  <a:cubicBezTo>
                    <a:pt x="721" y="17263"/>
                    <a:pt x="757" y="17252"/>
                    <a:pt x="791" y="17269"/>
                  </a:cubicBezTo>
                  <a:cubicBezTo>
                    <a:pt x="815" y="17280"/>
                    <a:pt x="829" y="17299"/>
                    <a:pt x="833" y="17324"/>
                  </a:cubicBezTo>
                  <a:cubicBezTo>
                    <a:pt x="836" y="17336"/>
                    <a:pt x="836" y="17347"/>
                    <a:pt x="834" y="17357"/>
                  </a:cubicBezTo>
                  <a:cubicBezTo>
                    <a:pt x="832" y="17367"/>
                    <a:pt x="827" y="17380"/>
                    <a:pt x="820" y="17395"/>
                  </a:cubicBezTo>
                  <a:cubicBezTo>
                    <a:pt x="810" y="17415"/>
                    <a:pt x="799" y="17432"/>
                    <a:pt x="785" y="17446"/>
                  </a:cubicBezTo>
                  <a:cubicBezTo>
                    <a:pt x="771" y="17460"/>
                    <a:pt x="755" y="17473"/>
                    <a:pt x="735" y="17483"/>
                  </a:cubicBezTo>
                  <a:lnTo>
                    <a:pt x="761" y="17522"/>
                  </a:lnTo>
                  <a:cubicBezTo>
                    <a:pt x="783" y="17508"/>
                    <a:pt x="802" y="17493"/>
                    <a:pt x="817" y="17475"/>
                  </a:cubicBezTo>
                  <a:cubicBezTo>
                    <a:pt x="833" y="17458"/>
                    <a:pt x="847" y="17437"/>
                    <a:pt x="858" y="17414"/>
                  </a:cubicBezTo>
                  <a:cubicBezTo>
                    <a:pt x="867" y="17395"/>
                    <a:pt x="873" y="17379"/>
                    <a:pt x="876" y="17363"/>
                  </a:cubicBezTo>
                  <a:cubicBezTo>
                    <a:pt x="879" y="17347"/>
                    <a:pt x="879" y="17331"/>
                    <a:pt x="877" y="17314"/>
                  </a:cubicBezTo>
                  <a:cubicBezTo>
                    <a:pt x="875" y="17291"/>
                    <a:pt x="868" y="17271"/>
                    <a:pt x="856" y="17253"/>
                  </a:cubicBezTo>
                  <a:cubicBezTo>
                    <a:pt x="843" y="17236"/>
                    <a:pt x="828" y="17223"/>
                    <a:pt x="810" y="17214"/>
                  </a:cubicBezTo>
                  <a:cubicBezTo>
                    <a:pt x="798" y="17208"/>
                    <a:pt x="784" y="17204"/>
                    <a:pt x="770" y="17203"/>
                  </a:cubicBezTo>
                  <a:close/>
                  <a:moveTo>
                    <a:pt x="687" y="16756"/>
                  </a:moveTo>
                  <a:lnTo>
                    <a:pt x="560" y="17014"/>
                  </a:lnTo>
                  <a:lnTo>
                    <a:pt x="599" y="17034"/>
                  </a:lnTo>
                  <a:lnTo>
                    <a:pt x="651" y="16929"/>
                  </a:lnTo>
                  <a:lnTo>
                    <a:pt x="1002" y="17102"/>
                  </a:lnTo>
                  <a:lnTo>
                    <a:pt x="1025" y="17057"/>
                  </a:lnTo>
                  <a:lnTo>
                    <a:pt x="673" y="16884"/>
                  </a:lnTo>
                  <a:lnTo>
                    <a:pt x="725" y="16778"/>
                  </a:lnTo>
                  <a:lnTo>
                    <a:pt x="687" y="16756"/>
                  </a:lnTo>
                  <a:close/>
                  <a:moveTo>
                    <a:pt x="821" y="16483"/>
                  </a:moveTo>
                  <a:lnTo>
                    <a:pt x="720" y="16689"/>
                  </a:lnTo>
                  <a:lnTo>
                    <a:pt x="1111" y="16881"/>
                  </a:lnTo>
                  <a:lnTo>
                    <a:pt x="1134" y="16834"/>
                  </a:lnTo>
                  <a:lnTo>
                    <a:pt x="949" y="16742"/>
                  </a:lnTo>
                  <a:lnTo>
                    <a:pt x="1010" y="16617"/>
                  </a:lnTo>
                  <a:lnTo>
                    <a:pt x="972" y="16598"/>
                  </a:lnTo>
                  <a:lnTo>
                    <a:pt x="910" y="16723"/>
                  </a:lnTo>
                  <a:lnTo>
                    <a:pt x="782" y="16660"/>
                  </a:lnTo>
                  <a:lnTo>
                    <a:pt x="857" y="16509"/>
                  </a:lnTo>
                  <a:lnTo>
                    <a:pt x="821" y="16483"/>
                  </a:lnTo>
                  <a:close/>
                  <a:moveTo>
                    <a:pt x="1369" y="16358"/>
                  </a:moveTo>
                  <a:lnTo>
                    <a:pt x="914" y="16295"/>
                  </a:lnTo>
                  <a:lnTo>
                    <a:pt x="884" y="16356"/>
                  </a:lnTo>
                  <a:lnTo>
                    <a:pt x="1211" y="16678"/>
                  </a:lnTo>
                  <a:lnTo>
                    <a:pt x="1234" y="16631"/>
                  </a:lnTo>
                  <a:lnTo>
                    <a:pt x="1132" y="16534"/>
                  </a:lnTo>
                  <a:lnTo>
                    <a:pt x="1204" y="16388"/>
                  </a:lnTo>
                  <a:lnTo>
                    <a:pt x="1343" y="16411"/>
                  </a:lnTo>
                  <a:lnTo>
                    <a:pt x="1369" y="16358"/>
                  </a:lnTo>
                  <a:close/>
                  <a:moveTo>
                    <a:pt x="1160" y="16382"/>
                  </a:moveTo>
                  <a:lnTo>
                    <a:pt x="1100" y="16503"/>
                  </a:lnTo>
                  <a:lnTo>
                    <a:pt x="939" y="16347"/>
                  </a:lnTo>
                  <a:lnTo>
                    <a:pt x="1160" y="16382"/>
                  </a:lnTo>
                  <a:close/>
                  <a:moveTo>
                    <a:pt x="806" y="16326"/>
                  </a:moveTo>
                  <a:cubicBezTo>
                    <a:pt x="798" y="16329"/>
                    <a:pt x="791" y="16334"/>
                    <a:pt x="787" y="16343"/>
                  </a:cubicBezTo>
                  <a:cubicBezTo>
                    <a:pt x="783" y="16350"/>
                    <a:pt x="783" y="16359"/>
                    <a:pt x="786" y="16367"/>
                  </a:cubicBezTo>
                  <a:cubicBezTo>
                    <a:pt x="789" y="16376"/>
                    <a:pt x="794" y="16382"/>
                    <a:pt x="802" y="16386"/>
                  </a:cubicBezTo>
                  <a:cubicBezTo>
                    <a:pt x="810" y="16390"/>
                    <a:pt x="819" y="16391"/>
                    <a:pt x="828" y="16388"/>
                  </a:cubicBezTo>
                  <a:cubicBezTo>
                    <a:pt x="836" y="16385"/>
                    <a:pt x="843" y="16379"/>
                    <a:pt x="847" y="16371"/>
                  </a:cubicBezTo>
                  <a:cubicBezTo>
                    <a:pt x="851" y="16363"/>
                    <a:pt x="851" y="16354"/>
                    <a:pt x="848" y="16346"/>
                  </a:cubicBezTo>
                  <a:cubicBezTo>
                    <a:pt x="845" y="16338"/>
                    <a:pt x="839" y="16331"/>
                    <a:pt x="831" y="16327"/>
                  </a:cubicBezTo>
                  <a:cubicBezTo>
                    <a:pt x="823" y="16323"/>
                    <a:pt x="815" y="16323"/>
                    <a:pt x="806" y="16326"/>
                  </a:cubicBezTo>
                  <a:close/>
                  <a:moveTo>
                    <a:pt x="864" y="16208"/>
                  </a:moveTo>
                  <a:cubicBezTo>
                    <a:pt x="855" y="16211"/>
                    <a:pt x="849" y="16217"/>
                    <a:pt x="845" y="16225"/>
                  </a:cubicBezTo>
                  <a:cubicBezTo>
                    <a:pt x="841" y="16233"/>
                    <a:pt x="841" y="16241"/>
                    <a:pt x="843" y="16250"/>
                  </a:cubicBezTo>
                  <a:cubicBezTo>
                    <a:pt x="846" y="16258"/>
                    <a:pt x="852" y="16265"/>
                    <a:pt x="860" y="16269"/>
                  </a:cubicBezTo>
                  <a:cubicBezTo>
                    <a:pt x="868" y="16273"/>
                    <a:pt x="877" y="16273"/>
                    <a:pt x="885" y="16270"/>
                  </a:cubicBezTo>
                  <a:cubicBezTo>
                    <a:pt x="894" y="16268"/>
                    <a:pt x="900" y="16262"/>
                    <a:pt x="904" y="16254"/>
                  </a:cubicBezTo>
                  <a:cubicBezTo>
                    <a:pt x="909" y="16245"/>
                    <a:pt x="909" y="16237"/>
                    <a:pt x="906" y="16229"/>
                  </a:cubicBezTo>
                  <a:cubicBezTo>
                    <a:pt x="903" y="16220"/>
                    <a:pt x="897" y="16214"/>
                    <a:pt x="889" y="16210"/>
                  </a:cubicBezTo>
                  <a:cubicBezTo>
                    <a:pt x="881" y="16206"/>
                    <a:pt x="872" y="16205"/>
                    <a:pt x="864" y="16208"/>
                  </a:cubicBezTo>
                  <a:close/>
                  <a:moveTo>
                    <a:pt x="1465" y="16063"/>
                  </a:moveTo>
                  <a:lnTo>
                    <a:pt x="1389" y="16218"/>
                  </a:lnTo>
                  <a:lnTo>
                    <a:pt x="1037" y="16045"/>
                  </a:lnTo>
                  <a:lnTo>
                    <a:pt x="1014" y="16091"/>
                  </a:lnTo>
                  <a:lnTo>
                    <a:pt x="1405" y="16284"/>
                  </a:lnTo>
                  <a:lnTo>
                    <a:pt x="1501" y="16089"/>
                  </a:lnTo>
                  <a:lnTo>
                    <a:pt x="1465" y="16063"/>
                  </a:lnTo>
                  <a:close/>
                  <a:moveTo>
                    <a:pt x="1563" y="15962"/>
                  </a:moveTo>
                  <a:lnTo>
                    <a:pt x="1173" y="15769"/>
                  </a:lnTo>
                  <a:lnTo>
                    <a:pt x="1150" y="15815"/>
                  </a:lnTo>
                  <a:lnTo>
                    <a:pt x="1541" y="16007"/>
                  </a:lnTo>
                  <a:lnTo>
                    <a:pt x="1563" y="15962"/>
                  </a:lnTo>
                  <a:close/>
                  <a:moveTo>
                    <a:pt x="1588" y="15541"/>
                  </a:moveTo>
                  <a:cubicBezTo>
                    <a:pt x="1573" y="15539"/>
                    <a:pt x="1559" y="15540"/>
                    <a:pt x="1546" y="15544"/>
                  </a:cubicBezTo>
                  <a:cubicBezTo>
                    <a:pt x="1533" y="15547"/>
                    <a:pt x="1521" y="15553"/>
                    <a:pt x="1510" y="15560"/>
                  </a:cubicBezTo>
                  <a:cubicBezTo>
                    <a:pt x="1499" y="15567"/>
                    <a:pt x="1487" y="15579"/>
                    <a:pt x="1473" y="15593"/>
                  </a:cubicBezTo>
                  <a:lnTo>
                    <a:pt x="1436" y="15631"/>
                  </a:lnTo>
                  <a:cubicBezTo>
                    <a:pt x="1417" y="15651"/>
                    <a:pt x="1401" y="15663"/>
                    <a:pt x="1386" y="15669"/>
                  </a:cubicBezTo>
                  <a:cubicBezTo>
                    <a:pt x="1372" y="15674"/>
                    <a:pt x="1357" y="15673"/>
                    <a:pt x="1341" y="15665"/>
                  </a:cubicBezTo>
                  <a:cubicBezTo>
                    <a:pt x="1321" y="15655"/>
                    <a:pt x="1308" y="15640"/>
                    <a:pt x="1304" y="15621"/>
                  </a:cubicBezTo>
                  <a:cubicBezTo>
                    <a:pt x="1299" y="15602"/>
                    <a:pt x="1303" y="15580"/>
                    <a:pt x="1315" y="15555"/>
                  </a:cubicBezTo>
                  <a:cubicBezTo>
                    <a:pt x="1319" y="15547"/>
                    <a:pt x="1323" y="15539"/>
                    <a:pt x="1328" y="15532"/>
                  </a:cubicBezTo>
                  <a:cubicBezTo>
                    <a:pt x="1333" y="15526"/>
                    <a:pt x="1338" y="15519"/>
                    <a:pt x="1345" y="15513"/>
                  </a:cubicBezTo>
                  <a:cubicBezTo>
                    <a:pt x="1351" y="15507"/>
                    <a:pt x="1358" y="15501"/>
                    <a:pt x="1366" y="15495"/>
                  </a:cubicBezTo>
                  <a:cubicBezTo>
                    <a:pt x="1374" y="15489"/>
                    <a:pt x="1384" y="15483"/>
                    <a:pt x="1395" y="15476"/>
                  </a:cubicBezTo>
                  <a:lnTo>
                    <a:pt x="1371" y="15439"/>
                  </a:lnTo>
                  <a:cubicBezTo>
                    <a:pt x="1328" y="15464"/>
                    <a:pt x="1296" y="15497"/>
                    <a:pt x="1275" y="15539"/>
                  </a:cubicBezTo>
                  <a:cubicBezTo>
                    <a:pt x="1266" y="15558"/>
                    <a:pt x="1260" y="15576"/>
                    <a:pt x="1258" y="15595"/>
                  </a:cubicBezTo>
                  <a:cubicBezTo>
                    <a:pt x="1256" y="15613"/>
                    <a:pt x="1257" y="15630"/>
                    <a:pt x="1262" y="15646"/>
                  </a:cubicBezTo>
                  <a:cubicBezTo>
                    <a:pt x="1266" y="15662"/>
                    <a:pt x="1274" y="15676"/>
                    <a:pt x="1284" y="15689"/>
                  </a:cubicBezTo>
                  <a:cubicBezTo>
                    <a:pt x="1295" y="15702"/>
                    <a:pt x="1309" y="15712"/>
                    <a:pt x="1325" y="15720"/>
                  </a:cubicBezTo>
                  <a:cubicBezTo>
                    <a:pt x="1351" y="15733"/>
                    <a:pt x="1376" y="15735"/>
                    <a:pt x="1401" y="15727"/>
                  </a:cubicBezTo>
                  <a:cubicBezTo>
                    <a:pt x="1413" y="15724"/>
                    <a:pt x="1424" y="15718"/>
                    <a:pt x="1434" y="15710"/>
                  </a:cubicBezTo>
                  <a:cubicBezTo>
                    <a:pt x="1444" y="15702"/>
                    <a:pt x="1456" y="15690"/>
                    <a:pt x="1470" y="15675"/>
                  </a:cubicBezTo>
                  <a:lnTo>
                    <a:pt x="1502" y="15641"/>
                  </a:lnTo>
                  <a:cubicBezTo>
                    <a:pt x="1539" y="15602"/>
                    <a:pt x="1574" y="15590"/>
                    <a:pt x="1609" y="15607"/>
                  </a:cubicBezTo>
                  <a:cubicBezTo>
                    <a:pt x="1632" y="15619"/>
                    <a:pt x="1646" y="15637"/>
                    <a:pt x="1651" y="15663"/>
                  </a:cubicBezTo>
                  <a:cubicBezTo>
                    <a:pt x="1653" y="15674"/>
                    <a:pt x="1654" y="15685"/>
                    <a:pt x="1652" y="15695"/>
                  </a:cubicBezTo>
                  <a:cubicBezTo>
                    <a:pt x="1650" y="15706"/>
                    <a:pt x="1645" y="15718"/>
                    <a:pt x="1638" y="15733"/>
                  </a:cubicBezTo>
                  <a:cubicBezTo>
                    <a:pt x="1628" y="15753"/>
                    <a:pt x="1616" y="15770"/>
                    <a:pt x="1603" y="15784"/>
                  </a:cubicBezTo>
                  <a:cubicBezTo>
                    <a:pt x="1589" y="15799"/>
                    <a:pt x="1572" y="15811"/>
                    <a:pt x="1552" y="15821"/>
                  </a:cubicBezTo>
                  <a:lnTo>
                    <a:pt x="1579" y="15860"/>
                  </a:lnTo>
                  <a:cubicBezTo>
                    <a:pt x="1600" y="15847"/>
                    <a:pt x="1619" y="15831"/>
                    <a:pt x="1635" y="15814"/>
                  </a:cubicBezTo>
                  <a:cubicBezTo>
                    <a:pt x="1651" y="15796"/>
                    <a:pt x="1664" y="15776"/>
                    <a:pt x="1676" y="15752"/>
                  </a:cubicBezTo>
                  <a:cubicBezTo>
                    <a:pt x="1685" y="15734"/>
                    <a:pt x="1691" y="15717"/>
                    <a:pt x="1694" y="15701"/>
                  </a:cubicBezTo>
                  <a:cubicBezTo>
                    <a:pt x="1697" y="15686"/>
                    <a:pt x="1697" y="15669"/>
                    <a:pt x="1695" y="15652"/>
                  </a:cubicBezTo>
                  <a:cubicBezTo>
                    <a:pt x="1693" y="15630"/>
                    <a:pt x="1685" y="15609"/>
                    <a:pt x="1673" y="15592"/>
                  </a:cubicBezTo>
                  <a:cubicBezTo>
                    <a:pt x="1661" y="15574"/>
                    <a:pt x="1646" y="15561"/>
                    <a:pt x="1628" y="15552"/>
                  </a:cubicBezTo>
                  <a:cubicBezTo>
                    <a:pt x="1616" y="15546"/>
                    <a:pt x="1602" y="15542"/>
                    <a:pt x="1588" y="15541"/>
                  </a:cubicBezTo>
                  <a:close/>
                  <a:moveTo>
                    <a:pt x="1839" y="15258"/>
                  </a:moveTo>
                  <a:cubicBezTo>
                    <a:pt x="1841" y="15275"/>
                    <a:pt x="1842" y="15291"/>
                    <a:pt x="1840" y="15305"/>
                  </a:cubicBezTo>
                  <a:cubicBezTo>
                    <a:pt x="1838" y="15319"/>
                    <a:pt x="1833" y="15333"/>
                    <a:pt x="1826" y="15347"/>
                  </a:cubicBezTo>
                  <a:cubicBezTo>
                    <a:pt x="1815" y="15370"/>
                    <a:pt x="1799" y="15387"/>
                    <a:pt x="1778" y="15400"/>
                  </a:cubicBezTo>
                  <a:cubicBezTo>
                    <a:pt x="1757" y="15413"/>
                    <a:pt x="1731" y="15418"/>
                    <a:pt x="1702" y="15416"/>
                  </a:cubicBezTo>
                  <a:cubicBezTo>
                    <a:pt x="1688" y="15415"/>
                    <a:pt x="1675" y="15412"/>
                    <a:pt x="1661" y="15408"/>
                  </a:cubicBezTo>
                  <a:cubicBezTo>
                    <a:pt x="1648" y="15404"/>
                    <a:pt x="1632" y="15397"/>
                    <a:pt x="1613" y="15388"/>
                  </a:cubicBezTo>
                  <a:cubicBezTo>
                    <a:pt x="1590" y="15377"/>
                    <a:pt x="1571" y="15366"/>
                    <a:pt x="1556" y="15355"/>
                  </a:cubicBezTo>
                  <a:cubicBezTo>
                    <a:pt x="1541" y="15344"/>
                    <a:pt x="1528" y="15333"/>
                    <a:pt x="1517" y="15320"/>
                  </a:cubicBezTo>
                  <a:cubicBezTo>
                    <a:pt x="1500" y="15300"/>
                    <a:pt x="1490" y="15279"/>
                    <a:pt x="1486" y="15258"/>
                  </a:cubicBezTo>
                  <a:cubicBezTo>
                    <a:pt x="1482" y="15236"/>
                    <a:pt x="1486" y="15214"/>
                    <a:pt x="1497" y="15191"/>
                  </a:cubicBezTo>
                  <a:cubicBezTo>
                    <a:pt x="1505" y="15177"/>
                    <a:pt x="1513" y="15165"/>
                    <a:pt x="1522" y="15155"/>
                  </a:cubicBezTo>
                  <a:cubicBezTo>
                    <a:pt x="1532" y="15145"/>
                    <a:pt x="1544" y="15137"/>
                    <a:pt x="1558" y="15129"/>
                  </a:cubicBezTo>
                  <a:lnTo>
                    <a:pt x="1541" y="15089"/>
                  </a:lnTo>
                  <a:cubicBezTo>
                    <a:pt x="1524" y="15097"/>
                    <a:pt x="1508" y="15108"/>
                    <a:pt x="1495" y="15123"/>
                  </a:cubicBezTo>
                  <a:cubicBezTo>
                    <a:pt x="1481" y="15137"/>
                    <a:pt x="1469" y="15153"/>
                    <a:pt x="1460" y="15172"/>
                  </a:cubicBezTo>
                  <a:cubicBezTo>
                    <a:pt x="1449" y="15196"/>
                    <a:pt x="1443" y="15220"/>
                    <a:pt x="1443" y="15245"/>
                  </a:cubicBezTo>
                  <a:cubicBezTo>
                    <a:pt x="1443" y="15270"/>
                    <a:pt x="1449" y="15294"/>
                    <a:pt x="1459" y="15318"/>
                  </a:cubicBezTo>
                  <a:cubicBezTo>
                    <a:pt x="1470" y="15341"/>
                    <a:pt x="1486" y="15363"/>
                    <a:pt x="1507" y="15384"/>
                  </a:cubicBezTo>
                  <a:cubicBezTo>
                    <a:pt x="1527" y="15404"/>
                    <a:pt x="1552" y="15421"/>
                    <a:pt x="1581" y="15435"/>
                  </a:cubicBezTo>
                  <a:cubicBezTo>
                    <a:pt x="1610" y="15450"/>
                    <a:pt x="1639" y="15460"/>
                    <a:pt x="1668" y="15465"/>
                  </a:cubicBezTo>
                  <a:cubicBezTo>
                    <a:pt x="1697" y="15470"/>
                    <a:pt x="1726" y="15469"/>
                    <a:pt x="1753" y="15462"/>
                  </a:cubicBezTo>
                  <a:cubicBezTo>
                    <a:pt x="1777" y="15455"/>
                    <a:pt x="1799" y="15444"/>
                    <a:pt x="1817" y="15428"/>
                  </a:cubicBezTo>
                  <a:cubicBezTo>
                    <a:pt x="1836" y="15413"/>
                    <a:pt x="1850" y="15395"/>
                    <a:pt x="1861" y="15373"/>
                  </a:cubicBezTo>
                  <a:cubicBezTo>
                    <a:pt x="1870" y="15354"/>
                    <a:pt x="1877" y="15334"/>
                    <a:pt x="1880" y="15312"/>
                  </a:cubicBezTo>
                  <a:cubicBezTo>
                    <a:pt x="1884" y="15291"/>
                    <a:pt x="1885" y="15270"/>
                    <a:pt x="1882" y="15249"/>
                  </a:cubicBezTo>
                  <a:lnTo>
                    <a:pt x="1839" y="15258"/>
                  </a:lnTo>
                  <a:close/>
                  <a:moveTo>
                    <a:pt x="2074" y="14923"/>
                  </a:moveTo>
                  <a:lnTo>
                    <a:pt x="1684" y="14731"/>
                  </a:lnTo>
                  <a:lnTo>
                    <a:pt x="1661" y="14778"/>
                  </a:lnTo>
                  <a:lnTo>
                    <a:pt x="1824" y="14858"/>
                  </a:lnTo>
                  <a:lnTo>
                    <a:pt x="1743" y="15023"/>
                  </a:lnTo>
                  <a:lnTo>
                    <a:pt x="1580" y="14942"/>
                  </a:lnTo>
                  <a:lnTo>
                    <a:pt x="1557" y="14988"/>
                  </a:lnTo>
                  <a:lnTo>
                    <a:pt x="1948" y="15180"/>
                  </a:lnTo>
                  <a:lnTo>
                    <a:pt x="1970" y="15135"/>
                  </a:lnTo>
                  <a:lnTo>
                    <a:pt x="1781" y="15042"/>
                  </a:lnTo>
                  <a:lnTo>
                    <a:pt x="1862" y="14877"/>
                  </a:lnTo>
                  <a:lnTo>
                    <a:pt x="2051" y="14970"/>
                  </a:lnTo>
                  <a:lnTo>
                    <a:pt x="2074" y="14923"/>
                  </a:lnTo>
                  <a:close/>
                  <a:moveTo>
                    <a:pt x="2239" y="14589"/>
                  </a:moveTo>
                  <a:lnTo>
                    <a:pt x="2198" y="14569"/>
                  </a:lnTo>
                  <a:lnTo>
                    <a:pt x="2114" y="14742"/>
                  </a:lnTo>
                  <a:lnTo>
                    <a:pt x="1971" y="14671"/>
                  </a:lnTo>
                  <a:lnTo>
                    <a:pt x="2036" y="14537"/>
                  </a:lnTo>
                  <a:lnTo>
                    <a:pt x="1996" y="14517"/>
                  </a:lnTo>
                  <a:lnTo>
                    <a:pt x="1930" y="14651"/>
                  </a:lnTo>
                  <a:lnTo>
                    <a:pt x="1802" y="14588"/>
                  </a:lnTo>
                  <a:lnTo>
                    <a:pt x="1881" y="14428"/>
                  </a:lnTo>
                  <a:lnTo>
                    <a:pt x="1845" y="14403"/>
                  </a:lnTo>
                  <a:lnTo>
                    <a:pt x="1740" y="14616"/>
                  </a:lnTo>
                  <a:lnTo>
                    <a:pt x="2131" y="14809"/>
                  </a:lnTo>
                  <a:lnTo>
                    <a:pt x="2239" y="14589"/>
                  </a:lnTo>
                  <a:close/>
                  <a:moveTo>
                    <a:pt x="2155" y="13772"/>
                  </a:moveTo>
                  <a:lnTo>
                    <a:pt x="2132" y="13819"/>
                  </a:lnTo>
                  <a:lnTo>
                    <a:pt x="2335" y="13979"/>
                  </a:lnTo>
                  <a:cubicBezTo>
                    <a:pt x="2348" y="13989"/>
                    <a:pt x="2361" y="13999"/>
                    <a:pt x="2374" y="14009"/>
                  </a:cubicBezTo>
                  <a:cubicBezTo>
                    <a:pt x="2386" y="14018"/>
                    <a:pt x="2398" y="14027"/>
                    <a:pt x="2408" y="14034"/>
                  </a:cubicBezTo>
                  <a:cubicBezTo>
                    <a:pt x="2418" y="14042"/>
                    <a:pt x="2427" y="14048"/>
                    <a:pt x="2433" y="14053"/>
                  </a:cubicBezTo>
                  <a:cubicBezTo>
                    <a:pt x="2438" y="14057"/>
                    <a:pt x="2442" y="14059"/>
                    <a:pt x="2443" y="14060"/>
                  </a:cubicBezTo>
                  <a:cubicBezTo>
                    <a:pt x="2441" y="14060"/>
                    <a:pt x="2438" y="14059"/>
                    <a:pt x="2434" y="14058"/>
                  </a:cubicBezTo>
                  <a:cubicBezTo>
                    <a:pt x="2428" y="14056"/>
                    <a:pt x="2420" y="14053"/>
                    <a:pt x="2409" y="14050"/>
                  </a:cubicBezTo>
                  <a:cubicBezTo>
                    <a:pt x="2399" y="14047"/>
                    <a:pt x="2388" y="14044"/>
                    <a:pt x="2374" y="14041"/>
                  </a:cubicBezTo>
                  <a:cubicBezTo>
                    <a:pt x="2361" y="14037"/>
                    <a:pt x="2346" y="14033"/>
                    <a:pt x="2330" y="14029"/>
                  </a:cubicBezTo>
                  <a:lnTo>
                    <a:pt x="2061" y="13964"/>
                  </a:lnTo>
                  <a:lnTo>
                    <a:pt x="2035" y="14017"/>
                  </a:lnTo>
                  <a:lnTo>
                    <a:pt x="2243" y="14184"/>
                  </a:lnTo>
                  <a:cubicBezTo>
                    <a:pt x="2253" y="14192"/>
                    <a:pt x="2264" y="14200"/>
                    <a:pt x="2276" y="14209"/>
                  </a:cubicBezTo>
                  <a:cubicBezTo>
                    <a:pt x="2287" y="14218"/>
                    <a:pt x="2298" y="14226"/>
                    <a:pt x="2308" y="14234"/>
                  </a:cubicBezTo>
                  <a:cubicBezTo>
                    <a:pt x="2318" y="14242"/>
                    <a:pt x="2327" y="14248"/>
                    <a:pt x="2334" y="14253"/>
                  </a:cubicBezTo>
                  <a:cubicBezTo>
                    <a:pt x="2341" y="14259"/>
                    <a:pt x="2345" y="14261"/>
                    <a:pt x="2345" y="14262"/>
                  </a:cubicBezTo>
                  <a:cubicBezTo>
                    <a:pt x="2344" y="14262"/>
                    <a:pt x="2339" y="14260"/>
                    <a:pt x="2330" y="14257"/>
                  </a:cubicBezTo>
                  <a:cubicBezTo>
                    <a:pt x="2321" y="14254"/>
                    <a:pt x="2311" y="14251"/>
                    <a:pt x="2299" y="14247"/>
                  </a:cubicBezTo>
                  <a:cubicBezTo>
                    <a:pt x="2286" y="14244"/>
                    <a:pt x="2273" y="14240"/>
                    <a:pt x="2258" y="14236"/>
                  </a:cubicBezTo>
                  <a:cubicBezTo>
                    <a:pt x="2244" y="14232"/>
                    <a:pt x="2230" y="14228"/>
                    <a:pt x="2216" y="14225"/>
                  </a:cubicBezTo>
                  <a:lnTo>
                    <a:pt x="1964" y="14162"/>
                  </a:lnTo>
                  <a:lnTo>
                    <a:pt x="1939" y="14212"/>
                  </a:lnTo>
                  <a:lnTo>
                    <a:pt x="2375" y="14312"/>
                  </a:lnTo>
                  <a:lnTo>
                    <a:pt x="2405" y="14252"/>
                  </a:lnTo>
                  <a:lnTo>
                    <a:pt x="2208" y="14095"/>
                  </a:lnTo>
                  <a:cubicBezTo>
                    <a:pt x="2196" y="14086"/>
                    <a:pt x="2185" y="14077"/>
                    <a:pt x="2174" y="14069"/>
                  </a:cubicBezTo>
                  <a:cubicBezTo>
                    <a:pt x="2163" y="14060"/>
                    <a:pt x="2153" y="14053"/>
                    <a:pt x="2144" y="14046"/>
                  </a:cubicBezTo>
                  <a:cubicBezTo>
                    <a:pt x="2135" y="14040"/>
                    <a:pt x="2127" y="14034"/>
                    <a:pt x="2121" y="14030"/>
                  </a:cubicBezTo>
                  <a:cubicBezTo>
                    <a:pt x="2116" y="14026"/>
                    <a:pt x="2112" y="14024"/>
                    <a:pt x="2111" y="14023"/>
                  </a:cubicBezTo>
                  <a:cubicBezTo>
                    <a:pt x="2113" y="14024"/>
                    <a:pt x="2117" y="14025"/>
                    <a:pt x="2124" y="14027"/>
                  </a:cubicBezTo>
                  <a:cubicBezTo>
                    <a:pt x="2131" y="14029"/>
                    <a:pt x="2139" y="14031"/>
                    <a:pt x="2150" y="14034"/>
                  </a:cubicBezTo>
                  <a:cubicBezTo>
                    <a:pt x="2160" y="14037"/>
                    <a:pt x="2173" y="14041"/>
                    <a:pt x="2186" y="14045"/>
                  </a:cubicBezTo>
                  <a:cubicBezTo>
                    <a:pt x="2200" y="14048"/>
                    <a:pt x="2215" y="14052"/>
                    <a:pt x="2231" y="14056"/>
                  </a:cubicBezTo>
                  <a:lnTo>
                    <a:pt x="2472" y="14115"/>
                  </a:lnTo>
                  <a:lnTo>
                    <a:pt x="2502" y="14054"/>
                  </a:lnTo>
                  <a:lnTo>
                    <a:pt x="2155" y="13772"/>
                  </a:lnTo>
                  <a:close/>
                  <a:moveTo>
                    <a:pt x="2607" y="13840"/>
                  </a:moveTo>
                  <a:lnTo>
                    <a:pt x="2216" y="13648"/>
                  </a:lnTo>
                  <a:lnTo>
                    <a:pt x="2194" y="13694"/>
                  </a:lnTo>
                  <a:lnTo>
                    <a:pt x="2585" y="13886"/>
                  </a:lnTo>
                  <a:lnTo>
                    <a:pt x="2607" y="13840"/>
                  </a:lnTo>
                  <a:close/>
                  <a:moveTo>
                    <a:pt x="2723" y="13505"/>
                  </a:moveTo>
                  <a:lnTo>
                    <a:pt x="2647" y="13660"/>
                  </a:lnTo>
                  <a:lnTo>
                    <a:pt x="2296" y="13487"/>
                  </a:lnTo>
                  <a:lnTo>
                    <a:pt x="2273" y="13533"/>
                  </a:lnTo>
                  <a:lnTo>
                    <a:pt x="2664" y="13726"/>
                  </a:lnTo>
                  <a:lnTo>
                    <a:pt x="2760" y="13531"/>
                  </a:lnTo>
                  <a:lnTo>
                    <a:pt x="2723" y="13505"/>
                  </a:lnTo>
                  <a:close/>
                  <a:moveTo>
                    <a:pt x="2926" y="13192"/>
                  </a:moveTo>
                  <a:lnTo>
                    <a:pt x="2535" y="13000"/>
                  </a:lnTo>
                  <a:lnTo>
                    <a:pt x="2512" y="13047"/>
                  </a:lnTo>
                  <a:lnTo>
                    <a:pt x="2676" y="13127"/>
                  </a:lnTo>
                  <a:lnTo>
                    <a:pt x="2595" y="13292"/>
                  </a:lnTo>
                  <a:lnTo>
                    <a:pt x="2431" y="13211"/>
                  </a:lnTo>
                  <a:lnTo>
                    <a:pt x="2409" y="13257"/>
                  </a:lnTo>
                  <a:lnTo>
                    <a:pt x="2800" y="13449"/>
                  </a:lnTo>
                  <a:lnTo>
                    <a:pt x="2822" y="13404"/>
                  </a:lnTo>
                  <a:lnTo>
                    <a:pt x="2633" y="13311"/>
                  </a:lnTo>
                  <a:lnTo>
                    <a:pt x="2714" y="13146"/>
                  </a:lnTo>
                  <a:lnTo>
                    <a:pt x="2903" y="13239"/>
                  </a:lnTo>
                  <a:lnTo>
                    <a:pt x="2926" y="13192"/>
                  </a:lnTo>
                  <a:close/>
                  <a:moveTo>
                    <a:pt x="3090" y="12858"/>
                  </a:moveTo>
                  <a:lnTo>
                    <a:pt x="3050" y="12839"/>
                  </a:lnTo>
                  <a:lnTo>
                    <a:pt x="2965" y="13011"/>
                  </a:lnTo>
                  <a:lnTo>
                    <a:pt x="2822" y="12940"/>
                  </a:lnTo>
                  <a:lnTo>
                    <a:pt x="2888" y="12806"/>
                  </a:lnTo>
                  <a:lnTo>
                    <a:pt x="2848" y="12786"/>
                  </a:lnTo>
                  <a:lnTo>
                    <a:pt x="2782" y="12920"/>
                  </a:lnTo>
                  <a:lnTo>
                    <a:pt x="2654" y="12857"/>
                  </a:lnTo>
                  <a:lnTo>
                    <a:pt x="2732" y="12697"/>
                  </a:lnTo>
                  <a:lnTo>
                    <a:pt x="2697" y="12672"/>
                  </a:lnTo>
                  <a:lnTo>
                    <a:pt x="2592" y="12885"/>
                  </a:lnTo>
                  <a:lnTo>
                    <a:pt x="2982" y="13078"/>
                  </a:lnTo>
                  <a:lnTo>
                    <a:pt x="3090" y="12858"/>
                  </a:lnTo>
                  <a:close/>
                  <a:moveTo>
                    <a:pt x="3191" y="12555"/>
                  </a:moveTo>
                  <a:lnTo>
                    <a:pt x="3115" y="12710"/>
                  </a:lnTo>
                  <a:lnTo>
                    <a:pt x="2763" y="12537"/>
                  </a:lnTo>
                  <a:lnTo>
                    <a:pt x="2740" y="12583"/>
                  </a:lnTo>
                  <a:lnTo>
                    <a:pt x="3131" y="12776"/>
                  </a:lnTo>
                  <a:lnTo>
                    <a:pt x="3227" y="12581"/>
                  </a:lnTo>
                  <a:lnTo>
                    <a:pt x="3191" y="12555"/>
                  </a:lnTo>
                  <a:close/>
                  <a:moveTo>
                    <a:pt x="3450" y="12128"/>
                  </a:moveTo>
                  <a:lnTo>
                    <a:pt x="3042" y="11969"/>
                  </a:lnTo>
                  <a:lnTo>
                    <a:pt x="3008" y="12038"/>
                  </a:lnTo>
                  <a:lnTo>
                    <a:pt x="3232" y="12240"/>
                  </a:lnTo>
                  <a:cubicBezTo>
                    <a:pt x="3246" y="12251"/>
                    <a:pt x="3258" y="12262"/>
                    <a:pt x="3269" y="12270"/>
                  </a:cubicBezTo>
                  <a:cubicBezTo>
                    <a:pt x="3281" y="12279"/>
                    <a:pt x="3287" y="12284"/>
                    <a:pt x="3288" y="12285"/>
                  </a:cubicBezTo>
                  <a:cubicBezTo>
                    <a:pt x="3286" y="12284"/>
                    <a:pt x="3278" y="12282"/>
                    <a:pt x="3265" y="12279"/>
                  </a:cubicBezTo>
                  <a:cubicBezTo>
                    <a:pt x="3251" y="12275"/>
                    <a:pt x="3234" y="12271"/>
                    <a:pt x="3213" y="12267"/>
                  </a:cubicBezTo>
                  <a:lnTo>
                    <a:pt x="2923" y="12213"/>
                  </a:lnTo>
                  <a:lnTo>
                    <a:pt x="2889" y="12281"/>
                  </a:lnTo>
                  <a:lnTo>
                    <a:pt x="3263" y="12508"/>
                  </a:lnTo>
                  <a:lnTo>
                    <a:pt x="3285" y="12463"/>
                  </a:lnTo>
                  <a:lnTo>
                    <a:pt x="3018" y="12304"/>
                  </a:lnTo>
                  <a:cubicBezTo>
                    <a:pt x="3012" y="12301"/>
                    <a:pt x="3006" y="12297"/>
                    <a:pt x="2998" y="12293"/>
                  </a:cubicBezTo>
                  <a:cubicBezTo>
                    <a:pt x="2991" y="12288"/>
                    <a:pt x="2983" y="12284"/>
                    <a:pt x="2976" y="12280"/>
                  </a:cubicBezTo>
                  <a:cubicBezTo>
                    <a:pt x="2969" y="12276"/>
                    <a:pt x="2962" y="12272"/>
                    <a:pt x="2957" y="12269"/>
                  </a:cubicBezTo>
                  <a:cubicBezTo>
                    <a:pt x="2952" y="12266"/>
                    <a:pt x="2949" y="12264"/>
                    <a:pt x="2947" y="12264"/>
                  </a:cubicBezTo>
                  <a:cubicBezTo>
                    <a:pt x="2952" y="12265"/>
                    <a:pt x="2961" y="12267"/>
                    <a:pt x="2975" y="12269"/>
                  </a:cubicBezTo>
                  <a:cubicBezTo>
                    <a:pt x="2990" y="12273"/>
                    <a:pt x="3008" y="12276"/>
                    <a:pt x="3030" y="12280"/>
                  </a:cubicBezTo>
                  <a:lnTo>
                    <a:pt x="3346" y="12339"/>
                  </a:lnTo>
                  <a:lnTo>
                    <a:pt x="3365" y="12300"/>
                  </a:lnTo>
                  <a:lnTo>
                    <a:pt x="3115" y="12072"/>
                  </a:lnTo>
                  <a:cubicBezTo>
                    <a:pt x="3110" y="12068"/>
                    <a:pt x="3104" y="12063"/>
                    <a:pt x="3098" y="12058"/>
                  </a:cubicBezTo>
                  <a:cubicBezTo>
                    <a:pt x="3092" y="12053"/>
                    <a:pt x="3087" y="12048"/>
                    <a:pt x="3081" y="12044"/>
                  </a:cubicBezTo>
                  <a:cubicBezTo>
                    <a:pt x="3076" y="12039"/>
                    <a:pt x="3072" y="12036"/>
                    <a:pt x="3068" y="12033"/>
                  </a:cubicBezTo>
                  <a:cubicBezTo>
                    <a:pt x="3064" y="12030"/>
                    <a:pt x="3062" y="12028"/>
                    <a:pt x="3061" y="12027"/>
                  </a:cubicBezTo>
                  <a:cubicBezTo>
                    <a:pt x="3062" y="12027"/>
                    <a:pt x="3065" y="12029"/>
                    <a:pt x="3070" y="12031"/>
                  </a:cubicBezTo>
                  <a:cubicBezTo>
                    <a:pt x="3074" y="12033"/>
                    <a:pt x="3080" y="12035"/>
                    <a:pt x="3087" y="12038"/>
                  </a:cubicBezTo>
                  <a:cubicBezTo>
                    <a:pt x="3093" y="12041"/>
                    <a:pt x="3101" y="12044"/>
                    <a:pt x="3108" y="12048"/>
                  </a:cubicBezTo>
                  <a:cubicBezTo>
                    <a:pt x="3116" y="12051"/>
                    <a:pt x="3123" y="12054"/>
                    <a:pt x="3129" y="12057"/>
                  </a:cubicBezTo>
                  <a:lnTo>
                    <a:pt x="3427" y="12175"/>
                  </a:lnTo>
                  <a:lnTo>
                    <a:pt x="3450" y="12128"/>
                  </a:lnTo>
                  <a:close/>
                  <a:moveTo>
                    <a:pt x="3469" y="11716"/>
                  </a:moveTo>
                  <a:cubicBezTo>
                    <a:pt x="3455" y="11715"/>
                    <a:pt x="3441" y="11716"/>
                    <a:pt x="3428" y="11719"/>
                  </a:cubicBezTo>
                  <a:cubicBezTo>
                    <a:pt x="3415" y="11723"/>
                    <a:pt x="3403" y="11728"/>
                    <a:pt x="3392" y="11735"/>
                  </a:cubicBezTo>
                  <a:cubicBezTo>
                    <a:pt x="3381" y="11743"/>
                    <a:pt x="3369" y="11754"/>
                    <a:pt x="3355" y="11769"/>
                  </a:cubicBezTo>
                  <a:lnTo>
                    <a:pt x="3318" y="11807"/>
                  </a:lnTo>
                  <a:cubicBezTo>
                    <a:pt x="3299" y="11826"/>
                    <a:pt x="3283" y="11839"/>
                    <a:pt x="3268" y="11844"/>
                  </a:cubicBezTo>
                  <a:cubicBezTo>
                    <a:pt x="3254" y="11849"/>
                    <a:pt x="3239" y="11848"/>
                    <a:pt x="3223" y="11840"/>
                  </a:cubicBezTo>
                  <a:cubicBezTo>
                    <a:pt x="3202" y="11830"/>
                    <a:pt x="3190" y="11816"/>
                    <a:pt x="3185" y="11797"/>
                  </a:cubicBezTo>
                  <a:cubicBezTo>
                    <a:pt x="3181" y="11777"/>
                    <a:pt x="3184" y="11755"/>
                    <a:pt x="3197" y="11731"/>
                  </a:cubicBezTo>
                  <a:cubicBezTo>
                    <a:pt x="3201" y="11722"/>
                    <a:pt x="3205" y="11715"/>
                    <a:pt x="3210" y="11708"/>
                  </a:cubicBezTo>
                  <a:cubicBezTo>
                    <a:pt x="3215" y="11701"/>
                    <a:pt x="3220" y="11695"/>
                    <a:pt x="3227" y="11688"/>
                  </a:cubicBezTo>
                  <a:cubicBezTo>
                    <a:pt x="3233" y="11682"/>
                    <a:pt x="3240" y="11676"/>
                    <a:pt x="3248" y="11670"/>
                  </a:cubicBezTo>
                  <a:cubicBezTo>
                    <a:pt x="3256" y="11664"/>
                    <a:pt x="3266" y="11658"/>
                    <a:pt x="3277" y="11652"/>
                  </a:cubicBezTo>
                  <a:lnTo>
                    <a:pt x="3253" y="11615"/>
                  </a:lnTo>
                  <a:cubicBezTo>
                    <a:pt x="3210" y="11640"/>
                    <a:pt x="3178" y="11673"/>
                    <a:pt x="3157" y="11714"/>
                  </a:cubicBezTo>
                  <a:cubicBezTo>
                    <a:pt x="3148" y="11733"/>
                    <a:pt x="3142" y="11752"/>
                    <a:pt x="3140" y="11770"/>
                  </a:cubicBezTo>
                  <a:cubicBezTo>
                    <a:pt x="3138" y="11788"/>
                    <a:pt x="3139" y="11805"/>
                    <a:pt x="3144" y="11821"/>
                  </a:cubicBezTo>
                  <a:cubicBezTo>
                    <a:pt x="3148" y="11837"/>
                    <a:pt x="3156" y="11852"/>
                    <a:pt x="3166" y="11864"/>
                  </a:cubicBezTo>
                  <a:cubicBezTo>
                    <a:pt x="3177" y="11877"/>
                    <a:pt x="3191" y="11888"/>
                    <a:pt x="3207" y="11896"/>
                  </a:cubicBezTo>
                  <a:cubicBezTo>
                    <a:pt x="3232" y="11908"/>
                    <a:pt x="3258" y="11910"/>
                    <a:pt x="3283" y="11903"/>
                  </a:cubicBezTo>
                  <a:cubicBezTo>
                    <a:pt x="3295" y="11899"/>
                    <a:pt x="3306" y="11893"/>
                    <a:pt x="3316" y="11885"/>
                  </a:cubicBezTo>
                  <a:cubicBezTo>
                    <a:pt x="3326" y="11877"/>
                    <a:pt x="3338" y="11866"/>
                    <a:pt x="3352" y="11850"/>
                  </a:cubicBezTo>
                  <a:lnTo>
                    <a:pt x="3384" y="11817"/>
                  </a:lnTo>
                  <a:cubicBezTo>
                    <a:pt x="3421" y="11777"/>
                    <a:pt x="3456" y="11766"/>
                    <a:pt x="3491" y="11783"/>
                  </a:cubicBezTo>
                  <a:cubicBezTo>
                    <a:pt x="3514" y="11794"/>
                    <a:pt x="3528" y="11813"/>
                    <a:pt x="3533" y="11838"/>
                  </a:cubicBezTo>
                  <a:cubicBezTo>
                    <a:pt x="3535" y="11850"/>
                    <a:pt x="3536" y="11861"/>
                    <a:pt x="3534" y="11871"/>
                  </a:cubicBezTo>
                  <a:cubicBezTo>
                    <a:pt x="3531" y="11881"/>
                    <a:pt x="3527" y="11894"/>
                    <a:pt x="3520" y="11909"/>
                  </a:cubicBezTo>
                  <a:cubicBezTo>
                    <a:pt x="3510" y="11928"/>
                    <a:pt x="3498" y="11945"/>
                    <a:pt x="3485" y="11960"/>
                  </a:cubicBezTo>
                  <a:cubicBezTo>
                    <a:pt x="3471" y="11974"/>
                    <a:pt x="3454" y="11986"/>
                    <a:pt x="3434" y="11997"/>
                  </a:cubicBezTo>
                  <a:lnTo>
                    <a:pt x="3461" y="12035"/>
                  </a:lnTo>
                  <a:cubicBezTo>
                    <a:pt x="3482" y="12022"/>
                    <a:pt x="3501" y="12007"/>
                    <a:pt x="3517" y="11989"/>
                  </a:cubicBezTo>
                  <a:cubicBezTo>
                    <a:pt x="3532" y="11971"/>
                    <a:pt x="3546" y="11951"/>
                    <a:pt x="3558" y="11927"/>
                  </a:cubicBezTo>
                  <a:cubicBezTo>
                    <a:pt x="3567" y="11909"/>
                    <a:pt x="3573" y="11892"/>
                    <a:pt x="3576" y="11877"/>
                  </a:cubicBezTo>
                  <a:cubicBezTo>
                    <a:pt x="3579" y="11861"/>
                    <a:pt x="3579" y="11845"/>
                    <a:pt x="3577" y="11828"/>
                  </a:cubicBezTo>
                  <a:cubicBezTo>
                    <a:pt x="3575" y="11805"/>
                    <a:pt x="3567" y="11785"/>
                    <a:pt x="3555" y="11767"/>
                  </a:cubicBezTo>
                  <a:cubicBezTo>
                    <a:pt x="3543" y="11750"/>
                    <a:pt x="3528" y="11736"/>
                    <a:pt x="3510" y="11728"/>
                  </a:cubicBezTo>
                  <a:cubicBezTo>
                    <a:pt x="3497" y="11722"/>
                    <a:pt x="3484" y="11718"/>
                    <a:pt x="3469" y="11716"/>
                  </a:cubicBezTo>
                  <a:close/>
                  <a:moveTo>
                    <a:pt x="3584" y="11526"/>
                  </a:moveTo>
                  <a:lnTo>
                    <a:pt x="3541" y="11505"/>
                  </a:lnTo>
                  <a:lnTo>
                    <a:pt x="3487" y="11614"/>
                  </a:lnTo>
                  <a:lnTo>
                    <a:pt x="3530" y="11635"/>
                  </a:lnTo>
                  <a:lnTo>
                    <a:pt x="3584" y="11526"/>
                  </a:lnTo>
                  <a:close/>
                  <a:moveTo>
                    <a:pt x="3500" y="11039"/>
                  </a:moveTo>
                  <a:lnTo>
                    <a:pt x="3478" y="11085"/>
                  </a:lnTo>
                  <a:lnTo>
                    <a:pt x="3750" y="11219"/>
                  </a:lnTo>
                  <a:cubicBezTo>
                    <a:pt x="3763" y="11226"/>
                    <a:pt x="3774" y="11232"/>
                    <a:pt x="3782" y="11238"/>
                  </a:cubicBezTo>
                  <a:cubicBezTo>
                    <a:pt x="3791" y="11245"/>
                    <a:pt x="3798" y="11253"/>
                    <a:pt x="3804" y="11264"/>
                  </a:cubicBezTo>
                  <a:cubicBezTo>
                    <a:pt x="3809" y="11274"/>
                    <a:pt x="3810" y="11286"/>
                    <a:pt x="3809" y="11300"/>
                  </a:cubicBezTo>
                  <a:cubicBezTo>
                    <a:pt x="3807" y="11313"/>
                    <a:pt x="3802" y="11329"/>
                    <a:pt x="3794" y="11345"/>
                  </a:cubicBezTo>
                  <a:cubicBezTo>
                    <a:pt x="3788" y="11357"/>
                    <a:pt x="3782" y="11367"/>
                    <a:pt x="3775" y="11375"/>
                  </a:cubicBezTo>
                  <a:cubicBezTo>
                    <a:pt x="3769" y="11382"/>
                    <a:pt x="3762" y="11388"/>
                    <a:pt x="3755" y="11392"/>
                  </a:cubicBezTo>
                  <a:cubicBezTo>
                    <a:pt x="3748" y="11396"/>
                    <a:pt x="3742" y="11399"/>
                    <a:pt x="3736" y="11401"/>
                  </a:cubicBezTo>
                  <a:cubicBezTo>
                    <a:pt x="3729" y="11402"/>
                    <a:pt x="3724" y="11403"/>
                    <a:pt x="3718" y="11402"/>
                  </a:cubicBezTo>
                  <a:cubicBezTo>
                    <a:pt x="3711" y="11402"/>
                    <a:pt x="3702" y="11400"/>
                    <a:pt x="3690" y="11395"/>
                  </a:cubicBezTo>
                  <a:cubicBezTo>
                    <a:pt x="3679" y="11391"/>
                    <a:pt x="3668" y="11386"/>
                    <a:pt x="3659" y="11382"/>
                  </a:cubicBezTo>
                  <a:lnTo>
                    <a:pt x="3395" y="11252"/>
                  </a:lnTo>
                  <a:lnTo>
                    <a:pt x="3373" y="11298"/>
                  </a:lnTo>
                  <a:lnTo>
                    <a:pt x="3653" y="11436"/>
                  </a:lnTo>
                  <a:cubicBezTo>
                    <a:pt x="3662" y="11440"/>
                    <a:pt x="3672" y="11445"/>
                    <a:pt x="3684" y="11449"/>
                  </a:cubicBezTo>
                  <a:cubicBezTo>
                    <a:pt x="3695" y="11453"/>
                    <a:pt x="3707" y="11455"/>
                    <a:pt x="3720" y="11455"/>
                  </a:cubicBezTo>
                  <a:cubicBezTo>
                    <a:pt x="3744" y="11454"/>
                    <a:pt x="3765" y="11446"/>
                    <a:pt x="3783" y="11433"/>
                  </a:cubicBezTo>
                  <a:cubicBezTo>
                    <a:pt x="3801" y="11419"/>
                    <a:pt x="3818" y="11397"/>
                    <a:pt x="3833" y="11367"/>
                  </a:cubicBezTo>
                  <a:cubicBezTo>
                    <a:pt x="3845" y="11343"/>
                    <a:pt x="3852" y="11322"/>
                    <a:pt x="3855" y="11303"/>
                  </a:cubicBezTo>
                  <a:cubicBezTo>
                    <a:pt x="3858" y="11284"/>
                    <a:pt x="3857" y="11267"/>
                    <a:pt x="3853" y="11249"/>
                  </a:cubicBezTo>
                  <a:cubicBezTo>
                    <a:pt x="3849" y="11233"/>
                    <a:pt x="3841" y="11219"/>
                    <a:pt x="3830" y="11209"/>
                  </a:cubicBezTo>
                  <a:cubicBezTo>
                    <a:pt x="3819" y="11198"/>
                    <a:pt x="3802" y="11187"/>
                    <a:pt x="3778" y="11176"/>
                  </a:cubicBezTo>
                  <a:lnTo>
                    <a:pt x="3500" y="11039"/>
                  </a:lnTo>
                  <a:close/>
                  <a:moveTo>
                    <a:pt x="4074" y="10859"/>
                  </a:moveTo>
                  <a:lnTo>
                    <a:pt x="3684" y="10666"/>
                  </a:lnTo>
                  <a:lnTo>
                    <a:pt x="3661" y="10712"/>
                  </a:lnTo>
                  <a:lnTo>
                    <a:pt x="3874" y="10815"/>
                  </a:lnTo>
                  <a:cubicBezTo>
                    <a:pt x="3888" y="10822"/>
                    <a:pt x="3902" y="10829"/>
                    <a:pt x="3917" y="10835"/>
                  </a:cubicBezTo>
                  <a:cubicBezTo>
                    <a:pt x="3931" y="10842"/>
                    <a:pt x="3944" y="10847"/>
                    <a:pt x="3956" y="10852"/>
                  </a:cubicBezTo>
                  <a:cubicBezTo>
                    <a:pt x="3967" y="10857"/>
                    <a:pt x="3976" y="10861"/>
                    <a:pt x="3984" y="10864"/>
                  </a:cubicBezTo>
                  <a:cubicBezTo>
                    <a:pt x="3991" y="10867"/>
                    <a:pt x="3995" y="10869"/>
                    <a:pt x="3996" y="10869"/>
                  </a:cubicBezTo>
                  <a:cubicBezTo>
                    <a:pt x="3994" y="10869"/>
                    <a:pt x="3991" y="10868"/>
                    <a:pt x="3985" y="10868"/>
                  </a:cubicBezTo>
                  <a:cubicBezTo>
                    <a:pt x="3978" y="10867"/>
                    <a:pt x="3971" y="10867"/>
                    <a:pt x="3962" y="10866"/>
                  </a:cubicBezTo>
                  <a:cubicBezTo>
                    <a:pt x="3952" y="10866"/>
                    <a:pt x="3942" y="10865"/>
                    <a:pt x="3930" y="10865"/>
                  </a:cubicBezTo>
                  <a:cubicBezTo>
                    <a:pt x="3919" y="10864"/>
                    <a:pt x="3907" y="10864"/>
                    <a:pt x="3896" y="10865"/>
                  </a:cubicBezTo>
                  <a:lnTo>
                    <a:pt x="3582" y="10872"/>
                  </a:lnTo>
                  <a:lnTo>
                    <a:pt x="3556" y="10926"/>
                  </a:lnTo>
                  <a:lnTo>
                    <a:pt x="3947" y="11118"/>
                  </a:lnTo>
                  <a:lnTo>
                    <a:pt x="3970" y="11070"/>
                  </a:lnTo>
                  <a:lnTo>
                    <a:pt x="3743" y="10961"/>
                  </a:lnTo>
                  <a:cubicBezTo>
                    <a:pt x="3731" y="10955"/>
                    <a:pt x="3720" y="10950"/>
                    <a:pt x="3708" y="10945"/>
                  </a:cubicBezTo>
                  <a:cubicBezTo>
                    <a:pt x="3696" y="10940"/>
                    <a:pt x="3685" y="10935"/>
                    <a:pt x="3675" y="10931"/>
                  </a:cubicBezTo>
                  <a:cubicBezTo>
                    <a:pt x="3665" y="10927"/>
                    <a:pt x="3657" y="10923"/>
                    <a:pt x="3649" y="10920"/>
                  </a:cubicBezTo>
                  <a:cubicBezTo>
                    <a:pt x="3642" y="10917"/>
                    <a:pt x="3637" y="10915"/>
                    <a:pt x="3634" y="10914"/>
                  </a:cubicBezTo>
                  <a:cubicBezTo>
                    <a:pt x="3638" y="10914"/>
                    <a:pt x="3644" y="10915"/>
                    <a:pt x="3651" y="10915"/>
                  </a:cubicBezTo>
                  <a:cubicBezTo>
                    <a:pt x="3658" y="10915"/>
                    <a:pt x="3667" y="10916"/>
                    <a:pt x="3677" y="10916"/>
                  </a:cubicBezTo>
                  <a:cubicBezTo>
                    <a:pt x="3687" y="10916"/>
                    <a:pt x="3699" y="10916"/>
                    <a:pt x="3711" y="10916"/>
                  </a:cubicBezTo>
                  <a:cubicBezTo>
                    <a:pt x="3723" y="10916"/>
                    <a:pt x="3736" y="10916"/>
                    <a:pt x="3749" y="10915"/>
                  </a:cubicBezTo>
                  <a:lnTo>
                    <a:pt x="4050" y="10908"/>
                  </a:lnTo>
                  <a:lnTo>
                    <a:pt x="4074" y="10859"/>
                  </a:lnTo>
                  <a:close/>
                  <a:moveTo>
                    <a:pt x="4153" y="10699"/>
                  </a:moveTo>
                  <a:lnTo>
                    <a:pt x="3762" y="10506"/>
                  </a:lnTo>
                  <a:lnTo>
                    <a:pt x="3740" y="10552"/>
                  </a:lnTo>
                  <a:lnTo>
                    <a:pt x="4131" y="10744"/>
                  </a:lnTo>
                  <a:lnTo>
                    <a:pt x="4153" y="10699"/>
                  </a:lnTo>
                  <a:close/>
                  <a:moveTo>
                    <a:pt x="3953" y="10119"/>
                  </a:moveTo>
                  <a:lnTo>
                    <a:pt x="3929" y="10167"/>
                  </a:lnTo>
                  <a:lnTo>
                    <a:pt x="4146" y="10377"/>
                  </a:lnTo>
                  <a:cubicBezTo>
                    <a:pt x="4164" y="10395"/>
                    <a:pt x="4179" y="10409"/>
                    <a:pt x="4191" y="10420"/>
                  </a:cubicBezTo>
                  <a:cubicBezTo>
                    <a:pt x="4203" y="10431"/>
                    <a:pt x="4211" y="10438"/>
                    <a:pt x="4215" y="10441"/>
                  </a:cubicBezTo>
                  <a:cubicBezTo>
                    <a:pt x="4212" y="10441"/>
                    <a:pt x="4208" y="10439"/>
                    <a:pt x="4201" y="10437"/>
                  </a:cubicBezTo>
                  <a:cubicBezTo>
                    <a:pt x="4194" y="10436"/>
                    <a:pt x="4186" y="10434"/>
                    <a:pt x="4176" y="10432"/>
                  </a:cubicBezTo>
                  <a:cubicBezTo>
                    <a:pt x="4167" y="10430"/>
                    <a:pt x="4158" y="10428"/>
                    <a:pt x="4147" y="10426"/>
                  </a:cubicBezTo>
                  <a:cubicBezTo>
                    <a:pt x="4137" y="10425"/>
                    <a:pt x="4127" y="10423"/>
                    <a:pt x="4117" y="10421"/>
                  </a:cubicBezTo>
                  <a:lnTo>
                    <a:pt x="3824" y="10380"/>
                  </a:lnTo>
                  <a:lnTo>
                    <a:pt x="3799" y="10431"/>
                  </a:lnTo>
                  <a:lnTo>
                    <a:pt x="4255" y="10491"/>
                  </a:lnTo>
                  <a:lnTo>
                    <a:pt x="4278" y="10445"/>
                  </a:lnTo>
                  <a:lnTo>
                    <a:pt x="3953" y="10119"/>
                  </a:lnTo>
                  <a:close/>
                  <a:moveTo>
                    <a:pt x="4489" y="10016"/>
                  </a:moveTo>
                  <a:lnTo>
                    <a:pt x="4448" y="9997"/>
                  </a:lnTo>
                  <a:lnTo>
                    <a:pt x="4364" y="10169"/>
                  </a:lnTo>
                  <a:lnTo>
                    <a:pt x="4221" y="10098"/>
                  </a:lnTo>
                  <a:lnTo>
                    <a:pt x="4287" y="9964"/>
                  </a:lnTo>
                  <a:lnTo>
                    <a:pt x="4246" y="9944"/>
                  </a:lnTo>
                  <a:lnTo>
                    <a:pt x="4180" y="10078"/>
                  </a:lnTo>
                  <a:lnTo>
                    <a:pt x="4052" y="10015"/>
                  </a:lnTo>
                  <a:lnTo>
                    <a:pt x="4131" y="9855"/>
                  </a:lnTo>
                  <a:lnTo>
                    <a:pt x="4095" y="9830"/>
                  </a:lnTo>
                  <a:lnTo>
                    <a:pt x="3990" y="10043"/>
                  </a:lnTo>
                  <a:lnTo>
                    <a:pt x="4381" y="10236"/>
                  </a:lnTo>
                  <a:lnTo>
                    <a:pt x="4489" y="10016"/>
                  </a:lnTo>
                  <a:close/>
                  <a:moveTo>
                    <a:pt x="4652" y="9685"/>
                  </a:moveTo>
                  <a:lnTo>
                    <a:pt x="4615" y="9690"/>
                  </a:lnTo>
                  <a:cubicBezTo>
                    <a:pt x="4599" y="9692"/>
                    <a:pt x="4581" y="9695"/>
                    <a:pt x="4562" y="9697"/>
                  </a:cubicBezTo>
                  <a:cubicBezTo>
                    <a:pt x="4544" y="9700"/>
                    <a:pt x="4526" y="9702"/>
                    <a:pt x="4510" y="9705"/>
                  </a:cubicBezTo>
                  <a:cubicBezTo>
                    <a:pt x="4493" y="9707"/>
                    <a:pt x="4481" y="9709"/>
                    <a:pt x="4475" y="9710"/>
                  </a:cubicBezTo>
                  <a:cubicBezTo>
                    <a:pt x="4465" y="9712"/>
                    <a:pt x="4454" y="9714"/>
                    <a:pt x="4442" y="9717"/>
                  </a:cubicBezTo>
                  <a:cubicBezTo>
                    <a:pt x="4430" y="9720"/>
                    <a:pt x="4420" y="9724"/>
                    <a:pt x="4411" y="9728"/>
                  </a:cubicBezTo>
                  <a:lnTo>
                    <a:pt x="4414" y="9722"/>
                  </a:lnTo>
                  <a:cubicBezTo>
                    <a:pt x="4422" y="9707"/>
                    <a:pt x="4426" y="9691"/>
                    <a:pt x="4427" y="9676"/>
                  </a:cubicBezTo>
                  <a:cubicBezTo>
                    <a:pt x="4429" y="9661"/>
                    <a:pt x="4427" y="9646"/>
                    <a:pt x="4422" y="9632"/>
                  </a:cubicBezTo>
                  <a:cubicBezTo>
                    <a:pt x="4417" y="9619"/>
                    <a:pt x="4409" y="9606"/>
                    <a:pt x="4398" y="9595"/>
                  </a:cubicBezTo>
                  <a:cubicBezTo>
                    <a:pt x="4388" y="9583"/>
                    <a:pt x="4374" y="9574"/>
                    <a:pt x="4358" y="9566"/>
                  </a:cubicBezTo>
                  <a:cubicBezTo>
                    <a:pt x="4348" y="9561"/>
                    <a:pt x="4338" y="9557"/>
                    <a:pt x="4328" y="9556"/>
                  </a:cubicBezTo>
                  <a:cubicBezTo>
                    <a:pt x="4318" y="9554"/>
                    <a:pt x="4309" y="9553"/>
                    <a:pt x="4301" y="9553"/>
                  </a:cubicBezTo>
                  <a:cubicBezTo>
                    <a:pt x="4292" y="9554"/>
                    <a:pt x="4284" y="9555"/>
                    <a:pt x="4277" y="9557"/>
                  </a:cubicBezTo>
                  <a:cubicBezTo>
                    <a:pt x="4269" y="9559"/>
                    <a:pt x="4263" y="9561"/>
                    <a:pt x="4257" y="9564"/>
                  </a:cubicBezTo>
                  <a:cubicBezTo>
                    <a:pt x="4251" y="9567"/>
                    <a:pt x="4245" y="9570"/>
                    <a:pt x="4239" y="9575"/>
                  </a:cubicBezTo>
                  <a:cubicBezTo>
                    <a:pt x="4233" y="9579"/>
                    <a:pt x="4227" y="9585"/>
                    <a:pt x="4221" y="9591"/>
                  </a:cubicBezTo>
                  <a:cubicBezTo>
                    <a:pt x="4215" y="9598"/>
                    <a:pt x="4209" y="9606"/>
                    <a:pt x="4203" y="9616"/>
                  </a:cubicBezTo>
                  <a:cubicBezTo>
                    <a:pt x="4196" y="9626"/>
                    <a:pt x="4190" y="9637"/>
                    <a:pt x="4183" y="9650"/>
                  </a:cubicBezTo>
                  <a:lnTo>
                    <a:pt x="4139" y="9741"/>
                  </a:lnTo>
                  <a:lnTo>
                    <a:pt x="4529" y="9934"/>
                  </a:lnTo>
                  <a:lnTo>
                    <a:pt x="4552" y="9888"/>
                  </a:lnTo>
                  <a:lnTo>
                    <a:pt x="4375" y="9801"/>
                  </a:lnTo>
                  <a:cubicBezTo>
                    <a:pt x="4381" y="9792"/>
                    <a:pt x="4386" y="9785"/>
                    <a:pt x="4392" y="9780"/>
                  </a:cubicBezTo>
                  <a:cubicBezTo>
                    <a:pt x="4399" y="9776"/>
                    <a:pt x="4409" y="9772"/>
                    <a:pt x="4422" y="9769"/>
                  </a:cubicBezTo>
                  <a:cubicBezTo>
                    <a:pt x="4445" y="9765"/>
                    <a:pt x="4467" y="9760"/>
                    <a:pt x="4488" y="9757"/>
                  </a:cubicBezTo>
                  <a:cubicBezTo>
                    <a:pt x="4509" y="9754"/>
                    <a:pt x="4528" y="9751"/>
                    <a:pt x="4545" y="9749"/>
                  </a:cubicBezTo>
                  <a:cubicBezTo>
                    <a:pt x="4563" y="9747"/>
                    <a:pt x="4578" y="9745"/>
                    <a:pt x="4591" y="9745"/>
                  </a:cubicBezTo>
                  <a:cubicBezTo>
                    <a:pt x="4604" y="9744"/>
                    <a:pt x="4615" y="9744"/>
                    <a:pt x="4623" y="9744"/>
                  </a:cubicBezTo>
                  <a:lnTo>
                    <a:pt x="4652" y="9685"/>
                  </a:lnTo>
                  <a:close/>
                  <a:moveTo>
                    <a:pt x="4365" y="9636"/>
                  </a:moveTo>
                  <a:cubicBezTo>
                    <a:pt x="4374" y="9645"/>
                    <a:pt x="4379" y="9654"/>
                    <a:pt x="4382" y="9663"/>
                  </a:cubicBezTo>
                  <a:cubicBezTo>
                    <a:pt x="4385" y="9674"/>
                    <a:pt x="4386" y="9686"/>
                    <a:pt x="4384" y="9699"/>
                  </a:cubicBezTo>
                  <a:cubicBezTo>
                    <a:pt x="4382" y="9711"/>
                    <a:pt x="4376" y="9726"/>
                    <a:pt x="4368" y="9744"/>
                  </a:cubicBezTo>
                  <a:lnTo>
                    <a:pt x="4346" y="9787"/>
                  </a:lnTo>
                  <a:lnTo>
                    <a:pt x="4200" y="9715"/>
                  </a:lnTo>
                  <a:lnTo>
                    <a:pt x="4223" y="9668"/>
                  </a:lnTo>
                  <a:cubicBezTo>
                    <a:pt x="4229" y="9658"/>
                    <a:pt x="4234" y="9649"/>
                    <a:pt x="4239" y="9642"/>
                  </a:cubicBezTo>
                  <a:cubicBezTo>
                    <a:pt x="4244" y="9635"/>
                    <a:pt x="4250" y="9629"/>
                    <a:pt x="4255" y="9623"/>
                  </a:cubicBezTo>
                  <a:cubicBezTo>
                    <a:pt x="4265" y="9615"/>
                    <a:pt x="4278" y="9609"/>
                    <a:pt x="4292" y="9608"/>
                  </a:cubicBezTo>
                  <a:cubicBezTo>
                    <a:pt x="4307" y="9606"/>
                    <a:pt x="4321" y="9608"/>
                    <a:pt x="4333" y="9614"/>
                  </a:cubicBezTo>
                  <a:cubicBezTo>
                    <a:pt x="4346" y="9621"/>
                    <a:pt x="4357" y="9628"/>
                    <a:pt x="4365" y="9636"/>
                  </a:cubicBezTo>
                  <a:close/>
                  <a:moveTo>
                    <a:pt x="4663" y="9291"/>
                  </a:moveTo>
                  <a:cubicBezTo>
                    <a:pt x="4648" y="9290"/>
                    <a:pt x="4634" y="9291"/>
                    <a:pt x="4621" y="9294"/>
                  </a:cubicBezTo>
                  <a:cubicBezTo>
                    <a:pt x="4608" y="9298"/>
                    <a:pt x="4596" y="9303"/>
                    <a:pt x="4585" y="9311"/>
                  </a:cubicBezTo>
                  <a:cubicBezTo>
                    <a:pt x="4574" y="9318"/>
                    <a:pt x="4562" y="9329"/>
                    <a:pt x="4548" y="9344"/>
                  </a:cubicBezTo>
                  <a:lnTo>
                    <a:pt x="4512" y="9382"/>
                  </a:lnTo>
                  <a:cubicBezTo>
                    <a:pt x="4493" y="9401"/>
                    <a:pt x="4476" y="9414"/>
                    <a:pt x="4461" y="9419"/>
                  </a:cubicBezTo>
                  <a:cubicBezTo>
                    <a:pt x="4447" y="9425"/>
                    <a:pt x="4432" y="9423"/>
                    <a:pt x="4416" y="9416"/>
                  </a:cubicBezTo>
                  <a:cubicBezTo>
                    <a:pt x="4396" y="9406"/>
                    <a:pt x="4383" y="9391"/>
                    <a:pt x="4379" y="9372"/>
                  </a:cubicBezTo>
                  <a:cubicBezTo>
                    <a:pt x="4374" y="9352"/>
                    <a:pt x="4378" y="9330"/>
                    <a:pt x="4390" y="9306"/>
                  </a:cubicBezTo>
                  <a:cubicBezTo>
                    <a:pt x="4394" y="9297"/>
                    <a:pt x="4398" y="9290"/>
                    <a:pt x="4403" y="9283"/>
                  </a:cubicBezTo>
                  <a:cubicBezTo>
                    <a:pt x="4408" y="9276"/>
                    <a:pt x="4414" y="9270"/>
                    <a:pt x="4420" y="9264"/>
                  </a:cubicBezTo>
                  <a:cubicBezTo>
                    <a:pt x="4426" y="9257"/>
                    <a:pt x="4433" y="9251"/>
                    <a:pt x="4441" y="9246"/>
                  </a:cubicBezTo>
                  <a:cubicBezTo>
                    <a:pt x="4450" y="9240"/>
                    <a:pt x="4459" y="9233"/>
                    <a:pt x="4470" y="9227"/>
                  </a:cubicBezTo>
                  <a:lnTo>
                    <a:pt x="4446" y="9190"/>
                  </a:lnTo>
                  <a:cubicBezTo>
                    <a:pt x="4403" y="9215"/>
                    <a:pt x="4371" y="9248"/>
                    <a:pt x="4351" y="9289"/>
                  </a:cubicBezTo>
                  <a:cubicBezTo>
                    <a:pt x="4341" y="9308"/>
                    <a:pt x="4335" y="9327"/>
                    <a:pt x="4333" y="9345"/>
                  </a:cubicBezTo>
                  <a:cubicBezTo>
                    <a:pt x="4331" y="9363"/>
                    <a:pt x="4332" y="9381"/>
                    <a:pt x="4337" y="9396"/>
                  </a:cubicBezTo>
                  <a:cubicBezTo>
                    <a:pt x="4341" y="9412"/>
                    <a:pt x="4349" y="9427"/>
                    <a:pt x="4359" y="9439"/>
                  </a:cubicBezTo>
                  <a:cubicBezTo>
                    <a:pt x="4370" y="9452"/>
                    <a:pt x="4384" y="9463"/>
                    <a:pt x="4401" y="9471"/>
                  </a:cubicBezTo>
                  <a:cubicBezTo>
                    <a:pt x="4426" y="9483"/>
                    <a:pt x="4451" y="9486"/>
                    <a:pt x="4476" y="9478"/>
                  </a:cubicBezTo>
                  <a:cubicBezTo>
                    <a:pt x="4488" y="9474"/>
                    <a:pt x="4499" y="9468"/>
                    <a:pt x="4509" y="9460"/>
                  </a:cubicBezTo>
                  <a:cubicBezTo>
                    <a:pt x="4519" y="9452"/>
                    <a:pt x="4531" y="9441"/>
                    <a:pt x="4545" y="9425"/>
                  </a:cubicBezTo>
                  <a:lnTo>
                    <a:pt x="4577" y="9392"/>
                  </a:lnTo>
                  <a:cubicBezTo>
                    <a:pt x="4614" y="9352"/>
                    <a:pt x="4650" y="9341"/>
                    <a:pt x="4684" y="9358"/>
                  </a:cubicBezTo>
                  <a:cubicBezTo>
                    <a:pt x="4707" y="9369"/>
                    <a:pt x="4721" y="9388"/>
                    <a:pt x="4726" y="9413"/>
                  </a:cubicBezTo>
                  <a:cubicBezTo>
                    <a:pt x="4729" y="9425"/>
                    <a:pt x="4729" y="9436"/>
                    <a:pt x="4727" y="9446"/>
                  </a:cubicBezTo>
                  <a:cubicBezTo>
                    <a:pt x="4725" y="9456"/>
                    <a:pt x="4720" y="9469"/>
                    <a:pt x="4713" y="9484"/>
                  </a:cubicBezTo>
                  <a:cubicBezTo>
                    <a:pt x="4703" y="9503"/>
                    <a:pt x="4691" y="9521"/>
                    <a:pt x="4678" y="9535"/>
                  </a:cubicBezTo>
                  <a:cubicBezTo>
                    <a:pt x="4664" y="9549"/>
                    <a:pt x="4647" y="9562"/>
                    <a:pt x="4628" y="9572"/>
                  </a:cubicBezTo>
                  <a:lnTo>
                    <a:pt x="4654" y="9610"/>
                  </a:lnTo>
                  <a:cubicBezTo>
                    <a:pt x="4676" y="9597"/>
                    <a:pt x="4694" y="9582"/>
                    <a:pt x="4710" y="9564"/>
                  </a:cubicBezTo>
                  <a:cubicBezTo>
                    <a:pt x="4726" y="9547"/>
                    <a:pt x="4739" y="9526"/>
                    <a:pt x="4751" y="9503"/>
                  </a:cubicBezTo>
                  <a:cubicBezTo>
                    <a:pt x="4760" y="9484"/>
                    <a:pt x="4766" y="9467"/>
                    <a:pt x="4769" y="9452"/>
                  </a:cubicBezTo>
                  <a:cubicBezTo>
                    <a:pt x="4772" y="9436"/>
                    <a:pt x="4772" y="9420"/>
                    <a:pt x="4770" y="9403"/>
                  </a:cubicBezTo>
                  <a:cubicBezTo>
                    <a:pt x="4768" y="9380"/>
                    <a:pt x="4760" y="9360"/>
                    <a:pt x="4748" y="9342"/>
                  </a:cubicBezTo>
                  <a:cubicBezTo>
                    <a:pt x="4736" y="9325"/>
                    <a:pt x="4721" y="9312"/>
                    <a:pt x="4703" y="9303"/>
                  </a:cubicBezTo>
                  <a:cubicBezTo>
                    <a:pt x="4691" y="9297"/>
                    <a:pt x="4677" y="9293"/>
                    <a:pt x="4663" y="9291"/>
                  </a:cubicBezTo>
                  <a:close/>
                  <a:moveTo>
                    <a:pt x="4880" y="9221"/>
                  </a:moveTo>
                  <a:lnTo>
                    <a:pt x="4489" y="9029"/>
                  </a:lnTo>
                  <a:lnTo>
                    <a:pt x="4467" y="9074"/>
                  </a:lnTo>
                  <a:lnTo>
                    <a:pt x="4858" y="9267"/>
                  </a:lnTo>
                  <a:lnTo>
                    <a:pt x="4880" y="9221"/>
                  </a:lnTo>
                  <a:close/>
                  <a:moveTo>
                    <a:pt x="4655" y="8692"/>
                  </a:moveTo>
                  <a:lnTo>
                    <a:pt x="4528" y="8950"/>
                  </a:lnTo>
                  <a:lnTo>
                    <a:pt x="4567" y="8970"/>
                  </a:lnTo>
                  <a:lnTo>
                    <a:pt x="4619" y="8865"/>
                  </a:lnTo>
                  <a:lnTo>
                    <a:pt x="4970" y="9038"/>
                  </a:lnTo>
                  <a:lnTo>
                    <a:pt x="4993" y="8993"/>
                  </a:lnTo>
                  <a:lnTo>
                    <a:pt x="4641" y="8820"/>
                  </a:lnTo>
                  <a:lnTo>
                    <a:pt x="4693" y="8714"/>
                  </a:lnTo>
                  <a:lnTo>
                    <a:pt x="4655" y="8692"/>
                  </a:lnTo>
                  <a:close/>
                  <a:moveTo>
                    <a:pt x="5198" y="8575"/>
                  </a:moveTo>
                  <a:lnTo>
                    <a:pt x="4744" y="8512"/>
                  </a:lnTo>
                  <a:lnTo>
                    <a:pt x="4714" y="8573"/>
                  </a:lnTo>
                  <a:lnTo>
                    <a:pt x="5040" y="8896"/>
                  </a:lnTo>
                  <a:lnTo>
                    <a:pt x="5064" y="8848"/>
                  </a:lnTo>
                  <a:lnTo>
                    <a:pt x="4962" y="8752"/>
                  </a:lnTo>
                  <a:lnTo>
                    <a:pt x="5034" y="8606"/>
                  </a:lnTo>
                  <a:lnTo>
                    <a:pt x="5172" y="8628"/>
                  </a:lnTo>
                  <a:lnTo>
                    <a:pt x="5198" y="8575"/>
                  </a:lnTo>
                  <a:close/>
                  <a:moveTo>
                    <a:pt x="4990" y="8599"/>
                  </a:moveTo>
                  <a:lnTo>
                    <a:pt x="4930" y="8720"/>
                  </a:lnTo>
                  <a:lnTo>
                    <a:pt x="4769" y="8565"/>
                  </a:lnTo>
                  <a:lnTo>
                    <a:pt x="4990" y="8599"/>
                  </a:lnTo>
                  <a:close/>
                  <a:moveTo>
                    <a:pt x="4636" y="8543"/>
                  </a:moveTo>
                  <a:cubicBezTo>
                    <a:pt x="4627" y="8546"/>
                    <a:pt x="4621" y="8551"/>
                    <a:pt x="4617" y="8560"/>
                  </a:cubicBezTo>
                  <a:cubicBezTo>
                    <a:pt x="4613" y="8568"/>
                    <a:pt x="4612" y="8576"/>
                    <a:pt x="4615" y="8585"/>
                  </a:cubicBezTo>
                  <a:cubicBezTo>
                    <a:pt x="4618" y="8593"/>
                    <a:pt x="4624" y="8599"/>
                    <a:pt x="4632" y="8603"/>
                  </a:cubicBezTo>
                  <a:cubicBezTo>
                    <a:pt x="4640" y="8607"/>
                    <a:pt x="4648" y="8608"/>
                    <a:pt x="4657" y="8605"/>
                  </a:cubicBezTo>
                  <a:cubicBezTo>
                    <a:pt x="4666" y="8602"/>
                    <a:pt x="4672" y="8597"/>
                    <a:pt x="4676" y="8588"/>
                  </a:cubicBezTo>
                  <a:cubicBezTo>
                    <a:pt x="4680" y="8580"/>
                    <a:pt x="4681" y="8572"/>
                    <a:pt x="4678" y="8563"/>
                  </a:cubicBezTo>
                  <a:cubicBezTo>
                    <a:pt x="4675" y="8555"/>
                    <a:pt x="4669" y="8549"/>
                    <a:pt x="4660" y="8545"/>
                  </a:cubicBezTo>
                  <a:cubicBezTo>
                    <a:pt x="4652" y="8541"/>
                    <a:pt x="4644" y="8540"/>
                    <a:pt x="4636" y="8543"/>
                  </a:cubicBezTo>
                  <a:close/>
                  <a:moveTo>
                    <a:pt x="4693" y="8426"/>
                  </a:moveTo>
                  <a:cubicBezTo>
                    <a:pt x="4685" y="8428"/>
                    <a:pt x="4679" y="8434"/>
                    <a:pt x="4674" y="8442"/>
                  </a:cubicBezTo>
                  <a:cubicBezTo>
                    <a:pt x="4671" y="8450"/>
                    <a:pt x="4670" y="8459"/>
                    <a:pt x="4673" y="8467"/>
                  </a:cubicBezTo>
                  <a:cubicBezTo>
                    <a:pt x="4676" y="8476"/>
                    <a:pt x="4681" y="8482"/>
                    <a:pt x="4689" y="8486"/>
                  </a:cubicBezTo>
                  <a:cubicBezTo>
                    <a:pt x="4698" y="8490"/>
                    <a:pt x="4706" y="8491"/>
                    <a:pt x="4715" y="8488"/>
                  </a:cubicBezTo>
                  <a:cubicBezTo>
                    <a:pt x="4724" y="8485"/>
                    <a:pt x="4730" y="8479"/>
                    <a:pt x="4734" y="8471"/>
                  </a:cubicBezTo>
                  <a:cubicBezTo>
                    <a:pt x="4738" y="8463"/>
                    <a:pt x="4739" y="8454"/>
                    <a:pt x="4735" y="8446"/>
                  </a:cubicBezTo>
                  <a:cubicBezTo>
                    <a:pt x="4732" y="8438"/>
                    <a:pt x="4726" y="8431"/>
                    <a:pt x="4718" y="8427"/>
                  </a:cubicBezTo>
                  <a:cubicBezTo>
                    <a:pt x="4710" y="8423"/>
                    <a:pt x="4702" y="8423"/>
                    <a:pt x="4693" y="8426"/>
                  </a:cubicBezTo>
                  <a:close/>
                  <a:moveTo>
                    <a:pt x="4935" y="8123"/>
                  </a:moveTo>
                  <a:lnTo>
                    <a:pt x="4808" y="8381"/>
                  </a:lnTo>
                  <a:lnTo>
                    <a:pt x="4847" y="8401"/>
                  </a:lnTo>
                  <a:lnTo>
                    <a:pt x="4899" y="8296"/>
                  </a:lnTo>
                  <a:lnTo>
                    <a:pt x="5250" y="8469"/>
                  </a:lnTo>
                  <a:lnTo>
                    <a:pt x="5273" y="8424"/>
                  </a:lnTo>
                  <a:lnTo>
                    <a:pt x="4921" y="8251"/>
                  </a:lnTo>
                  <a:lnTo>
                    <a:pt x="4973" y="8145"/>
                  </a:lnTo>
                  <a:lnTo>
                    <a:pt x="4935" y="8123"/>
                  </a:lnTo>
                  <a:close/>
                  <a:moveTo>
                    <a:pt x="5601" y="7756"/>
                  </a:moveTo>
                  <a:lnTo>
                    <a:pt x="5194" y="7597"/>
                  </a:lnTo>
                  <a:lnTo>
                    <a:pt x="5160" y="7666"/>
                  </a:lnTo>
                  <a:lnTo>
                    <a:pt x="5383" y="7868"/>
                  </a:lnTo>
                  <a:cubicBezTo>
                    <a:pt x="5397" y="7879"/>
                    <a:pt x="5409" y="7890"/>
                    <a:pt x="5421" y="7898"/>
                  </a:cubicBezTo>
                  <a:cubicBezTo>
                    <a:pt x="5432" y="7907"/>
                    <a:pt x="5438" y="7912"/>
                    <a:pt x="5440" y="7913"/>
                  </a:cubicBezTo>
                  <a:cubicBezTo>
                    <a:pt x="5438" y="7912"/>
                    <a:pt x="5430" y="7910"/>
                    <a:pt x="5416" y="7907"/>
                  </a:cubicBezTo>
                  <a:cubicBezTo>
                    <a:pt x="5402" y="7903"/>
                    <a:pt x="5385" y="7899"/>
                    <a:pt x="5364" y="7895"/>
                  </a:cubicBezTo>
                  <a:lnTo>
                    <a:pt x="5074" y="7841"/>
                  </a:lnTo>
                  <a:lnTo>
                    <a:pt x="5040" y="7909"/>
                  </a:lnTo>
                  <a:lnTo>
                    <a:pt x="5414" y="8135"/>
                  </a:lnTo>
                  <a:lnTo>
                    <a:pt x="5437" y="8090"/>
                  </a:lnTo>
                  <a:lnTo>
                    <a:pt x="5169" y="7932"/>
                  </a:lnTo>
                  <a:cubicBezTo>
                    <a:pt x="5164" y="7929"/>
                    <a:pt x="5157" y="7925"/>
                    <a:pt x="5150" y="7921"/>
                  </a:cubicBezTo>
                  <a:cubicBezTo>
                    <a:pt x="5142" y="7916"/>
                    <a:pt x="5135" y="7912"/>
                    <a:pt x="5127" y="7908"/>
                  </a:cubicBezTo>
                  <a:cubicBezTo>
                    <a:pt x="5120" y="7904"/>
                    <a:pt x="5113" y="7900"/>
                    <a:pt x="5108" y="7897"/>
                  </a:cubicBezTo>
                  <a:cubicBezTo>
                    <a:pt x="5103" y="7894"/>
                    <a:pt x="5100" y="7892"/>
                    <a:pt x="5098" y="7892"/>
                  </a:cubicBezTo>
                  <a:cubicBezTo>
                    <a:pt x="5103" y="7893"/>
                    <a:pt x="5112" y="7895"/>
                    <a:pt x="5126" y="7897"/>
                  </a:cubicBezTo>
                  <a:cubicBezTo>
                    <a:pt x="5141" y="7900"/>
                    <a:pt x="5159" y="7904"/>
                    <a:pt x="5181" y="7908"/>
                  </a:cubicBezTo>
                  <a:lnTo>
                    <a:pt x="5497" y="7967"/>
                  </a:lnTo>
                  <a:lnTo>
                    <a:pt x="5517" y="7928"/>
                  </a:lnTo>
                  <a:lnTo>
                    <a:pt x="5266" y="7700"/>
                  </a:lnTo>
                  <a:cubicBezTo>
                    <a:pt x="5261" y="7696"/>
                    <a:pt x="5255" y="7691"/>
                    <a:pt x="5249" y="7686"/>
                  </a:cubicBezTo>
                  <a:cubicBezTo>
                    <a:pt x="5244" y="7681"/>
                    <a:pt x="5238" y="7676"/>
                    <a:pt x="5233" y="7672"/>
                  </a:cubicBezTo>
                  <a:cubicBezTo>
                    <a:pt x="5227" y="7667"/>
                    <a:pt x="5223" y="7664"/>
                    <a:pt x="5219" y="7660"/>
                  </a:cubicBezTo>
                  <a:cubicBezTo>
                    <a:pt x="5216" y="7657"/>
                    <a:pt x="5213" y="7656"/>
                    <a:pt x="5213" y="7655"/>
                  </a:cubicBezTo>
                  <a:cubicBezTo>
                    <a:pt x="5214" y="7655"/>
                    <a:pt x="5216" y="7656"/>
                    <a:pt x="5221" y="7658"/>
                  </a:cubicBezTo>
                  <a:cubicBezTo>
                    <a:pt x="5226" y="7661"/>
                    <a:pt x="5231" y="7663"/>
                    <a:pt x="5238" y="7666"/>
                  </a:cubicBezTo>
                  <a:cubicBezTo>
                    <a:pt x="5245" y="7669"/>
                    <a:pt x="5252" y="7672"/>
                    <a:pt x="5260" y="7676"/>
                  </a:cubicBezTo>
                  <a:cubicBezTo>
                    <a:pt x="5267" y="7679"/>
                    <a:pt x="5274" y="7682"/>
                    <a:pt x="5280" y="7685"/>
                  </a:cubicBezTo>
                  <a:lnTo>
                    <a:pt x="5578" y="7803"/>
                  </a:lnTo>
                  <a:lnTo>
                    <a:pt x="5601" y="7756"/>
                  </a:lnTo>
                  <a:close/>
                  <a:moveTo>
                    <a:pt x="5386" y="7207"/>
                  </a:moveTo>
                  <a:lnTo>
                    <a:pt x="5363" y="7254"/>
                  </a:lnTo>
                  <a:lnTo>
                    <a:pt x="5635" y="7388"/>
                  </a:lnTo>
                  <a:cubicBezTo>
                    <a:pt x="5648" y="7394"/>
                    <a:pt x="5659" y="7401"/>
                    <a:pt x="5668" y="7407"/>
                  </a:cubicBezTo>
                  <a:cubicBezTo>
                    <a:pt x="5676" y="7413"/>
                    <a:pt x="5683" y="7422"/>
                    <a:pt x="5689" y="7432"/>
                  </a:cubicBezTo>
                  <a:cubicBezTo>
                    <a:pt x="5694" y="7442"/>
                    <a:pt x="5696" y="7454"/>
                    <a:pt x="5694" y="7468"/>
                  </a:cubicBezTo>
                  <a:cubicBezTo>
                    <a:pt x="5692" y="7482"/>
                    <a:pt x="5687" y="7497"/>
                    <a:pt x="5679" y="7513"/>
                  </a:cubicBezTo>
                  <a:cubicBezTo>
                    <a:pt x="5673" y="7526"/>
                    <a:pt x="5667" y="7535"/>
                    <a:pt x="5661" y="7543"/>
                  </a:cubicBezTo>
                  <a:cubicBezTo>
                    <a:pt x="5654" y="7551"/>
                    <a:pt x="5647" y="7557"/>
                    <a:pt x="5641" y="7561"/>
                  </a:cubicBezTo>
                  <a:cubicBezTo>
                    <a:pt x="5634" y="7565"/>
                    <a:pt x="5627" y="7568"/>
                    <a:pt x="5621" y="7569"/>
                  </a:cubicBezTo>
                  <a:cubicBezTo>
                    <a:pt x="5615" y="7571"/>
                    <a:pt x="5609" y="7571"/>
                    <a:pt x="5604" y="7571"/>
                  </a:cubicBezTo>
                  <a:cubicBezTo>
                    <a:pt x="5596" y="7571"/>
                    <a:pt x="5587" y="7568"/>
                    <a:pt x="5576" y="7564"/>
                  </a:cubicBezTo>
                  <a:cubicBezTo>
                    <a:pt x="5564" y="7560"/>
                    <a:pt x="5554" y="7555"/>
                    <a:pt x="5544" y="7550"/>
                  </a:cubicBezTo>
                  <a:lnTo>
                    <a:pt x="5281" y="7421"/>
                  </a:lnTo>
                  <a:lnTo>
                    <a:pt x="5258" y="7467"/>
                  </a:lnTo>
                  <a:lnTo>
                    <a:pt x="5538" y="7605"/>
                  </a:lnTo>
                  <a:cubicBezTo>
                    <a:pt x="5547" y="7609"/>
                    <a:pt x="5557" y="7613"/>
                    <a:pt x="5569" y="7618"/>
                  </a:cubicBezTo>
                  <a:cubicBezTo>
                    <a:pt x="5581" y="7622"/>
                    <a:pt x="5593" y="7624"/>
                    <a:pt x="5605" y="7623"/>
                  </a:cubicBezTo>
                  <a:cubicBezTo>
                    <a:pt x="5629" y="7622"/>
                    <a:pt x="5651" y="7615"/>
                    <a:pt x="5669" y="7601"/>
                  </a:cubicBezTo>
                  <a:cubicBezTo>
                    <a:pt x="5687" y="7588"/>
                    <a:pt x="5703" y="7566"/>
                    <a:pt x="5718" y="7535"/>
                  </a:cubicBezTo>
                  <a:cubicBezTo>
                    <a:pt x="5730" y="7511"/>
                    <a:pt x="5737" y="7490"/>
                    <a:pt x="5740" y="7472"/>
                  </a:cubicBezTo>
                  <a:cubicBezTo>
                    <a:pt x="5743" y="7453"/>
                    <a:pt x="5743" y="7435"/>
                    <a:pt x="5738" y="7418"/>
                  </a:cubicBezTo>
                  <a:cubicBezTo>
                    <a:pt x="5734" y="7401"/>
                    <a:pt x="5727" y="7388"/>
                    <a:pt x="5716" y="7377"/>
                  </a:cubicBezTo>
                  <a:cubicBezTo>
                    <a:pt x="5704" y="7367"/>
                    <a:pt x="5687" y="7356"/>
                    <a:pt x="5664" y="7344"/>
                  </a:cubicBezTo>
                  <a:lnTo>
                    <a:pt x="5386" y="7207"/>
                  </a:lnTo>
                  <a:close/>
                  <a:moveTo>
                    <a:pt x="5228" y="7338"/>
                  </a:moveTo>
                  <a:cubicBezTo>
                    <a:pt x="5220" y="7341"/>
                    <a:pt x="5214" y="7347"/>
                    <a:pt x="5210" y="7355"/>
                  </a:cubicBezTo>
                  <a:cubicBezTo>
                    <a:pt x="5206" y="7363"/>
                    <a:pt x="5205" y="7371"/>
                    <a:pt x="5208" y="7380"/>
                  </a:cubicBezTo>
                  <a:cubicBezTo>
                    <a:pt x="5211" y="7388"/>
                    <a:pt x="5216" y="7395"/>
                    <a:pt x="5224" y="7399"/>
                  </a:cubicBezTo>
                  <a:cubicBezTo>
                    <a:pt x="5233" y="7403"/>
                    <a:pt x="5241" y="7403"/>
                    <a:pt x="5250" y="7400"/>
                  </a:cubicBezTo>
                  <a:cubicBezTo>
                    <a:pt x="5259" y="7398"/>
                    <a:pt x="5265" y="7392"/>
                    <a:pt x="5269" y="7384"/>
                  </a:cubicBezTo>
                  <a:cubicBezTo>
                    <a:pt x="5273" y="7375"/>
                    <a:pt x="5274" y="7367"/>
                    <a:pt x="5270" y="7359"/>
                  </a:cubicBezTo>
                  <a:cubicBezTo>
                    <a:pt x="5267" y="7350"/>
                    <a:pt x="5262" y="7344"/>
                    <a:pt x="5253" y="7340"/>
                  </a:cubicBezTo>
                  <a:cubicBezTo>
                    <a:pt x="5245" y="7336"/>
                    <a:pt x="5237" y="7335"/>
                    <a:pt x="5228" y="7338"/>
                  </a:cubicBezTo>
                  <a:close/>
                  <a:moveTo>
                    <a:pt x="5286" y="7221"/>
                  </a:moveTo>
                  <a:cubicBezTo>
                    <a:pt x="5277" y="7224"/>
                    <a:pt x="5271" y="7230"/>
                    <a:pt x="5267" y="7238"/>
                  </a:cubicBezTo>
                  <a:cubicBezTo>
                    <a:pt x="5263" y="7246"/>
                    <a:pt x="5263" y="7255"/>
                    <a:pt x="5265" y="7263"/>
                  </a:cubicBezTo>
                  <a:cubicBezTo>
                    <a:pt x="5268" y="7272"/>
                    <a:pt x="5274" y="7278"/>
                    <a:pt x="5282" y="7282"/>
                  </a:cubicBezTo>
                  <a:cubicBezTo>
                    <a:pt x="5290" y="7286"/>
                    <a:pt x="5299" y="7286"/>
                    <a:pt x="5307" y="7284"/>
                  </a:cubicBezTo>
                  <a:cubicBezTo>
                    <a:pt x="5316" y="7281"/>
                    <a:pt x="5322" y="7275"/>
                    <a:pt x="5327" y="7267"/>
                  </a:cubicBezTo>
                  <a:cubicBezTo>
                    <a:pt x="5331" y="7259"/>
                    <a:pt x="5331" y="7250"/>
                    <a:pt x="5328" y="7242"/>
                  </a:cubicBezTo>
                  <a:cubicBezTo>
                    <a:pt x="5325" y="7233"/>
                    <a:pt x="5319" y="7227"/>
                    <a:pt x="5311" y="7223"/>
                  </a:cubicBezTo>
                  <a:cubicBezTo>
                    <a:pt x="5303" y="7219"/>
                    <a:pt x="5294" y="7219"/>
                    <a:pt x="5286" y="7221"/>
                  </a:cubicBezTo>
                  <a:close/>
                  <a:moveTo>
                    <a:pt x="5960" y="7027"/>
                  </a:moveTo>
                  <a:lnTo>
                    <a:pt x="5569" y="6835"/>
                  </a:lnTo>
                  <a:lnTo>
                    <a:pt x="5546" y="6881"/>
                  </a:lnTo>
                  <a:lnTo>
                    <a:pt x="5759" y="6984"/>
                  </a:lnTo>
                  <a:cubicBezTo>
                    <a:pt x="5774" y="6991"/>
                    <a:pt x="5788" y="6998"/>
                    <a:pt x="5802" y="7004"/>
                  </a:cubicBezTo>
                  <a:cubicBezTo>
                    <a:pt x="5816" y="7010"/>
                    <a:pt x="5829" y="7016"/>
                    <a:pt x="5841" y="7021"/>
                  </a:cubicBezTo>
                  <a:cubicBezTo>
                    <a:pt x="5852" y="7026"/>
                    <a:pt x="5862" y="7030"/>
                    <a:pt x="5869" y="7033"/>
                  </a:cubicBezTo>
                  <a:cubicBezTo>
                    <a:pt x="5877" y="7036"/>
                    <a:pt x="5881" y="7037"/>
                    <a:pt x="5881" y="7037"/>
                  </a:cubicBezTo>
                  <a:cubicBezTo>
                    <a:pt x="5880" y="7037"/>
                    <a:pt x="5876" y="7037"/>
                    <a:pt x="5870" y="7036"/>
                  </a:cubicBezTo>
                  <a:cubicBezTo>
                    <a:pt x="5864" y="7036"/>
                    <a:pt x="5856" y="7036"/>
                    <a:pt x="5847" y="7035"/>
                  </a:cubicBezTo>
                  <a:cubicBezTo>
                    <a:pt x="5838" y="7035"/>
                    <a:pt x="5827" y="7034"/>
                    <a:pt x="5816" y="7034"/>
                  </a:cubicBezTo>
                  <a:cubicBezTo>
                    <a:pt x="5804" y="7033"/>
                    <a:pt x="5793" y="7033"/>
                    <a:pt x="5781" y="7033"/>
                  </a:cubicBezTo>
                  <a:lnTo>
                    <a:pt x="5468" y="7041"/>
                  </a:lnTo>
                  <a:lnTo>
                    <a:pt x="5441" y="7095"/>
                  </a:lnTo>
                  <a:lnTo>
                    <a:pt x="5832" y="7287"/>
                  </a:lnTo>
                  <a:lnTo>
                    <a:pt x="5856" y="7239"/>
                  </a:lnTo>
                  <a:lnTo>
                    <a:pt x="5628" y="7129"/>
                  </a:lnTo>
                  <a:cubicBezTo>
                    <a:pt x="5616" y="7124"/>
                    <a:pt x="5605" y="7118"/>
                    <a:pt x="5593" y="7113"/>
                  </a:cubicBezTo>
                  <a:cubicBezTo>
                    <a:pt x="5582" y="7108"/>
                    <a:pt x="5571" y="7104"/>
                    <a:pt x="5561" y="7100"/>
                  </a:cubicBezTo>
                  <a:cubicBezTo>
                    <a:pt x="5551" y="7095"/>
                    <a:pt x="5542" y="7092"/>
                    <a:pt x="5535" y="7088"/>
                  </a:cubicBezTo>
                  <a:cubicBezTo>
                    <a:pt x="5528" y="7085"/>
                    <a:pt x="5523" y="7083"/>
                    <a:pt x="5519" y="7082"/>
                  </a:cubicBezTo>
                  <a:cubicBezTo>
                    <a:pt x="5523" y="7083"/>
                    <a:pt x="5529" y="7083"/>
                    <a:pt x="5536" y="7084"/>
                  </a:cubicBezTo>
                  <a:cubicBezTo>
                    <a:pt x="5544" y="7084"/>
                    <a:pt x="5552" y="7084"/>
                    <a:pt x="5563" y="7084"/>
                  </a:cubicBezTo>
                  <a:cubicBezTo>
                    <a:pt x="5573" y="7084"/>
                    <a:pt x="5584" y="7084"/>
                    <a:pt x="5596" y="7084"/>
                  </a:cubicBezTo>
                  <a:cubicBezTo>
                    <a:pt x="5608" y="7084"/>
                    <a:pt x="5621" y="7084"/>
                    <a:pt x="5635" y="7084"/>
                  </a:cubicBezTo>
                  <a:lnTo>
                    <a:pt x="5936" y="7076"/>
                  </a:lnTo>
                  <a:lnTo>
                    <a:pt x="5960" y="7027"/>
                  </a:lnTo>
                  <a:close/>
                  <a:moveTo>
                    <a:pt x="5984" y="6606"/>
                  </a:moveTo>
                  <a:cubicBezTo>
                    <a:pt x="5969" y="6605"/>
                    <a:pt x="5955" y="6606"/>
                    <a:pt x="5942" y="6609"/>
                  </a:cubicBezTo>
                  <a:cubicBezTo>
                    <a:pt x="5929" y="6613"/>
                    <a:pt x="5917" y="6618"/>
                    <a:pt x="5906" y="6626"/>
                  </a:cubicBezTo>
                  <a:cubicBezTo>
                    <a:pt x="5895" y="6633"/>
                    <a:pt x="5883" y="6644"/>
                    <a:pt x="5869" y="6659"/>
                  </a:cubicBezTo>
                  <a:lnTo>
                    <a:pt x="5833" y="6697"/>
                  </a:lnTo>
                  <a:cubicBezTo>
                    <a:pt x="5814" y="6716"/>
                    <a:pt x="5797" y="6729"/>
                    <a:pt x="5783" y="6734"/>
                  </a:cubicBezTo>
                  <a:cubicBezTo>
                    <a:pt x="5768" y="6740"/>
                    <a:pt x="5753" y="6738"/>
                    <a:pt x="5737" y="6731"/>
                  </a:cubicBezTo>
                  <a:cubicBezTo>
                    <a:pt x="5717" y="6721"/>
                    <a:pt x="5704" y="6706"/>
                    <a:pt x="5700" y="6687"/>
                  </a:cubicBezTo>
                  <a:cubicBezTo>
                    <a:pt x="5695" y="6667"/>
                    <a:pt x="5699" y="6646"/>
                    <a:pt x="5711" y="6621"/>
                  </a:cubicBezTo>
                  <a:cubicBezTo>
                    <a:pt x="5715" y="6612"/>
                    <a:pt x="5720" y="6605"/>
                    <a:pt x="5724" y="6598"/>
                  </a:cubicBezTo>
                  <a:cubicBezTo>
                    <a:pt x="5729" y="6591"/>
                    <a:pt x="5735" y="6585"/>
                    <a:pt x="5741" y="6579"/>
                  </a:cubicBezTo>
                  <a:cubicBezTo>
                    <a:pt x="5747" y="6572"/>
                    <a:pt x="5754" y="6566"/>
                    <a:pt x="5763" y="6561"/>
                  </a:cubicBezTo>
                  <a:cubicBezTo>
                    <a:pt x="5771" y="6555"/>
                    <a:pt x="5780" y="6548"/>
                    <a:pt x="5791" y="6542"/>
                  </a:cubicBezTo>
                  <a:lnTo>
                    <a:pt x="5767" y="6505"/>
                  </a:lnTo>
                  <a:cubicBezTo>
                    <a:pt x="5724" y="6530"/>
                    <a:pt x="5692" y="6563"/>
                    <a:pt x="5672" y="6604"/>
                  </a:cubicBezTo>
                  <a:cubicBezTo>
                    <a:pt x="5662" y="6623"/>
                    <a:pt x="5657" y="6642"/>
                    <a:pt x="5654" y="6660"/>
                  </a:cubicBezTo>
                  <a:cubicBezTo>
                    <a:pt x="5652" y="6679"/>
                    <a:pt x="5653" y="6696"/>
                    <a:pt x="5658" y="6711"/>
                  </a:cubicBezTo>
                  <a:cubicBezTo>
                    <a:pt x="5662" y="6727"/>
                    <a:pt x="5670" y="6742"/>
                    <a:pt x="5681" y="6754"/>
                  </a:cubicBezTo>
                  <a:cubicBezTo>
                    <a:pt x="5691" y="6767"/>
                    <a:pt x="5705" y="6778"/>
                    <a:pt x="5722" y="6786"/>
                  </a:cubicBezTo>
                  <a:cubicBezTo>
                    <a:pt x="5747" y="6798"/>
                    <a:pt x="5772" y="6801"/>
                    <a:pt x="5798" y="6793"/>
                  </a:cubicBezTo>
                  <a:cubicBezTo>
                    <a:pt x="5809" y="6789"/>
                    <a:pt x="5820" y="6783"/>
                    <a:pt x="5830" y="6775"/>
                  </a:cubicBezTo>
                  <a:cubicBezTo>
                    <a:pt x="5840" y="6767"/>
                    <a:pt x="5852" y="6756"/>
                    <a:pt x="5867" y="6741"/>
                  </a:cubicBezTo>
                  <a:lnTo>
                    <a:pt x="5898" y="6707"/>
                  </a:lnTo>
                  <a:cubicBezTo>
                    <a:pt x="5935" y="6667"/>
                    <a:pt x="5971" y="6656"/>
                    <a:pt x="6005" y="6673"/>
                  </a:cubicBezTo>
                  <a:cubicBezTo>
                    <a:pt x="6028" y="6684"/>
                    <a:pt x="6042" y="6703"/>
                    <a:pt x="6047" y="6728"/>
                  </a:cubicBezTo>
                  <a:cubicBezTo>
                    <a:pt x="6050" y="6740"/>
                    <a:pt x="6050" y="6751"/>
                    <a:pt x="6048" y="6761"/>
                  </a:cubicBezTo>
                  <a:cubicBezTo>
                    <a:pt x="6046" y="6771"/>
                    <a:pt x="6041" y="6784"/>
                    <a:pt x="6034" y="6799"/>
                  </a:cubicBezTo>
                  <a:cubicBezTo>
                    <a:pt x="6024" y="6819"/>
                    <a:pt x="6013" y="6836"/>
                    <a:pt x="5999" y="6850"/>
                  </a:cubicBezTo>
                  <a:cubicBezTo>
                    <a:pt x="5985" y="6864"/>
                    <a:pt x="5969" y="6877"/>
                    <a:pt x="5949" y="6887"/>
                  </a:cubicBezTo>
                  <a:lnTo>
                    <a:pt x="5975" y="6926"/>
                  </a:lnTo>
                  <a:cubicBezTo>
                    <a:pt x="5997" y="6912"/>
                    <a:pt x="6015" y="6897"/>
                    <a:pt x="6031" y="6879"/>
                  </a:cubicBezTo>
                  <a:cubicBezTo>
                    <a:pt x="6047" y="6862"/>
                    <a:pt x="6060" y="6841"/>
                    <a:pt x="6072" y="6818"/>
                  </a:cubicBezTo>
                  <a:cubicBezTo>
                    <a:pt x="6081" y="6799"/>
                    <a:pt x="6087" y="6782"/>
                    <a:pt x="6090" y="6767"/>
                  </a:cubicBezTo>
                  <a:cubicBezTo>
                    <a:pt x="6093" y="6751"/>
                    <a:pt x="6093" y="6735"/>
                    <a:pt x="6091" y="6718"/>
                  </a:cubicBezTo>
                  <a:cubicBezTo>
                    <a:pt x="6089" y="6695"/>
                    <a:pt x="6082" y="6675"/>
                    <a:pt x="6069" y="6657"/>
                  </a:cubicBezTo>
                  <a:cubicBezTo>
                    <a:pt x="6057" y="6640"/>
                    <a:pt x="6042" y="6627"/>
                    <a:pt x="6024" y="6618"/>
                  </a:cubicBezTo>
                  <a:cubicBezTo>
                    <a:pt x="6012" y="6612"/>
                    <a:pt x="5998" y="6608"/>
                    <a:pt x="5984" y="6606"/>
                  </a:cubicBezTo>
                  <a:close/>
                  <a:moveTo>
                    <a:pt x="5901" y="6160"/>
                  </a:moveTo>
                  <a:lnTo>
                    <a:pt x="5774" y="6418"/>
                  </a:lnTo>
                  <a:lnTo>
                    <a:pt x="5813" y="6438"/>
                  </a:lnTo>
                  <a:lnTo>
                    <a:pt x="5865" y="6333"/>
                  </a:lnTo>
                  <a:lnTo>
                    <a:pt x="6216" y="6506"/>
                  </a:lnTo>
                  <a:lnTo>
                    <a:pt x="6238" y="6461"/>
                  </a:lnTo>
                  <a:lnTo>
                    <a:pt x="5887" y="6288"/>
                  </a:lnTo>
                  <a:lnTo>
                    <a:pt x="5939" y="6182"/>
                  </a:lnTo>
                  <a:lnTo>
                    <a:pt x="5901" y="6160"/>
                  </a:lnTo>
                  <a:close/>
                  <a:moveTo>
                    <a:pt x="6433" y="6065"/>
                  </a:moveTo>
                  <a:lnTo>
                    <a:pt x="6393" y="6046"/>
                  </a:lnTo>
                  <a:lnTo>
                    <a:pt x="6308" y="6218"/>
                  </a:lnTo>
                  <a:lnTo>
                    <a:pt x="6165" y="6147"/>
                  </a:lnTo>
                  <a:lnTo>
                    <a:pt x="6231" y="6013"/>
                  </a:lnTo>
                  <a:lnTo>
                    <a:pt x="6190" y="5993"/>
                  </a:lnTo>
                  <a:lnTo>
                    <a:pt x="6124" y="6127"/>
                  </a:lnTo>
                  <a:lnTo>
                    <a:pt x="5996" y="6064"/>
                  </a:lnTo>
                  <a:lnTo>
                    <a:pt x="6075" y="5904"/>
                  </a:lnTo>
                  <a:lnTo>
                    <a:pt x="6039" y="5879"/>
                  </a:lnTo>
                  <a:lnTo>
                    <a:pt x="5934" y="6092"/>
                  </a:lnTo>
                  <a:lnTo>
                    <a:pt x="6325" y="6285"/>
                  </a:lnTo>
                  <a:lnTo>
                    <a:pt x="6433" y="6065"/>
                  </a:lnTo>
                  <a:close/>
                  <a:moveTo>
                    <a:pt x="6596" y="5734"/>
                  </a:moveTo>
                  <a:lnTo>
                    <a:pt x="6560" y="5739"/>
                  </a:lnTo>
                  <a:cubicBezTo>
                    <a:pt x="6543" y="5741"/>
                    <a:pt x="6525" y="5744"/>
                    <a:pt x="6507" y="5746"/>
                  </a:cubicBezTo>
                  <a:cubicBezTo>
                    <a:pt x="6488" y="5749"/>
                    <a:pt x="6470" y="5751"/>
                    <a:pt x="6454" y="5754"/>
                  </a:cubicBezTo>
                  <a:cubicBezTo>
                    <a:pt x="6437" y="5756"/>
                    <a:pt x="6426" y="5758"/>
                    <a:pt x="6419" y="5759"/>
                  </a:cubicBezTo>
                  <a:cubicBezTo>
                    <a:pt x="6409" y="5761"/>
                    <a:pt x="6398" y="5763"/>
                    <a:pt x="6386" y="5766"/>
                  </a:cubicBezTo>
                  <a:cubicBezTo>
                    <a:pt x="6374" y="5769"/>
                    <a:pt x="6364" y="5773"/>
                    <a:pt x="6356" y="5777"/>
                  </a:cubicBezTo>
                  <a:lnTo>
                    <a:pt x="6358" y="5771"/>
                  </a:lnTo>
                  <a:cubicBezTo>
                    <a:pt x="6366" y="5756"/>
                    <a:pt x="6370" y="5740"/>
                    <a:pt x="6372" y="5725"/>
                  </a:cubicBezTo>
                  <a:cubicBezTo>
                    <a:pt x="6373" y="5710"/>
                    <a:pt x="6371" y="5695"/>
                    <a:pt x="6366" y="5681"/>
                  </a:cubicBezTo>
                  <a:cubicBezTo>
                    <a:pt x="6361" y="5668"/>
                    <a:pt x="6353" y="5655"/>
                    <a:pt x="6343" y="5644"/>
                  </a:cubicBezTo>
                  <a:cubicBezTo>
                    <a:pt x="6332" y="5632"/>
                    <a:pt x="6318" y="5623"/>
                    <a:pt x="6302" y="5615"/>
                  </a:cubicBezTo>
                  <a:cubicBezTo>
                    <a:pt x="6292" y="5610"/>
                    <a:pt x="6282" y="5606"/>
                    <a:pt x="6272" y="5605"/>
                  </a:cubicBezTo>
                  <a:cubicBezTo>
                    <a:pt x="6263" y="5603"/>
                    <a:pt x="6253" y="5602"/>
                    <a:pt x="6245" y="5602"/>
                  </a:cubicBezTo>
                  <a:cubicBezTo>
                    <a:pt x="6236" y="5603"/>
                    <a:pt x="6228" y="5604"/>
                    <a:pt x="6221" y="5606"/>
                  </a:cubicBezTo>
                  <a:cubicBezTo>
                    <a:pt x="6213" y="5608"/>
                    <a:pt x="6207" y="5610"/>
                    <a:pt x="6201" y="5613"/>
                  </a:cubicBezTo>
                  <a:cubicBezTo>
                    <a:pt x="6195" y="5616"/>
                    <a:pt x="6189" y="5619"/>
                    <a:pt x="6183" y="5624"/>
                  </a:cubicBezTo>
                  <a:cubicBezTo>
                    <a:pt x="6177" y="5628"/>
                    <a:pt x="6171" y="5634"/>
                    <a:pt x="6165" y="5640"/>
                  </a:cubicBezTo>
                  <a:cubicBezTo>
                    <a:pt x="6159" y="5647"/>
                    <a:pt x="6153" y="5655"/>
                    <a:pt x="6147" y="5665"/>
                  </a:cubicBezTo>
                  <a:cubicBezTo>
                    <a:pt x="6141" y="5675"/>
                    <a:pt x="6134" y="5686"/>
                    <a:pt x="6128" y="5699"/>
                  </a:cubicBezTo>
                  <a:lnTo>
                    <a:pt x="6083" y="5790"/>
                  </a:lnTo>
                  <a:lnTo>
                    <a:pt x="6474" y="5983"/>
                  </a:lnTo>
                  <a:lnTo>
                    <a:pt x="6496" y="5937"/>
                  </a:lnTo>
                  <a:lnTo>
                    <a:pt x="6319" y="5850"/>
                  </a:lnTo>
                  <a:cubicBezTo>
                    <a:pt x="6325" y="5841"/>
                    <a:pt x="6330" y="5834"/>
                    <a:pt x="6337" y="5829"/>
                  </a:cubicBezTo>
                  <a:cubicBezTo>
                    <a:pt x="6343" y="5825"/>
                    <a:pt x="6353" y="5821"/>
                    <a:pt x="6366" y="5818"/>
                  </a:cubicBezTo>
                  <a:cubicBezTo>
                    <a:pt x="6389" y="5814"/>
                    <a:pt x="6411" y="5809"/>
                    <a:pt x="6432" y="5806"/>
                  </a:cubicBezTo>
                  <a:cubicBezTo>
                    <a:pt x="6453" y="5803"/>
                    <a:pt x="6472" y="5800"/>
                    <a:pt x="6489" y="5798"/>
                  </a:cubicBezTo>
                  <a:cubicBezTo>
                    <a:pt x="6507" y="5796"/>
                    <a:pt x="6522" y="5794"/>
                    <a:pt x="6535" y="5794"/>
                  </a:cubicBezTo>
                  <a:cubicBezTo>
                    <a:pt x="6548" y="5793"/>
                    <a:pt x="6559" y="5793"/>
                    <a:pt x="6567" y="5793"/>
                  </a:cubicBezTo>
                  <a:lnTo>
                    <a:pt x="6596" y="5734"/>
                  </a:lnTo>
                  <a:close/>
                  <a:moveTo>
                    <a:pt x="6310" y="5685"/>
                  </a:moveTo>
                  <a:cubicBezTo>
                    <a:pt x="6318" y="5694"/>
                    <a:pt x="6324" y="5703"/>
                    <a:pt x="6327" y="5712"/>
                  </a:cubicBezTo>
                  <a:cubicBezTo>
                    <a:pt x="6330" y="5723"/>
                    <a:pt x="6330" y="5735"/>
                    <a:pt x="6328" y="5748"/>
                  </a:cubicBezTo>
                  <a:cubicBezTo>
                    <a:pt x="6326" y="5760"/>
                    <a:pt x="6320" y="5775"/>
                    <a:pt x="6312" y="5793"/>
                  </a:cubicBezTo>
                  <a:lnTo>
                    <a:pt x="6290" y="5836"/>
                  </a:lnTo>
                  <a:lnTo>
                    <a:pt x="6145" y="5764"/>
                  </a:lnTo>
                  <a:lnTo>
                    <a:pt x="6168" y="5718"/>
                  </a:lnTo>
                  <a:cubicBezTo>
                    <a:pt x="6173" y="5707"/>
                    <a:pt x="6178" y="5698"/>
                    <a:pt x="6183" y="5691"/>
                  </a:cubicBezTo>
                  <a:cubicBezTo>
                    <a:pt x="6188" y="5684"/>
                    <a:pt x="6194" y="5678"/>
                    <a:pt x="6200" y="5672"/>
                  </a:cubicBezTo>
                  <a:cubicBezTo>
                    <a:pt x="6210" y="5664"/>
                    <a:pt x="6222" y="5658"/>
                    <a:pt x="6236" y="5657"/>
                  </a:cubicBezTo>
                  <a:cubicBezTo>
                    <a:pt x="6251" y="5655"/>
                    <a:pt x="6265" y="5657"/>
                    <a:pt x="6278" y="5663"/>
                  </a:cubicBezTo>
                  <a:cubicBezTo>
                    <a:pt x="6291" y="5670"/>
                    <a:pt x="6301" y="5677"/>
                    <a:pt x="6310" y="5685"/>
                  </a:cubicBezTo>
                  <a:close/>
                  <a:moveTo>
                    <a:pt x="6808" y="5523"/>
                  </a:moveTo>
                  <a:lnTo>
                    <a:pt x="6259" y="5253"/>
                  </a:lnTo>
                  <a:lnTo>
                    <a:pt x="6240" y="5290"/>
                  </a:lnTo>
                  <a:lnTo>
                    <a:pt x="6789" y="5561"/>
                  </a:lnTo>
                  <a:lnTo>
                    <a:pt x="6808" y="5523"/>
                  </a:lnTo>
                  <a:close/>
                  <a:moveTo>
                    <a:pt x="6582" y="4775"/>
                  </a:moveTo>
                  <a:lnTo>
                    <a:pt x="6560" y="4821"/>
                  </a:lnTo>
                  <a:lnTo>
                    <a:pt x="6832" y="4955"/>
                  </a:lnTo>
                  <a:cubicBezTo>
                    <a:pt x="6845" y="4962"/>
                    <a:pt x="6856" y="4968"/>
                    <a:pt x="6865" y="4975"/>
                  </a:cubicBezTo>
                  <a:cubicBezTo>
                    <a:pt x="6873" y="4981"/>
                    <a:pt x="6880" y="4989"/>
                    <a:pt x="6886" y="5000"/>
                  </a:cubicBezTo>
                  <a:cubicBezTo>
                    <a:pt x="6891" y="5010"/>
                    <a:pt x="6892" y="5022"/>
                    <a:pt x="6891" y="5036"/>
                  </a:cubicBezTo>
                  <a:cubicBezTo>
                    <a:pt x="6889" y="5050"/>
                    <a:pt x="6884" y="5065"/>
                    <a:pt x="6876" y="5081"/>
                  </a:cubicBezTo>
                  <a:cubicBezTo>
                    <a:pt x="6870" y="5093"/>
                    <a:pt x="6864" y="5103"/>
                    <a:pt x="6857" y="5111"/>
                  </a:cubicBezTo>
                  <a:cubicBezTo>
                    <a:pt x="6851" y="5118"/>
                    <a:pt x="6844" y="5124"/>
                    <a:pt x="6837" y="5129"/>
                  </a:cubicBezTo>
                  <a:cubicBezTo>
                    <a:pt x="6831" y="5133"/>
                    <a:pt x="6824" y="5136"/>
                    <a:pt x="6818" y="5137"/>
                  </a:cubicBezTo>
                  <a:cubicBezTo>
                    <a:pt x="6811" y="5138"/>
                    <a:pt x="6806" y="5139"/>
                    <a:pt x="6801" y="5139"/>
                  </a:cubicBezTo>
                  <a:cubicBezTo>
                    <a:pt x="6793" y="5138"/>
                    <a:pt x="6784" y="5136"/>
                    <a:pt x="6772" y="5132"/>
                  </a:cubicBezTo>
                  <a:cubicBezTo>
                    <a:pt x="6761" y="5127"/>
                    <a:pt x="6751" y="5123"/>
                    <a:pt x="6741" y="5118"/>
                  </a:cubicBezTo>
                  <a:lnTo>
                    <a:pt x="6478" y="4988"/>
                  </a:lnTo>
                  <a:lnTo>
                    <a:pt x="6455" y="5034"/>
                  </a:lnTo>
                  <a:lnTo>
                    <a:pt x="6735" y="5172"/>
                  </a:lnTo>
                  <a:cubicBezTo>
                    <a:pt x="6744" y="5177"/>
                    <a:pt x="6754" y="5181"/>
                    <a:pt x="6766" y="5185"/>
                  </a:cubicBezTo>
                  <a:cubicBezTo>
                    <a:pt x="6778" y="5190"/>
                    <a:pt x="6790" y="5192"/>
                    <a:pt x="6802" y="5191"/>
                  </a:cubicBezTo>
                  <a:cubicBezTo>
                    <a:pt x="6826" y="5190"/>
                    <a:pt x="6848" y="5182"/>
                    <a:pt x="6866" y="5169"/>
                  </a:cubicBezTo>
                  <a:cubicBezTo>
                    <a:pt x="6884" y="5155"/>
                    <a:pt x="6900" y="5133"/>
                    <a:pt x="6915" y="5103"/>
                  </a:cubicBezTo>
                  <a:cubicBezTo>
                    <a:pt x="6927" y="5079"/>
                    <a:pt x="6934" y="5058"/>
                    <a:pt x="6937" y="5039"/>
                  </a:cubicBezTo>
                  <a:cubicBezTo>
                    <a:pt x="6940" y="5021"/>
                    <a:pt x="6940" y="5003"/>
                    <a:pt x="6935" y="4986"/>
                  </a:cubicBezTo>
                  <a:cubicBezTo>
                    <a:pt x="6931" y="4969"/>
                    <a:pt x="6924" y="4955"/>
                    <a:pt x="6912" y="4945"/>
                  </a:cubicBezTo>
                  <a:cubicBezTo>
                    <a:pt x="6901" y="4935"/>
                    <a:pt x="6884" y="4924"/>
                    <a:pt x="6860" y="4912"/>
                  </a:cubicBezTo>
                  <a:lnTo>
                    <a:pt x="6582" y="4775"/>
                  </a:lnTo>
                  <a:close/>
                  <a:moveTo>
                    <a:pt x="7157" y="4595"/>
                  </a:moveTo>
                  <a:lnTo>
                    <a:pt x="6766" y="4403"/>
                  </a:lnTo>
                  <a:lnTo>
                    <a:pt x="6743" y="4449"/>
                  </a:lnTo>
                  <a:lnTo>
                    <a:pt x="6956" y="4552"/>
                  </a:lnTo>
                  <a:cubicBezTo>
                    <a:pt x="6970" y="4559"/>
                    <a:pt x="6985" y="4565"/>
                    <a:pt x="6999" y="4571"/>
                  </a:cubicBezTo>
                  <a:cubicBezTo>
                    <a:pt x="7013" y="4578"/>
                    <a:pt x="7026" y="4583"/>
                    <a:pt x="7038" y="4588"/>
                  </a:cubicBezTo>
                  <a:cubicBezTo>
                    <a:pt x="7049" y="4593"/>
                    <a:pt x="7059" y="4597"/>
                    <a:pt x="7066" y="4600"/>
                  </a:cubicBezTo>
                  <a:cubicBezTo>
                    <a:pt x="7074" y="4603"/>
                    <a:pt x="7078" y="4605"/>
                    <a:pt x="7078" y="4605"/>
                  </a:cubicBezTo>
                  <a:cubicBezTo>
                    <a:pt x="7077" y="4605"/>
                    <a:pt x="7073" y="4605"/>
                    <a:pt x="7067" y="4604"/>
                  </a:cubicBezTo>
                  <a:cubicBezTo>
                    <a:pt x="7061" y="4604"/>
                    <a:pt x="7053" y="4603"/>
                    <a:pt x="7044" y="4603"/>
                  </a:cubicBezTo>
                  <a:cubicBezTo>
                    <a:pt x="7035" y="4602"/>
                    <a:pt x="7024" y="4602"/>
                    <a:pt x="7013" y="4601"/>
                  </a:cubicBezTo>
                  <a:cubicBezTo>
                    <a:pt x="7001" y="4601"/>
                    <a:pt x="6989" y="4601"/>
                    <a:pt x="6978" y="4601"/>
                  </a:cubicBezTo>
                  <a:lnTo>
                    <a:pt x="6664" y="4608"/>
                  </a:lnTo>
                  <a:lnTo>
                    <a:pt x="6638" y="4662"/>
                  </a:lnTo>
                  <a:lnTo>
                    <a:pt x="7029" y="4855"/>
                  </a:lnTo>
                  <a:lnTo>
                    <a:pt x="7053" y="4806"/>
                  </a:lnTo>
                  <a:lnTo>
                    <a:pt x="6825" y="4697"/>
                  </a:lnTo>
                  <a:cubicBezTo>
                    <a:pt x="6813" y="4691"/>
                    <a:pt x="6802" y="4686"/>
                    <a:pt x="6790" y="4681"/>
                  </a:cubicBezTo>
                  <a:cubicBezTo>
                    <a:pt x="6778" y="4676"/>
                    <a:pt x="6768" y="4671"/>
                    <a:pt x="6758" y="4667"/>
                  </a:cubicBezTo>
                  <a:cubicBezTo>
                    <a:pt x="6748" y="4663"/>
                    <a:pt x="6739" y="4659"/>
                    <a:pt x="6732" y="4656"/>
                  </a:cubicBezTo>
                  <a:cubicBezTo>
                    <a:pt x="6725" y="4653"/>
                    <a:pt x="6719" y="4651"/>
                    <a:pt x="6716" y="4650"/>
                  </a:cubicBezTo>
                  <a:cubicBezTo>
                    <a:pt x="6720" y="4651"/>
                    <a:pt x="6726" y="4651"/>
                    <a:pt x="6733" y="4651"/>
                  </a:cubicBezTo>
                  <a:cubicBezTo>
                    <a:pt x="6741" y="4652"/>
                    <a:pt x="6749" y="4652"/>
                    <a:pt x="6759" y="4652"/>
                  </a:cubicBezTo>
                  <a:cubicBezTo>
                    <a:pt x="6770" y="4652"/>
                    <a:pt x="6781" y="4652"/>
                    <a:pt x="6793" y="4652"/>
                  </a:cubicBezTo>
                  <a:cubicBezTo>
                    <a:pt x="6805" y="4652"/>
                    <a:pt x="6818" y="4652"/>
                    <a:pt x="6831" y="4652"/>
                  </a:cubicBezTo>
                  <a:lnTo>
                    <a:pt x="7132" y="4644"/>
                  </a:lnTo>
                  <a:lnTo>
                    <a:pt x="7157" y="4595"/>
                  </a:lnTo>
                  <a:close/>
                  <a:moveTo>
                    <a:pt x="7235" y="4435"/>
                  </a:moveTo>
                  <a:lnTo>
                    <a:pt x="6844" y="4243"/>
                  </a:lnTo>
                  <a:lnTo>
                    <a:pt x="6822" y="4288"/>
                  </a:lnTo>
                  <a:lnTo>
                    <a:pt x="7213" y="4481"/>
                  </a:lnTo>
                  <a:lnTo>
                    <a:pt x="7235" y="4435"/>
                  </a:lnTo>
                  <a:close/>
                  <a:moveTo>
                    <a:pt x="7035" y="3855"/>
                  </a:moveTo>
                  <a:lnTo>
                    <a:pt x="7011" y="3903"/>
                  </a:lnTo>
                  <a:lnTo>
                    <a:pt x="7228" y="4114"/>
                  </a:lnTo>
                  <a:cubicBezTo>
                    <a:pt x="7246" y="4131"/>
                    <a:pt x="7261" y="4145"/>
                    <a:pt x="7273" y="4156"/>
                  </a:cubicBezTo>
                  <a:cubicBezTo>
                    <a:pt x="7285" y="4167"/>
                    <a:pt x="7293" y="4174"/>
                    <a:pt x="7297" y="4178"/>
                  </a:cubicBezTo>
                  <a:cubicBezTo>
                    <a:pt x="7295" y="4177"/>
                    <a:pt x="7290" y="4175"/>
                    <a:pt x="7283" y="4174"/>
                  </a:cubicBezTo>
                  <a:cubicBezTo>
                    <a:pt x="7276" y="4172"/>
                    <a:pt x="7268" y="4170"/>
                    <a:pt x="7259" y="4168"/>
                  </a:cubicBezTo>
                  <a:cubicBezTo>
                    <a:pt x="7249" y="4166"/>
                    <a:pt x="7240" y="4164"/>
                    <a:pt x="7229" y="4163"/>
                  </a:cubicBezTo>
                  <a:cubicBezTo>
                    <a:pt x="7219" y="4161"/>
                    <a:pt x="7209" y="4159"/>
                    <a:pt x="7199" y="4158"/>
                  </a:cubicBezTo>
                  <a:lnTo>
                    <a:pt x="6907" y="4116"/>
                  </a:lnTo>
                  <a:lnTo>
                    <a:pt x="6882" y="4167"/>
                  </a:lnTo>
                  <a:lnTo>
                    <a:pt x="7337" y="4228"/>
                  </a:lnTo>
                  <a:lnTo>
                    <a:pt x="7360" y="4182"/>
                  </a:lnTo>
                  <a:lnTo>
                    <a:pt x="7035" y="3855"/>
                  </a:lnTo>
                  <a:close/>
                  <a:moveTo>
                    <a:pt x="7571" y="3753"/>
                  </a:moveTo>
                  <a:lnTo>
                    <a:pt x="7531" y="3733"/>
                  </a:lnTo>
                  <a:lnTo>
                    <a:pt x="7446" y="3905"/>
                  </a:lnTo>
                  <a:lnTo>
                    <a:pt x="7303" y="3834"/>
                  </a:lnTo>
                  <a:lnTo>
                    <a:pt x="7369" y="3701"/>
                  </a:lnTo>
                  <a:lnTo>
                    <a:pt x="7328" y="3681"/>
                  </a:lnTo>
                  <a:lnTo>
                    <a:pt x="7262" y="3815"/>
                  </a:lnTo>
                  <a:lnTo>
                    <a:pt x="7134" y="3752"/>
                  </a:lnTo>
                  <a:lnTo>
                    <a:pt x="7213" y="3591"/>
                  </a:lnTo>
                  <a:lnTo>
                    <a:pt x="7177" y="3566"/>
                  </a:lnTo>
                  <a:lnTo>
                    <a:pt x="7072" y="3780"/>
                  </a:lnTo>
                  <a:lnTo>
                    <a:pt x="7463" y="3972"/>
                  </a:lnTo>
                  <a:lnTo>
                    <a:pt x="7571" y="3753"/>
                  </a:lnTo>
                  <a:close/>
                  <a:moveTo>
                    <a:pt x="7734" y="3422"/>
                  </a:moveTo>
                  <a:lnTo>
                    <a:pt x="7698" y="3426"/>
                  </a:lnTo>
                  <a:cubicBezTo>
                    <a:pt x="7681" y="3429"/>
                    <a:pt x="7663" y="3431"/>
                    <a:pt x="7644" y="3434"/>
                  </a:cubicBezTo>
                  <a:cubicBezTo>
                    <a:pt x="7626" y="3436"/>
                    <a:pt x="7608" y="3439"/>
                    <a:pt x="7592" y="3441"/>
                  </a:cubicBezTo>
                  <a:cubicBezTo>
                    <a:pt x="7575" y="3443"/>
                    <a:pt x="7564" y="3445"/>
                    <a:pt x="7557" y="3446"/>
                  </a:cubicBezTo>
                  <a:cubicBezTo>
                    <a:pt x="7547" y="3448"/>
                    <a:pt x="7536" y="3451"/>
                    <a:pt x="7524" y="3454"/>
                  </a:cubicBezTo>
                  <a:cubicBezTo>
                    <a:pt x="7512" y="3457"/>
                    <a:pt x="7502" y="3460"/>
                    <a:pt x="7494" y="3464"/>
                  </a:cubicBezTo>
                  <a:lnTo>
                    <a:pt x="7496" y="3458"/>
                  </a:lnTo>
                  <a:cubicBezTo>
                    <a:pt x="7504" y="3443"/>
                    <a:pt x="7508" y="3427"/>
                    <a:pt x="7510" y="3412"/>
                  </a:cubicBezTo>
                  <a:cubicBezTo>
                    <a:pt x="7511" y="3397"/>
                    <a:pt x="7509" y="3382"/>
                    <a:pt x="7504" y="3369"/>
                  </a:cubicBezTo>
                  <a:cubicBezTo>
                    <a:pt x="7499" y="3355"/>
                    <a:pt x="7491" y="3342"/>
                    <a:pt x="7481" y="3331"/>
                  </a:cubicBezTo>
                  <a:cubicBezTo>
                    <a:pt x="7470" y="3319"/>
                    <a:pt x="7456" y="3310"/>
                    <a:pt x="7440" y="3302"/>
                  </a:cubicBezTo>
                  <a:cubicBezTo>
                    <a:pt x="7430" y="3297"/>
                    <a:pt x="7420" y="3294"/>
                    <a:pt x="7410" y="3292"/>
                  </a:cubicBezTo>
                  <a:cubicBezTo>
                    <a:pt x="7401" y="3290"/>
                    <a:pt x="7391" y="3289"/>
                    <a:pt x="7383" y="3290"/>
                  </a:cubicBezTo>
                  <a:cubicBezTo>
                    <a:pt x="7374" y="3290"/>
                    <a:pt x="7366" y="3291"/>
                    <a:pt x="7359" y="3293"/>
                  </a:cubicBezTo>
                  <a:cubicBezTo>
                    <a:pt x="7351" y="3295"/>
                    <a:pt x="7345" y="3297"/>
                    <a:pt x="7339" y="3300"/>
                  </a:cubicBezTo>
                  <a:cubicBezTo>
                    <a:pt x="7333" y="3303"/>
                    <a:pt x="7327" y="3307"/>
                    <a:pt x="7321" y="3311"/>
                  </a:cubicBezTo>
                  <a:cubicBezTo>
                    <a:pt x="7315" y="3315"/>
                    <a:pt x="7309" y="3321"/>
                    <a:pt x="7303" y="3328"/>
                  </a:cubicBezTo>
                  <a:cubicBezTo>
                    <a:pt x="7297" y="3334"/>
                    <a:pt x="7291" y="3342"/>
                    <a:pt x="7285" y="3352"/>
                  </a:cubicBezTo>
                  <a:cubicBezTo>
                    <a:pt x="7279" y="3362"/>
                    <a:pt x="7272" y="3373"/>
                    <a:pt x="7266" y="3387"/>
                  </a:cubicBezTo>
                  <a:lnTo>
                    <a:pt x="7221" y="3478"/>
                  </a:lnTo>
                  <a:lnTo>
                    <a:pt x="7612" y="3670"/>
                  </a:lnTo>
                  <a:lnTo>
                    <a:pt x="7634" y="3624"/>
                  </a:lnTo>
                  <a:lnTo>
                    <a:pt x="7457" y="3538"/>
                  </a:lnTo>
                  <a:cubicBezTo>
                    <a:pt x="7463" y="3528"/>
                    <a:pt x="7468" y="3521"/>
                    <a:pt x="7475" y="3516"/>
                  </a:cubicBezTo>
                  <a:cubicBezTo>
                    <a:pt x="7481" y="3512"/>
                    <a:pt x="7491" y="3508"/>
                    <a:pt x="7504" y="3505"/>
                  </a:cubicBezTo>
                  <a:cubicBezTo>
                    <a:pt x="7527" y="3501"/>
                    <a:pt x="7549" y="3497"/>
                    <a:pt x="7570" y="3493"/>
                  </a:cubicBezTo>
                  <a:cubicBezTo>
                    <a:pt x="7591" y="3490"/>
                    <a:pt x="7610" y="3487"/>
                    <a:pt x="7627" y="3485"/>
                  </a:cubicBezTo>
                  <a:cubicBezTo>
                    <a:pt x="7645" y="3483"/>
                    <a:pt x="7660" y="3482"/>
                    <a:pt x="7673" y="3481"/>
                  </a:cubicBezTo>
                  <a:cubicBezTo>
                    <a:pt x="7686" y="3480"/>
                    <a:pt x="7697" y="3480"/>
                    <a:pt x="7705" y="3480"/>
                  </a:cubicBezTo>
                  <a:lnTo>
                    <a:pt x="7734" y="3422"/>
                  </a:lnTo>
                  <a:close/>
                  <a:moveTo>
                    <a:pt x="7448" y="3373"/>
                  </a:moveTo>
                  <a:cubicBezTo>
                    <a:pt x="7456" y="3381"/>
                    <a:pt x="7462" y="3390"/>
                    <a:pt x="7465" y="3399"/>
                  </a:cubicBezTo>
                  <a:cubicBezTo>
                    <a:pt x="7468" y="3410"/>
                    <a:pt x="7468" y="3422"/>
                    <a:pt x="7466" y="3435"/>
                  </a:cubicBezTo>
                  <a:cubicBezTo>
                    <a:pt x="7464" y="3447"/>
                    <a:pt x="7458" y="3462"/>
                    <a:pt x="7450" y="3480"/>
                  </a:cubicBezTo>
                  <a:lnTo>
                    <a:pt x="7428" y="3523"/>
                  </a:lnTo>
                  <a:lnTo>
                    <a:pt x="7283" y="3451"/>
                  </a:lnTo>
                  <a:lnTo>
                    <a:pt x="7306" y="3405"/>
                  </a:lnTo>
                  <a:cubicBezTo>
                    <a:pt x="7311" y="3394"/>
                    <a:pt x="7316" y="3385"/>
                    <a:pt x="7321" y="3378"/>
                  </a:cubicBezTo>
                  <a:cubicBezTo>
                    <a:pt x="7326" y="3371"/>
                    <a:pt x="7332" y="3365"/>
                    <a:pt x="7338" y="3360"/>
                  </a:cubicBezTo>
                  <a:cubicBezTo>
                    <a:pt x="7348" y="3351"/>
                    <a:pt x="7360" y="3346"/>
                    <a:pt x="7374" y="3344"/>
                  </a:cubicBezTo>
                  <a:cubicBezTo>
                    <a:pt x="7389" y="3342"/>
                    <a:pt x="7403" y="3344"/>
                    <a:pt x="7416" y="3351"/>
                  </a:cubicBezTo>
                  <a:cubicBezTo>
                    <a:pt x="7429" y="3357"/>
                    <a:pt x="7439" y="3364"/>
                    <a:pt x="7448" y="3373"/>
                  </a:cubicBezTo>
                  <a:close/>
                  <a:moveTo>
                    <a:pt x="7745" y="3028"/>
                  </a:moveTo>
                  <a:cubicBezTo>
                    <a:pt x="7730" y="3026"/>
                    <a:pt x="7716" y="3027"/>
                    <a:pt x="7703" y="3031"/>
                  </a:cubicBezTo>
                  <a:cubicBezTo>
                    <a:pt x="7690" y="3034"/>
                    <a:pt x="7678" y="3040"/>
                    <a:pt x="7667" y="3047"/>
                  </a:cubicBezTo>
                  <a:cubicBezTo>
                    <a:pt x="7656" y="3054"/>
                    <a:pt x="7644" y="3065"/>
                    <a:pt x="7630" y="3080"/>
                  </a:cubicBezTo>
                  <a:lnTo>
                    <a:pt x="7594" y="3118"/>
                  </a:lnTo>
                  <a:cubicBezTo>
                    <a:pt x="7575" y="3138"/>
                    <a:pt x="7558" y="3150"/>
                    <a:pt x="7544" y="3155"/>
                  </a:cubicBezTo>
                  <a:cubicBezTo>
                    <a:pt x="7529" y="3161"/>
                    <a:pt x="7514" y="3160"/>
                    <a:pt x="7498" y="3152"/>
                  </a:cubicBezTo>
                  <a:cubicBezTo>
                    <a:pt x="7478" y="3142"/>
                    <a:pt x="7465" y="3127"/>
                    <a:pt x="7461" y="3108"/>
                  </a:cubicBezTo>
                  <a:cubicBezTo>
                    <a:pt x="7456" y="3089"/>
                    <a:pt x="7460" y="3067"/>
                    <a:pt x="7472" y="3042"/>
                  </a:cubicBezTo>
                  <a:cubicBezTo>
                    <a:pt x="7476" y="3034"/>
                    <a:pt x="7481" y="3026"/>
                    <a:pt x="7485" y="3019"/>
                  </a:cubicBezTo>
                  <a:cubicBezTo>
                    <a:pt x="7490" y="3012"/>
                    <a:pt x="7496" y="3006"/>
                    <a:pt x="7502" y="3000"/>
                  </a:cubicBezTo>
                  <a:cubicBezTo>
                    <a:pt x="7508" y="2994"/>
                    <a:pt x="7515" y="2988"/>
                    <a:pt x="7524" y="2982"/>
                  </a:cubicBezTo>
                  <a:cubicBezTo>
                    <a:pt x="7532" y="2976"/>
                    <a:pt x="7541" y="2970"/>
                    <a:pt x="7552" y="2963"/>
                  </a:cubicBezTo>
                  <a:lnTo>
                    <a:pt x="7528" y="2926"/>
                  </a:lnTo>
                  <a:cubicBezTo>
                    <a:pt x="7485" y="2951"/>
                    <a:pt x="7453" y="2984"/>
                    <a:pt x="7433" y="3026"/>
                  </a:cubicBezTo>
                  <a:cubicBezTo>
                    <a:pt x="7423" y="3045"/>
                    <a:pt x="7418" y="3063"/>
                    <a:pt x="7415" y="3081"/>
                  </a:cubicBezTo>
                  <a:cubicBezTo>
                    <a:pt x="7413" y="3100"/>
                    <a:pt x="7414" y="3117"/>
                    <a:pt x="7419" y="3133"/>
                  </a:cubicBezTo>
                  <a:cubicBezTo>
                    <a:pt x="7423" y="3149"/>
                    <a:pt x="7431" y="3163"/>
                    <a:pt x="7442" y="3176"/>
                  </a:cubicBezTo>
                  <a:cubicBezTo>
                    <a:pt x="7452" y="3188"/>
                    <a:pt x="7466" y="3199"/>
                    <a:pt x="7483" y="3207"/>
                  </a:cubicBezTo>
                  <a:cubicBezTo>
                    <a:pt x="7508" y="3220"/>
                    <a:pt x="7533" y="3222"/>
                    <a:pt x="7559" y="3214"/>
                  </a:cubicBezTo>
                  <a:cubicBezTo>
                    <a:pt x="7570" y="3210"/>
                    <a:pt x="7581" y="3205"/>
                    <a:pt x="7591" y="3197"/>
                  </a:cubicBezTo>
                  <a:cubicBezTo>
                    <a:pt x="7601" y="3189"/>
                    <a:pt x="7613" y="3177"/>
                    <a:pt x="7628" y="3162"/>
                  </a:cubicBezTo>
                  <a:lnTo>
                    <a:pt x="7659" y="3128"/>
                  </a:lnTo>
                  <a:cubicBezTo>
                    <a:pt x="7696" y="3088"/>
                    <a:pt x="7732" y="3077"/>
                    <a:pt x="7766" y="3094"/>
                  </a:cubicBezTo>
                  <a:cubicBezTo>
                    <a:pt x="7789" y="3106"/>
                    <a:pt x="7803" y="3124"/>
                    <a:pt x="7808" y="3150"/>
                  </a:cubicBezTo>
                  <a:cubicBezTo>
                    <a:pt x="7811" y="3161"/>
                    <a:pt x="7811" y="3172"/>
                    <a:pt x="7809" y="3182"/>
                  </a:cubicBezTo>
                  <a:cubicBezTo>
                    <a:pt x="7807" y="3193"/>
                    <a:pt x="7802" y="3205"/>
                    <a:pt x="7795" y="3220"/>
                  </a:cubicBezTo>
                  <a:cubicBezTo>
                    <a:pt x="7785" y="3240"/>
                    <a:pt x="7773" y="3257"/>
                    <a:pt x="7760" y="3271"/>
                  </a:cubicBezTo>
                  <a:cubicBezTo>
                    <a:pt x="7746" y="3285"/>
                    <a:pt x="7729" y="3298"/>
                    <a:pt x="7710" y="3308"/>
                  </a:cubicBezTo>
                  <a:lnTo>
                    <a:pt x="7736" y="3347"/>
                  </a:lnTo>
                  <a:cubicBezTo>
                    <a:pt x="7758" y="3333"/>
                    <a:pt x="7776" y="3318"/>
                    <a:pt x="7792" y="3300"/>
                  </a:cubicBezTo>
                  <a:cubicBezTo>
                    <a:pt x="7808" y="3283"/>
                    <a:pt x="7821" y="3262"/>
                    <a:pt x="7833" y="3239"/>
                  </a:cubicBezTo>
                  <a:cubicBezTo>
                    <a:pt x="7842" y="3221"/>
                    <a:pt x="7848" y="3204"/>
                    <a:pt x="7851" y="3188"/>
                  </a:cubicBezTo>
                  <a:cubicBezTo>
                    <a:pt x="7854" y="3173"/>
                    <a:pt x="7854" y="3156"/>
                    <a:pt x="7852" y="3139"/>
                  </a:cubicBezTo>
                  <a:cubicBezTo>
                    <a:pt x="7850" y="3116"/>
                    <a:pt x="7843" y="3096"/>
                    <a:pt x="7830" y="3079"/>
                  </a:cubicBezTo>
                  <a:cubicBezTo>
                    <a:pt x="7818" y="3061"/>
                    <a:pt x="7803" y="3048"/>
                    <a:pt x="7785" y="3039"/>
                  </a:cubicBezTo>
                  <a:cubicBezTo>
                    <a:pt x="7773" y="3033"/>
                    <a:pt x="7759" y="3029"/>
                    <a:pt x="7745" y="3028"/>
                  </a:cubicBezTo>
                  <a:close/>
                  <a:moveTo>
                    <a:pt x="7962" y="2957"/>
                  </a:moveTo>
                  <a:lnTo>
                    <a:pt x="7572" y="2765"/>
                  </a:lnTo>
                  <a:lnTo>
                    <a:pt x="7549" y="2810"/>
                  </a:lnTo>
                  <a:lnTo>
                    <a:pt x="7940" y="3003"/>
                  </a:lnTo>
                  <a:lnTo>
                    <a:pt x="7962" y="2957"/>
                  </a:lnTo>
                  <a:close/>
                  <a:moveTo>
                    <a:pt x="7737" y="2428"/>
                  </a:moveTo>
                  <a:lnTo>
                    <a:pt x="7610" y="2686"/>
                  </a:lnTo>
                  <a:lnTo>
                    <a:pt x="7649" y="2706"/>
                  </a:lnTo>
                  <a:lnTo>
                    <a:pt x="7701" y="2601"/>
                  </a:lnTo>
                  <a:lnTo>
                    <a:pt x="8053" y="2774"/>
                  </a:lnTo>
                  <a:lnTo>
                    <a:pt x="8075" y="2729"/>
                  </a:lnTo>
                  <a:lnTo>
                    <a:pt x="7723" y="2556"/>
                  </a:lnTo>
                  <a:lnTo>
                    <a:pt x="7775" y="2450"/>
                  </a:lnTo>
                  <a:lnTo>
                    <a:pt x="7737" y="2428"/>
                  </a:lnTo>
                  <a:close/>
                  <a:moveTo>
                    <a:pt x="7905" y="2087"/>
                  </a:moveTo>
                  <a:lnTo>
                    <a:pt x="7879" y="2141"/>
                  </a:lnTo>
                  <a:lnTo>
                    <a:pt x="7991" y="2290"/>
                  </a:lnTo>
                  <a:cubicBezTo>
                    <a:pt x="7998" y="2300"/>
                    <a:pt x="8005" y="2309"/>
                    <a:pt x="8012" y="2317"/>
                  </a:cubicBezTo>
                  <a:cubicBezTo>
                    <a:pt x="8018" y="2325"/>
                    <a:pt x="8022" y="2330"/>
                    <a:pt x="8024" y="2332"/>
                  </a:cubicBezTo>
                  <a:cubicBezTo>
                    <a:pt x="8015" y="2332"/>
                    <a:pt x="8006" y="2332"/>
                    <a:pt x="7998" y="2331"/>
                  </a:cubicBezTo>
                  <a:cubicBezTo>
                    <a:pt x="7989" y="2331"/>
                    <a:pt x="7980" y="2331"/>
                    <a:pt x="7971" y="2331"/>
                  </a:cubicBezTo>
                  <a:lnTo>
                    <a:pt x="7785" y="2331"/>
                  </a:lnTo>
                  <a:lnTo>
                    <a:pt x="7757" y="2389"/>
                  </a:lnTo>
                  <a:lnTo>
                    <a:pt x="8054" y="2379"/>
                  </a:lnTo>
                  <a:lnTo>
                    <a:pt x="8209" y="2455"/>
                  </a:lnTo>
                  <a:lnTo>
                    <a:pt x="8233" y="2407"/>
                  </a:lnTo>
                  <a:lnTo>
                    <a:pt x="8081" y="2332"/>
                  </a:lnTo>
                  <a:lnTo>
                    <a:pt x="7905" y="2087"/>
                  </a:lnTo>
                  <a:close/>
                  <a:moveTo>
                    <a:pt x="8264" y="1658"/>
                  </a:moveTo>
                  <a:cubicBezTo>
                    <a:pt x="8238" y="1653"/>
                    <a:pt x="8213" y="1651"/>
                    <a:pt x="8189" y="1655"/>
                  </a:cubicBezTo>
                  <a:cubicBezTo>
                    <a:pt x="8180" y="1656"/>
                    <a:pt x="8169" y="1658"/>
                    <a:pt x="8158" y="1662"/>
                  </a:cubicBezTo>
                  <a:cubicBezTo>
                    <a:pt x="8147" y="1665"/>
                    <a:pt x="8136" y="1670"/>
                    <a:pt x="8125" y="1677"/>
                  </a:cubicBezTo>
                  <a:cubicBezTo>
                    <a:pt x="8114" y="1684"/>
                    <a:pt x="8103" y="1693"/>
                    <a:pt x="8093" y="1704"/>
                  </a:cubicBezTo>
                  <a:cubicBezTo>
                    <a:pt x="8082" y="1715"/>
                    <a:pt x="8073" y="1729"/>
                    <a:pt x="8064" y="1746"/>
                  </a:cubicBezTo>
                  <a:cubicBezTo>
                    <a:pt x="8053" y="1770"/>
                    <a:pt x="8047" y="1794"/>
                    <a:pt x="8046" y="1818"/>
                  </a:cubicBezTo>
                  <a:cubicBezTo>
                    <a:pt x="8046" y="1842"/>
                    <a:pt x="8051" y="1865"/>
                    <a:pt x="8062" y="1887"/>
                  </a:cubicBezTo>
                  <a:cubicBezTo>
                    <a:pt x="8073" y="1908"/>
                    <a:pt x="8089" y="1929"/>
                    <a:pt x="8110" y="1948"/>
                  </a:cubicBezTo>
                  <a:cubicBezTo>
                    <a:pt x="8131" y="1968"/>
                    <a:pt x="8157" y="1985"/>
                    <a:pt x="8188" y="2000"/>
                  </a:cubicBezTo>
                  <a:cubicBezTo>
                    <a:pt x="8256" y="2034"/>
                    <a:pt x="8315" y="2044"/>
                    <a:pt x="8366" y="2030"/>
                  </a:cubicBezTo>
                  <a:cubicBezTo>
                    <a:pt x="8388" y="2024"/>
                    <a:pt x="8408" y="2014"/>
                    <a:pt x="8426" y="2000"/>
                  </a:cubicBezTo>
                  <a:cubicBezTo>
                    <a:pt x="8444" y="1986"/>
                    <a:pt x="8459" y="1967"/>
                    <a:pt x="8471" y="1943"/>
                  </a:cubicBezTo>
                  <a:cubicBezTo>
                    <a:pt x="8481" y="1923"/>
                    <a:pt x="8487" y="1903"/>
                    <a:pt x="8488" y="1885"/>
                  </a:cubicBezTo>
                  <a:cubicBezTo>
                    <a:pt x="8490" y="1866"/>
                    <a:pt x="8488" y="1847"/>
                    <a:pt x="8482" y="1826"/>
                  </a:cubicBezTo>
                  <a:cubicBezTo>
                    <a:pt x="8473" y="1797"/>
                    <a:pt x="8459" y="1772"/>
                    <a:pt x="8438" y="1750"/>
                  </a:cubicBezTo>
                  <a:cubicBezTo>
                    <a:pt x="8417" y="1729"/>
                    <a:pt x="8388" y="1709"/>
                    <a:pt x="8351" y="1690"/>
                  </a:cubicBezTo>
                  <a:cubicBezTo>
                    <a:pt x="8319" y="1675"/>
                    <a:pt x="8290" y="1664"/>
                    <a:pt x="8264" y="1658"/>
                  </a:cubicBezTo>
                  <a:close/>
                  <a:moveTo>
                    <a:pt x="8373" y="1769"/>
                  </a:moveTo>
                  <a:cubicBezTo>
                    <a:pt x="8385" y="1776"/>
                    <a:pt x="8395" y="1783"/>
                    <a:pt x="8404" y="1790"/>
                  </a:cubicBezTo>
                  <a:cubicBezTo>
                    <a:pt x="8412" y="1797"/>
                    <a:pt x="8419" y="1804"/>
                    <a:pt x="8424" y="1811"/>
                  </a:cubicBezTo>
                  <a:cubicBezTo>
                    <a:pt x="8430" y="1818"/>
                    <a:pt x="8434" y="1826"/>
                    <a:pt x="8438" y="1834"/>
                  </a:cubicBezTo>
                  <a:cubicBezTo>
                    <a:pt x="8445" y="1848"/>
                    <a:pt x="8448" y="1862"/>
                    <a:pt x="8448" y="1877"/>
                  </a:cubicBezTo>
                  <a:cubicBezTo>
                    <a:pt x="8448" y="1892"/>
                    <a:pt x="8444" y="1907"/>
                    <a:pt x="8436" y="1923"/>
                  </a:cubicBezTo>
                  <a:cubicBezTo>
                    <a:pt x="8432" y="1931"/>
                    <a:pt x="8427" y="1939"/>
                    <a:pt x="8421" y="1946"/>
                  </a:cubicBezTo>
                  <a:cubicBezTo>
                    <a:pt x="8414" y="1954"/>
                    <a:pt x="8408" y="1960"/>
                    <a:pt x="8400" y="1966"/>
                  </a:cubicBezTo>
                  <a:cubicBezTo>
                    <a:pt x="8393" y="1971"/>
                    <a:pt x="8385" y="1976"/>
                    <a:pt x="8377" y="1979"/>
                  </a:cubicBezTo>
                  <a:cubicBezTo>
                    <a:pt x="8369" y="1983"/>
                    <a:pt x="8361" y="1985"/>
                    <a:pt x="8353" y="1986"/>
                  </a:cubicBezTo>
                  <a:cubicBezTo>
                    <a:pt x="8336" y="1987"/>
                    <a:pt x="8314" y="1984"/>
                    <a:pt x="8288" y="1976"/>
                  </a:cubicBezTo>
                  <a:cubicBezTo>
                    <a:pt x="8262" y="1969"/>
                    <a:pt x="8234" y="1958"/>
                    <a:pt x="8204" y="1944"/>
                  </a:cubicBezTo>
                  <a:cubicBezTo>
                    <a:pt x="8180" y="1932"/>
                    <a:pt x="8160" y="1920"/>
                    <a:pt x="8144" y="1908"/>
                  </a:cubicBezTo>
                  <a:cubicBezTo>
                    <a:pt x="8128" y="1897"/>
                    <a:pt x="8116" y="1884"/>
                    <a:pt x="8106" y="1871"/>
                  </a:cubicBezTo>
                  <a:cubicBezTo>
                    <a:pt x="8096" y="1856"/>
                    <a:pt x="8090" y="1840"/>
                    <a:pt x="8090" y="1821"/>
                  </a:cubicBezTo>
                  <a:cubicBezTo>
                    <a:pt x="8089" y="1802"/>
                    <a:pt x="8093" y="1783"/>
                    <a:pt x="8102" y="1765"/>
                  </a:cubicBezTo>
                  <a:cubicBezTo>
                    <a:pt x="8113" y="1742"/>
                    <a:pt x="8128" y="1726"/>
                    <a:pt x="8145" y="1717"/>
                  </a:cubicBezTo>
                  <a:cubicBezTo>
                    <a:pt x="8163" y="1708"/>
                    <a:pt x="8181" y="1704"/>
                    <a:pt x="8198" y="1704"/>
                  </a:cubicBezTo>
                  <a:cubicBezTo>
                    <a:pt x="8215" y="1704"/>
                    <a:pt x="8234" y="1708"/>
                    <a:pt x="8256" y="1715"/>
                  </a:cubicBezTo>
                  <a:cubicBezTo>
                    <a:pt x="8278" y="1721"/>
                    <a:pt x="8303" y="1732"/>
                    <a:pt x="8332" y="1746"/>
                  </a:cubicBezTo>
                  <a:cubicBezTo>
                    <a:pt x="8348" y="1754"/>
                    <a:pt x="8362" y="1762"/>
                    <a:pt x="8373" y="1769"/>
                  </a:cubicBezTo>
                  <a:close/>
                  <a:moveTo>
                    <a:pt x="8299" y="1287"/>
                  </a:moveTo>
                  <a:lnTo>
                    <a:pt x="8197" y="1493"/>
                  </a:lnTo>
                  <a:lnTo>
                    <a:pt x="8588" y="1685"/>
                  </a:lnTo>
                  <a:lnTo>
                    <a:pt x="8611" y="1638"/>
                  </a:lnTo>
                  <a:lnTo>
                    <a:pt x="8426" y="1547"/>
                  </a:lnTo>
                  <a:lnTo>
                    <a:pt x="8487" y="1421"/>
                  </a:lnTo>
                  <a:lnTo>
                    <a:pt x="8449" y="1403"/>
                  </a:lnTo>
                  <a:lnTo>
                    <a:pt x="8388" y="1528"/>
                  </a:lnTo>
                  <a:lnTo>
                    <a:pt x="8259" y="1465"/>
                  </a:lnTo>
                  <a:lnTo>
                    <a:pt x="8334" y="1314"/>
                  </a:lnTo>
                  <a:lnTo>
                    <a:pt x="8299" y="1287"/>
                  </a:lnTo>
                  <a:close/>
                  <a:moveTo>
                    <a:pt x="8964" y="921"/>
                  </a:moveTo>
                  <a:lnTo>
                    <a:pt x="8557" y="762"/>
                  </a:lnTo>
                  <a:lnTo>
                    <a:pt x="8523" y="831"/>
                  </a:lnTo>
                  <a:lnTo>
                    <a:pt x="8747" y="1032"/>
                  </a:lnTo>
                  <a:cubicBezTo>
                    <a:pt x="8760" y="1044"/>
                    <a:pt x="8773" y="1055"/>
                    <a:pt x="8784" y="1063"/>
                  </a:cubicBezTo>
                  <a:cubicBezTo>
                    <a:pt x="8795" y="1072"/>
                    <a:pt x="8802" y="1077"/>
                    <a:pt x="8803" y="1078"/>
                  </a:cubicBezTo>
                  <a:cubicBezTo>
                    <a:pt x="8801" y="1077"/>
                    <a:pt x="8793" y="1075"/>
                    <a:pt x="8779" y="1071"/>
                  </a:cubicBezTo>
                  <a:cubicBezTo>
                    <a:pt x="8765" y="1068"/>
                    <a:pt x="8748" y="1064"/>
                    <a:pt x="8728" y="1060"/>
                  </a:cubicBezTo>
                  <a:lnTo>
                    <a:pt x="8437" y="1005"/>
                  </a:lnTo>
                  <a:lnTo>
                    <a:pt x="8404" y="1074"/>
                  </a:lnTo>
                  <a:lnTo>
                    <a:pt x="8778" y="1300"/>
                  </a:lnTo>
                  <a:lnTo>
                    <a:pt x="8800" y="1255"/>
                  </a:lnTo>
                  <a:lnTo>
                    <a:pt x="8532" y="1097"/>
                  </a:lnTo>
                  <a:cubicBezTo>
                    <a:pt x="8527" y="1094"/>
                    <a:pt x="8520" y="1090"/>
                    <a:pt x="8513" y="1085"/>
                  </a:cubicBezTo>
                  <a:cubicBezTo>
                    <a:pt x="8505" y="1081"/>
                    <a:pt x="8498" y="1077"/>
                    <a:pt x="8491" y="1073"/>
                  </a:cubicBezTo>
                  <a:cubicBezTo>
                    <a:pt x="8483" y="1069"/>
                    <a:pt x="8477" y="1065"/>
                    <a:pt x="8471" y="1062"/>
                  </a:cubicBezTo>
                  <a:cubicBezTo>
                    <a:pt x="8466" y="1059"/>
                    <a:pt x="8463" y="1057"/>
                    <a:pt x="8462" y="1056"/>
                  </a:cubicBezTo>
                  <a:cubicBezTo>
                    <a:pt x="8466" y="1058"/>
                    <a:pt x="8475" y="1060"/>
                    <a:pt x="8489" y="1062"/>
                  </a:cubicBezTo>
                  <a:cubicBezTo>
                    <a:pt x="8504" y="1065"/>
                    <a:pt x="8523" y="1069"/>
                    <a:pt x="8545" y="1073"/>
                  </a:cubicBezTo>
                  <a:lnTo>
                    <a:pt x="8860" y="1132"/>
                  </a:lnTo>
                  <a:lnTo>
                    <a:pt x="8880" y="1092"/>
                  </a:lnTo>
                  <a:lnTo>
                    <a:pt x="8630" y="865"/>
                  </a:lnTo>
                  <a:cubicBezTo>
                    <a:pt x="8624" y="861"/>
                    <a:pt x="8619" y="856"/>
                    <a:pt x="8613" y="851"/>
                  </a:cubicBezTo>
                  <a:cubicBezTo>
                    <a:pt x="8607" y="846"/>
                    <a:pt x="8601" y="841"/>
                    <a:pt x="8596" y="837"/>
                  </a:cubicBezTo>
                  <a:cubicBezTo>
                    <a:pt x="8591" y="832"/>
                    <a:pt x="8586" y="828"/>
                    <a:pt x="8583" y="825"/>
                  </a:cubicBezTo>
                  <a:cubicBezTo>
                    <a:pt x="8579" y="822"/>
                    <a:pt x="8577" y="820"/>
                    <a:pt x="8576" y="820"/>
                  </a:cubicBezTo>
                  <a:cubicBezTo>
                    <a:pt x="8577" y="820"/>
                    <a:pt x="8580" y="821"/>
                    <a:pt x="8584" y="823"/>
                  </a:cubicBezTo>
                  <a:cubicBezTo>
                    <a:pt x="8589" y="825"/>
                    <a:pt x="8595" y="828"/>
                    <a:pt x="8601" y="831"/>
                  </a:cubicBezTo>
                  <a:cubicBezTo>
                    <a:pt x="8608" y="834"/>
                    <a:pt x="8615" y="837"/>
                    <a:pt x="8623" y="841"/>
                  </a:cubicBezTo>
                  <a:cubicBezTo>
                    <a:pt x="8630" y="844"/>
                    <a:pt x="8637" y="847"/>
                    <a:pt x="8644" y="849"/>
                  </a:cubicBezTo>
                  <a:lnTo>
                    <a:pt x="8941" y="968"/>
                  </a:lnTo>
                  <a:lnTo>
                    <a:pt x="8964" y="921"/>
                  </a:lnTo>
                  <a:close/>
                  <a:moveTo>
                    <a:pt x="8592" y="503"/>
                  </a:moveTo>
                  <a:cubicBezTo>
                    <a:pt x="8583" y="506"/>
                    <a:pt x="8577" y="512"/>
                    <a:pt x="8573" y="520"/>
                  </a:cubicBezTo>
                  <a:cubicBezTo>
                    <a:pt x="8569" y="528"/>
                    <a:pt x="8568" y="536"/>
                    <a:pt x="8571" y="545"/>
                  </a:cubicBezTo>
                  <a:cubicBezTo>
                    <a:pt x="8574" y="553"/>
                    <a:pt x="8580" y="559"/>
                    <a:pt x="8588" y="563"/>
                  </a:cubicBezTo>
                  <a:cubicBezTo>
                    <a:pt x="8596" y="567"/>
                    <a:pt x="8605" y="568"/>
                    <a:pt x="8613" y="565"/>
                  </a:cubicBezTo>
                  <a:cubicBezTo>
                    <a:pt x="8622" y="563"/>
                    <a:pt x="8628" y="557"/>
                    <a:pt x="8632" y="549"/>
                  </a:cubicBezTo>
                  <a:cubicBezTo>
                    <a:pt x="8637" y="540"/>
                    <a:pt x="8637" y="532"/>
                    <a:pt x="8634" y="523"/>
                  </a:cubicBezTo>
                  <a:cubicBezTo>
                    <a:pt x="8631" y="515"/>
                    <a:pt x="8625" y="509"/>
                    <a:pt x="8617" y="505"/>
                  </a:cubicBezTo>
                  <a:cubicBezTo>
                    <a:pt x="8608" y="501"/>
                    <a:pt x="8600" y="500"/>
                    <a:pt x="8592" y="503"/>
                  </a:cubicBezTo>
                  <a:close/>
                  <a:moveTo>
                    <a:pt x="8649" y="386"/>
                  </a:moveTo>
                  <a:cubicBezTo>
                    <a:pt x="8641" y="389"/>
                    <a:pt x="8634" y="395"/>
                    <a:pt x="8630" y="403"/>
                  </a:cubicBezTo>
                  <a:cubicBezTo>
                    <a:pt x="8626" y="411"/>
                    <a:pt x="8626" y="419"/>
                    <a:pt x="8629" y="428"/>
                  </a:cubicBezTo>
                  <a:cubicBezTo>
                    <a:pt x="8632" y="436"/>
                    <a:pt x="8637" y="443"/>
                    <a:pt x="8645" y="447"/>
                  </a:cubicBezTo>
                  <a:cubicBezTo>
                    <a:pt x="8653" y="451"/>
                    <a:pt x="8662" y="451"/>
                    <a:pt x="8671" y="449"/>
                  </a:cubicBezTo>
                  <a:cubicBezTo>
                    <a:pt x="8679" y="446"/>
                    <a:pt x="8686" y="440"/>
                    <a:pt x="8690" y="432"/>
                  </a:cubicBezTo>
                  <a:cubicBezTo>
                    <a:pt x="8694" y="423"/>
                    <a:pt x="8694" y="415"/>
                    <a:pt x="8691" y="407"/>
                  </a:cubicBezTo>
                  <a:cubicBezTo>
                    <a:pt x="8688" y="398"/>
                    <a:pt x="8682" y="392"/>
                    <a:pt x="8674" y="388"/>
                  </a:cubicBezTo>
                  <a:cubicBezTo>
                    <a:pt x="8666" y="384"/>
                    <a:pt x="8658" y="383"/>
                    <a:pt x="8649" y="386"/>
                  </a:cubicBezTo>
                  <a:close/>
                  <a:moveTo>
                    <a:pt x="1203" y="18049"/>
                  </a:moveTo>
                  <a:cubicBezTo>
                    <a:pt x="1188" y="18047"/>
                    <a:pt x="1174" y="18048"/>
                    <a:pt x="1161" y="18052"/>
                  </a:cubicBezTo>
                  <a:cubicBezTo>
                    <a:pt x="1148" y="18055"/>
                    <a:pt x="1136" y="18061"/>
                    <a:pt x="1125" y="18068"/>
                  </a:cubicBezTo>
                  <a:cubicBezTo>
                    <a:pt x="1114" y="18075"/>
                    <a:pt x="1102" y="18087"/>
                    <a:pt x="1088" y="18101"/>
                  </a:cubicBezTo>
                  <a:lnTo>
                    <a:pt x="1052" y="18139"/>
                  </a:lnTo>
                  <a:cubicBezTo>
                    <a:pt x="1033" y="18159"/>
                    <a:pt x="1016" y="18171"/>
                    <a:pt x="1001" y="18177"/>
                  </a:cubicBezTo>
                  <a:cubicBezTo>
                    <a:pt x="987" y="18182"/>
                    <a:pt x="972" y="18181"/>
                    <a:pt x="956" y="18173"/>
                  </a:cubicBezTo>
                  <a:cubicBezTo>
                    <a:pt x="936" y="18163"/>
                    <a:pt x="923" y="18148"/>
                    <a:pt x="919" y="18129"/>
                  </a:cubicBezTo>
                  <a:cubicBezTo>
                    <a:pt x="914" y="18110"/>
                    <a:pt x="918" y="18088"/>
                    <a:pt x="930" y="18063"/>
                  </a:cubicBezTo>
                  <a:cubicBezTo>
                    <a:pt x="934" y="18055"/>
                    <a:pt x="938" y="18047"/>
                    <a:pt x="943" y="18040"/>
                  </a:cubicBezTo>
                  <a:cubicBezTo>
                    <a:pt x="948" y="18034"/>
                    <a:pt x="954" y="18027"/>
                    <a:pt x="960" y="18021"/>
                  </a:cubicBezTo>
                  <a:cubicBezTo>
                    <a:pt x="966" y="18015"/>
                    <a:pt x="973" y="18009"/>
                    <a:pt x="981" y="18003"/>
                  </a:cubicBezTo>
                  <a:cubicBezTo>
                    <a:pt x="990" y="17997"/>
                    <a:pt x="999" y="17991"/>
                    <a:pt x="1010" y="17984"/>
                  </a:cubicBezTo>
                  <a:lnTo>
                    <a:pt x="986" y="17947"/>
                  </a:lnTo>
                  <a:cubicBezTo>
                    <a:pt x="943" y="17972"/>
                    <a:pt x="911" y="18005"/>
                    <a:pt x="891" y="18047"/>
                  </a:cubicBezTo>
                  <a:cubicBezTo>
                    <a:pt x="881" y="18066"/>
                    <a:pt x="875" y="18084"/>
                    <a:pt x="873" y="18103"/>
                  </a:cubicBezTo>
                  <a:cubicBezTo>
                    <a:pt x="871" y="18121"/>
                    <a:pt x="872" y="18138"/>
                    <a:pt x="877" y="18154"/>
                  </a:cubicBezTo>
                  <a:cubicBezTo>
                    <a:pt x="881" y="18170"/>
                    <a:pt x="889" y="18184"/>
                    <a:pt x="899" y="18197"/>
                  </a:cubicBezTo>
                  <a:cubicBezTo>
                    <a:pt x="910" y="18210"/>
                    <a:pt x="924" y="18220"/>
                    <a:pt x="941" y="18228"/>
                  </a:cubicBezTo>
                  <a:cubicBezTo>
                    <a:pt x="966" y="18241"/>
                    <a:pt x="991" y="18243"/>
                    <a:pt x="1016" y="18235"/>
                  </a:cubicBezTo>
                  <a:cubicBezTo>
                    <a:pt x="1028" y="18232"/>
                    <a:pt x="1039" y="18226"/>
                    <a:pt x="1049" y="18218"/>
                  </a:cubicBezTo>
                  <a:cubicBezTo>
                    <a:pt x="1059" y="18210"/>
                    <a:pt x="1071" y="18198"/>
                    <a:pt x="1085" y="18183"/>
                  </a:cubicBezTo>
                  <a:lnTo>
                    <a:pt x="1117" y="18150"/>
                  </a:lnTo>
                  <a:cubicBezTo>
                    <a:pt x="1154" y="18110"/>
                    <a:pt x="1190" y="18098"/>
                    <a:pt x="1224" y="18115"/>
                  </a:cubicBezTo>
                  <a:cubicBezTo>
                    <a:pt x="1247" y="18127"/>
                    <a:pt x="1261" y="18145"/>
                    <a:pt x="1266" y="18171"/>
                  </a:cubicBezTo>
                  <a:cubicBezTo>
                    <a:pt x="1269" y="18182"/>
                    <a:pt x="1269" y="18193"/>
                    <a:pt x="1267" y="18204"/>
                  </a:cubicBezTo>
                  <a:cubicBezTo>
                    <a:pt x="1265" y="18214"/>
                    <a:pt x="1260" y="18226"/>
                    <a:pt x="1253" y="18241"/>
                  </a:cubicBezTo>
                  <a:cubicBezTo>
                    <a:pt x="1251" y="18246"/>
                    <a:pt x="1248" y="18250"/>
                    <a:pt x="1246" y="18254"/>
                  </a:cubicBezTo>
                  <a:lnTo>
                    <a:pt x="1294" y="18254"/>
                  </a:lnTo>
                  <a:cubicBezTo>
                    <a:pt x="1301" y="18238"/>
                    <a:pt x="1306" y="18223"/>
                    <a:pt x="1309" y="18209"/>
                  </a:cubicBezTo>
                  <a:cubicBezTo>
                    <a:pt x="1312" y="18194"/>
                    <a:pt x="1312" y="18178"/>
                    <a:pt x="1310" y="18160"/>
                  </a:cubicBezTo>
                  <a:cubicBezTo>
                    <a:pt x="1308" y="18138"/>
                    <a:pt x="1300" y="18117"/>
                    <a:pt x="1288" y="18100"/>
                  </a:cubicBezTo>
                  <a:cubicBezTo>
                    <a:pt x="1276" y="18082"/>
                    <a:pt x="1261" y="18069"/>
                    <a:pt x="1243" y="18060"/>
                  </a:cubicBezTo>
                  <a:cubicBezTo>
                    <a:pt x="1231" y="18054"/>
                    <a:pt x="1217" y="18050"/>
                    <a:pt x="1203" y="18049"/>
                  </a:cubicBezTo>
                  <a:close/>
                  <a:moveTo>
                    <a:pt x="9002" y="2570"/>
                  </a:moveTo>
                  <a:lnTo>
                    <a:pt x="9002" y="2530"/>
                  </a:lnTo>
                  <a:lnTo>
                    <a:pt x="8690" y="2217"/>
                  </a:lnTo>
                  <a:lnTo>
                    <a:pt x="8667" y="2265"/>
                  </a:lnTo>
                  <a:lnTo>
                    <a:pt x="8883" y="2475"/>
                  </a:lnTo>
                  <a:cubicBezTo>
                    <a:pt x="8901" y="2493"/>
                    <a:pt x="8916" y="2507"/>
                    <a:pt x="8928" y="2518"/>
                  </a:cubicBezTo>
                  <a:cubicBezTo>
                    <a:pt x="8940" y="2529"/>
                    <a:pt x="8948" y="2536"/>
                    <a:pt x="8953" y="2539"/>
                  </a:cubicBezTo>
                  <a:cubicBezTo>
                    <a:pt x="8950" y="2539"/>
                    <a:pt x="8945" y="2537"/>
                    <a:pt x="8938" y="2535"/>
                  </a:cubicBezTo>
                  <a:cubicBezTo>
                    <a:pt x="8931" y="2534"/>
                    <a:pt x="8923" y="2532"/>
                    <a:pt x="8914" y="2530"/>
                  </a:cubicBezTo>
                  <a:cubicBezTo>
                    <a:pt x="8905" y="2528"/>
                    <a:pt x="8895" y="2526"/>
                    <a:pt x="8885" y="2524"/>
                  </a:cubicBezTo>
                  <a:cubicBezTo>
                    <a:pt x="8875" y="2523"/>
                    <a:pt x="8864" y="2521"/>
                    <a:pt x="8854" y="2519"/>
                  </a:cubicBezTo>
                  <a:lnTo>
                    <a:pt x="8562" y="2478"/>
                  </a:lnTo>
                  <a:lnTo>
                    <a:pt x="8537" y="2529"/>
                  </a:lnTo>
                  <a:lnTo>
                    <a:pt x="8993" y="2590"/>
                  </a:lnTo>
                  <a:lnTo>
                    <a:pt x="9002" y="2570"/>
                  </a:lnTo>
                  <a:close/>
                  <a:moveTo>
                    <a:pt x="9002" y="2277"/>
                  </a:moveTo>
                  <a:lnTo>
                    <a:pt x="9002" y="2218"/>
                  </a:lnTo>
                  <a:lnTo>
                    <a:pt x="8958" y="2196"/>
                  </a:lnTo>
                  <a:lnTo>
                    <a:pt x="9002" y="2107"/>
                  </a:lnTo>
                  <a:lnTo>
                    <a:pt x="9002" y="2052"/>
                  </a:lnTo>
                  <a:lnTo>
                    <a:pt x="8984" y="2042"/>
                  </a:lnTo>
                  <a:lnTo>
                    <a:pt x="8918" y="2176"/>
                  </a:lnTo>
                  <a:lnTo>
                    <a:pt x="8790" y="2113"/>
                  </a:lnTo>
                  <a:lnTo>
                    <a:pt x="8868" y="1953"/>
                  </a:lnTo>
                  <a:lnTo>
                    <a:pt x="8833" y="1928"/>
                  </a:lnTo>
                  <a:lnTo>
                    <a:pt x="8728" y="2142"/>
                  </a:lnTo>
                  <a:lnTo>
                    <a:pt x="9002" y="2277"/>
                  </a:lnTo>
                  <a:close/>
                  <a:moveTo>
                    <a:pt x="9002" y="1901"/>
                  </a:moveTo>
                  <a:lnTo>
                    <a:pt x="9002" y="1845"/>
                  </a:lnTo>
                  <a:lnTo>
                    <a:pt x="8938" y="1813"/>
                  </a:lnTo>
                  <a:lnTo>
                    <a:pt x="8961" y="1767"/>
                  </a:lnTo>
                  <a:cubicBezTo>
                    <a:pt x="8966" y="1756"/>
                    <a:pt x="8971" y="1747"/>
                    <a:pt x="8976" y="1740"/>
                  </a:cubicBezTo>
                  <a:cubicBezTo>
                    <a:pt x="8982" y="1733"/>
                    <a:pt x="8987" y="1727"/>
                    <a:pt x="8993" y="1721"/>
                  </a:cubicBezTo>
                  <a:cubicBezTo>
                    <a:pt x="8996" y="1719"/>
                    <a:pt x="8999" y="1717"/>
                    <a:pt x="9002" y="1715"/>
                  </a:cubicBezTo>
                  <a:lnTo>
                    <a:pt x="9002" y="1659"/>
                  </a:lnTo>
                  <a:cubicBezTo>
                    <a:pt x="8999" y="1660"/>
                    <a:pt x="8997" y="1661"/>
                    <a:pt x="8995" y="1662"/>
                  </a:cubicBezTo>
                  <a:cubicBezTo>
                    <a:pt x="8989" y="1665"/>
                    <a:pt x="8983" y="1668"/>
                    <a:pt x="8977" y="1673"/>
                  </a:cubicBezTo>
                  <a:cubicBezTo>
                    <a:pt x="8971" y="1677"/>
                    <a:pt x="8965" y="1683"/>
                    <a:pt x="8959" y="1689"/>
                  </a:cubicBezTo>
                  <a:cubicBezTo>
                    <a:pt x="8952" y="1696"/>
                    <a:pt x="8946" y="1704"/>
                    <a:pt x="8940" y="1714"/>
                  </a:cubicBezTo>
                  <a:cubicBezTo>
                    <a:pt x="8934" y="1724"/>
                    <a:pt x="8928" y="1735"/>
                    <a:pt x="8921" y="1748"/>
                  </a:cubicBezTo>
                  <a:lnTo>
                    <a:pt x="8876" y="1840"/>
                  </a:lnTo>
                  <a:lnTo>
                    <a:pt x="9002" y="1901"/>
                  </a:lnTo>
                  <a:close/>
                  <a:moveTo>
                    <a:pt x="1120" y="17602"/>
                  </a:moveTo>
                  <a:lnTo>
                    <a:pt x="993" y="17861"/>
                  </a:lnTo>
                  <a:lnTo>
                    <a:pt x="1032" y="17880"/>
                  </a:lnTo>
                  <a:lnTo>
                    <a:pt x="1084" y="17775"/>
                  </a:lnTo>
                  <a:lnTo>
                    <a:pt x="1435" y="17948"/>
                  </a:lnTo>
                  <a:lnTo>
                    <a:pt x="1457" y="17903"/>
                  </a:lnTo>
                  <a:lnTo>
                    <a:pt x="1106" y="17730"/>
                  </a:lnTo>
                  <a:lnTo>
                    <a:pt x="1158" y="17624"/>
                  </a:lnTo>
                  <a:lnTo>
                    <a:pt x="1120" y="17602"/>
                  </a:lnTo>
                  <a:close/>
                  <a:moveTo>
                    <a:pt x="1652" y="17508"/>
                  </a:moveTo>
                  <a:lnTo>
                    <a:pt x="1611" y="17488"/>
                  </a:lnTo>
                  <a:lnTo>
                    <a:pt x="1527" y="17660"/>
                  </a:lnTo>
                  <a:lnTo>
                    <a:pt x="1384" y="17590"/>
                  </a:lnTo>
                  <a:lnTo>
                    <a:pt x="1450" y="17456"/>
                  </a:lnTo>
                  <a:lnTo>
                    <a:pt x="1409" y="17436"/>
                  </a:lnTo>
                  <a:lnTo>
                    <a:pt x="1343" y="17570"/>
                  </a:lnTo>
                  <a:lnTo>
                    <a:pt x="1215" y="17507"/>
                  </a:lnTo>
                  <a:lnTo>
                    <a:pt x="1294" y="17347"/>
                  </a:lnTo>
                  <a:lnTo>
                    <a:pt x="1258" y="17321"/>
                  </a:lnTo>
                  <a:lnTo>
                    <a:pt x="1153" y="17535"/>
                  </a:lnTo>
                  <a:lnTo>
                    <a:pt x="1544" y="17727"/>
                  </a:lnTo>
                  <a:lnTo>
                    <a:pt x="1652" y="17508"/>
                  </a:lnTo>
                  <a:close/>
                  <a:moveTo>
                    <a:pt x="1815" y="17177"/>
                  </a:moveTo>
                  <a:lnTo>
                    <a:pt x="1778" y="17182"/>
                  </a:lnTo>
                  <a:cubicBezTo>
                    <a:pt x="1762" y="17184"/>
                    <a:pt x="1744" y="17186"/>
                    <a:pt x="1725" y="17189"/>
                  </a:cubicBezTo>
                  <a:cubicBezTo>
                    <a:pt x="1707" y="17191"/>
                    <a:pt x="1689" y="17194"/>
                    <a:pt x="1673" y="17196"/>
                  </a:cubicBezTo>
                  <a:cubicBezTo>
                    <a:pt x="1656" y="17198"/>
                    <a:pt x="1645" y="17200"/>
                    <a:pt x="1638" y="17201"/>
                  </a:cubicBezTo>
                  <a:cubicBezTo>
                    <a:pt x="1628" y="17203"/>
                    <a:pt x="1617" y="17206"/>
                    <a:pt x="1605" y="17209"/>
                  </a:cubicBezTo>
                  <a:cubicBezTo>
                    <a:pt x="1593" y="17212"/>
                    <a:pt x="1583" y="17215"/>
                    <a:pt x="1574" y="17219"/>
                  </a:cubicBezTo>
                  <a:lnTo>
                    <a:pt x="1577" y="17214"/>
                  </a:lnTo>
                  <a:cubicBezTo>
                    <a:pt x="1585" y="17198"/>
                    <a:pt x="1589" y="17183"/>
                    <a:pt x="1590" y="17167"/>
                  </a:cubicBezTo>
                  <a:cubicBezTo>
                    <a:pt x="1592" y="17152"/>
                    <a:pt x="1590" y="17138"/>
                    <a:pt x="1585" y="17124"/>
                  </a:cubicBezTo>
                  <a:cubicBezTo>
                    <a:pt x="1580" y="17110"/>
                    <a:pt x="1572" y="17098"/>
                    <a:pt x="1561" y="17086"/>
                  </a:cubicBezTo>
                  <a:cubicBezTo>
                    <a:pt x="1551" y="17075"/>
                    <a:pt x="1537" y="17065"/>
                    <a:pt x="1521" y="17057"/>
                  </a:cubicBezTo>
                  <a:cubicBezTo>
                    <a:pt x="1511" y="17052"/>
                    <a:pt x="1501" y="17049"/>
                    <a:pt x="1491" y="17047"/>
                  </a:cubicBezTo>
                  <a:cubicBezTo>
                    <a:pt x="1481" y="17045"/>
                    <a:pt x="1472" y="17044"/>
                    <a:pt x="1464" y="17045"/>
                  </a:cubicBezTo>
                  <a:cubicBezTo>
                    <a:pt x="1455" y="17045"/>
                    <a:pt x="1447" y="17046"/>
                    <a:pt x="1440" y="17048"/>
                  </a:cubicBezTo>
                  <a:cubicBezTo>
                    <a:pt x="1432" y="17050"/>
                    <a:pt x="1426" y="17053"/>
                    <a:pt x="1420" y="17056"/>
                  </a:cubicBezTo>
                  <a:cubicBezTo>
                    <a:pt x="1414" y="17058"/>
                    <a:pt x="1408" y="17062"/>
                    <a:pt x="1402" y="17066"/>
                  </a:cubicBezTo>
                  <a:cubicBezTo>
                    <a:pt x="1396" y="17071"/>
                    <a:pt x="1390" y="17076"/>
                    <a:pt x="1384" y="17083"/>
                  </a:cubicBezTo>
                  <a:cubicBezTo>
                    <a:pt x="1378" y="17089"/>
                    <a:pt x="1372" y="17098"/>
                    <a:pt x="1366" y="17107"/>
                  </a:cubicBezTo>
                  <a:cubicBezTo>
                    <a:pt x="1359" y="17117"/>
                    <a:pt x="1353" y="17128"/>
                    <a:pt x="1347" y="17142"/>
                  </a:cubicBezTo>
                  <a:lnTo>
                    <a:pt x="1302" y="17233"/>
                  </a:lnTo>
                  <a:lnTo>
                    <a:pt x="1692" y="17425"/>
                  </a:lnTo>
                  <a:lnTo>
                    <a:pt x="1715" y="17380"/>
                  </a:lnTo>
                  <a:lnTo>
                    <a:pt x="1538" y="17293"/>
                  </a:lnTo>
                  <a:cubicBezTo>
                    <a:pt x="1544" y="17283"/>
                    <a:pt x="1549" y="17276"/>
                    <a:pt x="1556" y="17271"/>
                  </a:cubicBezTo>
                  <a:cubicBezTo>
                    <a:pt x="1562" y="17267"/>
                    <a:pt x="1572" y="17263"/>
                    <a:pt x="1585" y="17261"/>
                  </a:cubicBezTo>
                  <a:cubicBezTo>
                    <a:pt x="1608" y="17256"/>
                    <a:pt x="1630" y="17252"/>
                    <a:pt x="1651" y="17248"/>
                  </a:cubicBezTo>
                  <a:cubicBezTo>
                    <a:pt x="1672" y="17245"/>
                    <a:pt x="1691" y="17242"/>
                    <a:pt x="1708" y="17240"/>
                  </a:cubicBezTo>
                  <a:cubicBezTo>
                    <a:pt x="1726" y="17238"/>
                    <a:pt x="1741" y="17237"/>
                    <a:pt x="1754" y="17236"/>
                  </a:cubicBezTo>
                  <a:cubicBezTo>
                    <a:pt x="1767" y="17236"/>
                    <a:pt x="1778" y="17235"/>
                    <a:pt x="1786" y="17236"/>
                  </a:cubicBezTo>
                  <a:lnTo>
                    <a:pt x="1815" y="17177"/>
                  </a:lnTo>
                  <a:close/>
                  <a:moveTo>
                    <a:pt x="1528" y="17128"/>
                  </a:moveTo>
                  <a:cubicBezTo>
                    <a:pt x="1537" y="17136"/>
                    <a:pt x="1542" y="17145"/>
                    <a:pt x="1545" y="17155"/>
                  </a:cubicBezTo>
                  <a:cubicBezTo>
                    <a:pt x="1548" y="17166"/>
                    <a:pt x="1549" y="17177"/>
                    <a:pt x="1547" y="17190"/>
                  </a:cubicBezTo>
                  <a:cubicBezTo>
                    <a:pt x="1545" y="17203"/>
                    <a:pt x="1539" y="17218"/>
                    <a:pt x="1531" y="17235"/>
                  </a:cubicBezTo>
                  <a:lnTo>
                    <a:pt x="1509" y="17278"/>
                  </a:lnTo>
                  <a:lnTo>
                    <a:pt x="1363" y="17207"/>
                  </a:lnTo>
                  <a:lnTo>
                    <a:pt x="1386" y="17160"/>
                  </a:lnTo>
                  <a:cubicBezTo>
                    <a:pt x="1392" y="17149"/>
                    <a:pt x="1397" y="17140"/>
                    <a:pt x="1402" y="17133"/>
                  </a:cubicBezTo>
                  <a:cubicBezTo>
                    <a:pt x="1407" y="17126"/>
                    <a:pt x="1413" y="17120"/>
                    <a:pt x="1418" y="17115"/>
                  </a:cubicBezTo>
                  <a:cubicBezTo>
                    <a:pt x="1428" y="17106"/>
                    <a:pt x="1441" y="17101"/>
                    <a:pt x="1455" y="17099"/>
                  </a:cubicBezTo>
                  <a:cubicBezTo>
                    <a:pt x="1470" y="17097"/>
                    <a:pt x="1484" y="17100"/>
                    <a:pt x="1497" y="17106"/>
                  </a:cubicBezTo>
                  <a:cubicBezTo>
                    <a:pt x="1509" y="17112"/>
                    <a:pt x="1520" y="17120"/>
                    <a:pt x="1528" y="17128"/>
                  </a:cubicBezTo>
                  <a:close/>
                  <a:moveTo>
                    <a:pt x="2027" y="16965"/>
                  </a:moveTo>
                  <a:lnTo>
                    <a:pt x="1477" y="16695"/>
                  </a:lnTo>
                  <a:lnTo>
                    <a:pt x="1459" y="16733"/>
                  </a:lnTo>
                  <a:lnTo>
                    <a:pt x="2008" y="17003"/>
                  </a:lnTo>
                  <a:lnTo>
                    <a:pt x="2027" y="16965"/>
                  </a:lnTo>
                  <a:close/>
                  <a:moveTo>
                    <a:pt x="1872" y="16074"/>
                  </a:moveTo>
                  <a:lnTo>
                    <a:pt x="1849" y="16121"/>
                  </a:lnTo>
                  <a:lnTo>
                    <a:pt x="2052" y="16281"/>
                  </a:lnTo>
                  <a:cubicBezTo>
                    <a:pt x="2065" y="16291"/>
                    <a:pt x="2078" y="16301"/>
                    <a:pt x="2090" y="16311"/>
                  </a:cubicBezTo>
                  <a:cubicBezTo>
                    <a:pt x="2103" y="16320"/>
                    <a:pt x="2114" y="16329"/>
                    <a:pt x="2125" y="16336"/>
                  </a:cubicBezTo>
                  <a:cubicBezTo>
                    <a:pt x="2135" y="16344"/>
                    <a:pt x="2143" y="16350"/>
                    <a:pt x="2150" y="16355"/>
                  </a:cubicBezTo>
                  <a:cubicBezTo>
                    <a:pt x="2155" y="16359"/>
                    <a:pt x="2158" y="16361"/>
                    <a:pt x="2160" y="16362"/>
                  </a:cubicBezTo>
                  <a:cubicBezTo>
                    <a:pt x="2158" y="16362"/>
                    <a:pt x="2155" y="16361"/>
                    <a:pt x="2150" y="16360"/>
                  </a:cubicBezTo>
                  <a:cubicBezTo>
                    <a:pt x="2144" y="16358"/>
                    <a:pt x="2136" y="16355"/>
                    <a:pt x="2126" y="16352"/>
                  </a:cubicBezTo>
                  <a:cubicBezTo>
                    <a:pt x="2116" y="16349"/>
                    <a:pt x="2104" y="16346"/>
                    <a:pt x="2091" y="16343"/>
                  </a:cubicBezTo>
                  <a:cubicBezTo>
                    <a:pt x="2077" y="16339"/>
                    <a:pt x="2063" y="16335"/>
                    <a:pt x="2047" y="16331"/>
                  </a:cubicBezTo>
                  <a:lnTo>
                    <a:pt x="1777" y="16266"/>
                  </a:lnTo>
                  <a:lnTo>
                    <a:pt x="1751" y="16319"/>
                  </a:lnTo>
                  <a:lnTo>
                    <a:pt x="1960" y="16486"/>
                  </a:lnTo>
                  <a:cubicBezTo>
                    <a:pt x="1970" y="16494"/>
                    <a:pt x="1981" y="16502"/>
                    <a:pt x="1992" y="16511"/>
                  </a:cubicBezTo>
                  <a:cubicBezTo>
                    <a:pt x="2004" y="16520"/>
                    <a:pt x="2015" y="16528"/>
                    <a:pt x="2025" y="16536"/>
                  </a:cubicBezTo>
                  <a:cubicBezTo>
                    <a:pt x="2035" y="16543"/>
                    <a:pt x="2043" y="16550"/>
                    <a:pt x="2050" y="16555"/>
                  </a:cubicBezTo>
                  <a:cubicBezTo>
                    <a:pt x="2057" y="16561"/>
                    <a:pt x="2061" y="16563"/>
                    <a:pt x="2062" y="16564"/>
                  </a:cubicBezTo>
                  <a:cubicBezTo>
                    <a:pt x="2060" y="16563"/>
                    <a:pt x="2055" y="16562"/>
                    <a:pt x="2047" y="16559"/>
                  </a:cubicBezTo>
                  <a:cubicBezTo>
                    <a:pt x="2038" y="16556"/>
                    <a:pt x="2028" y="16553"/>
                    <a:pt x="2015" y="16549"/>
                  </a:cubicBezTo>
                  <a:cubicBezTo>
                    <a:pt x="2003" y="16546"/>
                    <a:pt x="1989" y="16542"/>
                    <a:pt x="1975" y="16538"/>
                  </a:cubicBezTo>
                  <a:cubicBezTo>
                    <a:pt x="1960" y="16534"/>
                    <a:pt x="1946" y="16530"/>
                    <a:pt x="1933" y="16527"/>
                  </a:cubicBezTo>
                  <a:lnTo>
                    <a:pt x="1680" y="16464"/>
                  </a:lnTo>
                  <a:lnTo>
                    <a:pt x="1655" y="16514"/>
                  </a:lnTo>
                  <a:lnTo>
                    <a:pt x="2092" y="16614"/>
                  </a:lnTo>
                  <a:lnTo>
                    <a:pt x="2121" y="16554"/>
                  </a:lnTo>
                  <a:lnTo>
                    <a:pt x="1925" y="16397"/>
                  </a:lnTo>
                  <a:cubicBezTo>
                    <a:pt x="1913" y="16388"/>
                    <a:pt x="1902" y="16379"/>
                    <a:pt x="1890" y="16371"/>
                  </a:cubicBezTo>
                  <a:cubicBezTo>
                    <a:pt x="1879" y="16362"/>
                    <a:pt x="1869" y="16355"/>
                    <a:pt x="1860" y="16348"/>
                  </a:cubicBezTo>
                  <a:cubicBezTo>
                    <a:pt x="1851" y="16342"/>
                    <a:pt x="1844" y="16336"/>
                    <a:pt x="1838" y="16332"/>
                  </a:cubicBezTo>
                  <a:cubicBezTo>
                    <a:pt x="1832" y="16328"/>
                    <a:pt x="1829" y="16326"/>
                    <a:pt x="1828" y="16325"/>
                  </a:cubicBezTo>
                  <a:cubicBezTo>
                    <a:pt x="1829" y="16326"/>
                    <a:pt x="1833" y="16327"/>
                    <a:pt x="1840" y="16329"/>
                  </a:cubicBezTo>
                  <a:cubicBezTo>
                    <a:pt x="1847" y="16331"/>
                    <a:pt x="1856" y="16333"/>
                    <a:pt x="1866" y="16336"/>
                  </a:cubicBezTo>
                  <a:cubicBezTo>
                    <a:pt x="1877" y="16339"/>
                    <a:pt x="1889" y="16343"/>
                    <a:pt x="1903" y="16347"/>
                  </a:cubicBezTo>
                  <a:cubicBezTo>
                    <a:pt x="1917" y="16350"/>
                    <a:pt x="1932" y="16354"/>
                    <a:pt x="1948" y="16358"/>
                  </a:cubicBezTo>
                  <a:lnTo>
                    <a:pt x="2189" y="16417"/>
                  </a:lnTo>
                  <a:lnTo>
                    <a:pt x="2219" y="16356"/>
                  </a:lnTo>
                  <a:lnTo>
                    <a:pt x="1872" y="16074"/>
                  </a:lnTo>
                  <a:close/>
                  <a:moveTo>
                    <a:pt x="2409" y="15969"/>
                  </a:moveTo>
                  <a:lnTo>
                    <a:pt x="2369" y="15949"/>
                  </a:lnTo>
                  <a:lnTo>
                    <a:pt x="2284" y="16121"/>
                  </a:lnTo>
                  <a:lnTo>
                    <a:pt x="2141" y="16050"/>
                  </a:lnTo>
                  <a:lnTo>
                    <a:pt x="2207" y="15916"/>
                  </a:lnTo>
                  <a:lnTo>
                    <a:pt x="2167" y="15897"/>
                  </a:lnTo>
                  <a:lnTo>
                    <a:pt x="2101" y="16030"/>
                  </a:lnTo>
                  <a:lnTo>
                    <a:pt x="1973" y="15967"/>
                  </a:lnTo>
                  <a:lnTo>
                    <a:pt x="2051" y="15807"/>
                  </a:lnTo>
                  <a:lnTo>
                    <a:pt x="2016" y="15782"/>
                  </a:lnTo>
                  <a:lnTo>
                    <a:pt x="1911" y="15996"/>
                  </a:lnTo>
                  <a:lnTo>
                    <a:pt x="2301" y="16188"/>
                  </a:lnTo>
                  <a:lnTo>
                    <a:pt x="2409" y="15969"/>
                  </a:lnTo>
                  <a:close/>
                  <a:moveTo>
                    <a:pt x="2425" y="15564"/>
                  </a:moveTo>
                  <a:cubicBezTo>
                    <a:pt x="2411" y="15563"/>
                    <a:pt x="2397" y="15564"/>
                    <a:pt x="2384" y="15567"/>
                  </a:cubicBezTo>
                  <a:cubicBezTo>
                    <a:pt x="2371" y="15571"/>
                    <a:pt x="2359" y="15576"/>
                    <a:pt x="2348" y="15584"/>
                  </a:cubicBezTo>
                  <a:cubicBezTo>
                    <a:pt x="2337" y="15591"/>
                    <a:pt x="2324" y="15602"/>
                    <a:pt x="2311" y="15617"/>
                  </a:cubicBezTo>
                  <a:lnTo>
                    <a:pt x="2274" y="15655"/>
                  </a:lnTo>
                  <a:cubicBezTo>
                    <a:pt x="2255" y="15674"/>
                    <a:pt x="2238" y="15687"/>
                    <a:pt x="2224" y="15692"/>
                  </a:cubicBezTo>
                  <a:cubicBezTo>
                    <a:pt x="2210" y="15697"/>
                    <a:pt x="2194" y="15696"/>
                    <a:pt x="2178" y="15688"/>
                  </a:cubicBezTo>
                  <a:cubicBezTo>
                    <a:pt x="2158" y="15679"/>
                    <a:pt x="2146" y="15664"/>
                    <a:pt x="2141" y="15645"/>
                  </a:cubicBezTo>
                  <a:cubicBezTo>
                    <a:pt x="2137" y="15625"/>
                    <a:pt x="2140" y="15603"/>
                    <a:pt x="2152" y="15579"/>
                  </a:cubicBezTo>
                  <a:cubicBezTo>
                    <a:pt x="2157" y="15570"/>
                    <a:pt x="2161" y="15563"/>
                    <a:pt x="2166" y="15556"/>
                  </a:cubicBezTo>
                  <a:cubicBezTo>
                    <a:pt x="2171" y="15549"/>
                    <a:pt x="2176" y="15543"/>
                    <a:pt x="2182" y="15536"/>
                  </a:cubicBezTo>
                  <a:cubicBezTo>
                    <a:pt x="2189" y="15530"/>
                    <a:pt x="2196" y="15524"/>
                    <a:pt x="2204" y="15518"/>
                  </a:cubicBezTo>
                  <a:cubicBezTo>
                    <a:pt x="2212" y="15513"/>
                    <a:pt x="2222" y="15506"/>
                    <a:pt x="2232" y="15500"/>
                  </a:cubicBezTo>
                  <a:lnTo>
                    <a:pt x="2209" y="15463"/>
                  </a:lnTo>
                  <a:cubicBezTo>
                    <a:pt x="2165" y="15488"/>
                    <a:pt x="2134" y="15521"/>
                    <a:pt x="2113" y="15562"/>
                  </a:cubicBezTo>
                  <a:cubicBezTo>
                    <a:pt x="2104" y="15581"/>
                    <a:pt x="2098" y="15600"/>
                    <a:pt x="2096" y="15618"/>
                  </a:cubicBezTo>
                  <a:cubicBezTo>
                    <a:pt x="2094" y="15636"/>
                    <a:pt x="2095" y="15653"/>
                    <a:pt x="2099" y="15669"/>
                  </a:cubicBezTo>
                  <a:cubicBezTo>
                    <a:pt x="2104" y="15685"/>
                    <a:pt x="2111" y="15700"/>
                    <a:pt x="2122" y="15712"/>
                  </a:cubicBezTo>
                  <a:cubicBezTo>
                    <a:pt x="2133" y="15725"/>
                    <a:pt x="2146" y="15736"/>
                    <a:pt x="2163" y="15744"/>
                  </a:cubicBezTo>
                  <a:cubicBezTo>
                    <a:pt x="2188" y="15756"/>
                    <a:pt x="2214" y="15759"/>
                    <a:pt x="2239" y="15751"/>
                  </a:cubicBezTo>
                  <a:cubicBezTo>
                    <a:pt x="2251" y="15747"/>
                    <a:pt x="2262" y="15741"/>
                    <a:pt x="2272" y="15733"/>
                  </a:cubicBezTo>
                  <a:cubicBezTo>
                    <a:pt x="2282" y="15725"/>
                    <a:pt x="2294" y="15714"/>
                    <a:pt x="2308" y="15698"/>
                  </a:cubicBezTo>
                  <a:lnTo>
                    <a:pt x="2339" y="15665"/>
                  </a:lnTo>
                  <a:cubicBezTo>
                    <a:pt x="2376" y="15625"/>
                    <a:pt x="2412" y="15614"/>
                    <a:pt x="2447" y="15631"/>
                  </a:cubicBezTo>
                  <a:cubicBezTo>
                    <a:pt x="2470" y="15642"/>
                    <a:pt x="2484" y="15661"/>
                    <a:pt x="2489" y="15686"/>
                  </a:cubicBezTo>
                  <a:cubicBezTo>
                    <a:pt x="2491" y="15698"/>
                    <a:pt x="2491" y="15709"/>
                    <a:pt x="2489" y="15719"/>
                  </a:cubicBezTo>
                  <a:cubicBezTo>
                    <a:pt x="2487" y="15729"/>
                    <a:pt x="2483" y="15742"/>
                    <a:pt x="2475" y="15757"/>
                  </a:cubicBezTo>
                  <a:cubicBezTo>
                    <a:pt x="2466" y="15776"/>
                    <a:pt x="2454" y="15793"/>
                    <a:pt x="2440" y="15808"/>
                  </a:cubicBezTo>
                  <a:cubicBezTo>
                    <a:pt x="2427" y="15822"/>
                    <a:pt x="2410" y="15834"/>
                    <a:pt x="2390" y="15845"/>
                  </a:cubicBezTo>
                  <a:lnTo>
                    <a:pt x="2417" y="15883"/>
                  </a:lnTo>
                  <a:cubicBezTo>
                    <a:pt x="2438" y="15870"/>
                    <a:pt x="2457" y="15855"/>
                    <a:pt x="2473" y="15837"/>
                  </a:cubicBezTo>
                  <a:cubicBezTo>
                    <a:pt x="2488" y="15820"/>
                    <a:pt x="2502" y="15799"/>
                    <a:pt x="2514" y="15775"/>
                  </a:cubicBezTo>
                  <a:cubicBezTo>
                    <a:pt x="2522" y="15757"/>
                    <a:pt x="2528" y="15740"/>
                    <a:pt x="2531" y="15725"/>
                  </a:cubicBezTo>
                  <a:cubicBezTo>
                    <a:pt x="2534" y="15709"/>
                    <a:pt x="2535" y="15693"/>
                    <a:pt x="2533" y="15676"/>
                  </a:cubicBezTo>
                  <a:cubicBezTo>
                    <a:pt x="2530" y="15653"/>
                    <a:pt x="2523" y="15633"/>
                    <a:pt x="2511" y="15615"/>
                  </a:cubicBezTo>
                  <a:cubicBezTo>
                    <a:pt x="2499" y="15598"/>
                    <a:pt x="2484" y="15585"/>
                    <a:pt x="2465" y="15576"/>
                  </a:cubicBezTo>
                  <a:cubicBezTo>
                    <a:pt x="2453" y="15570"/>
                    <a:pt x="2440" y="15566"/>
                    <a:pt x="2425" y="15564"/>
                  </a:cubicBezTo>
                  <a:close/>
                  <a:moveTo>
                    <a:pt x="2343" y="15118"/>
                  </a:moveTo>
                  <a:lnTo>
                    <a:pt x="2215" y="15376"/>
                  </a:lnTo>
                  <a:lnTo>
                    <a:pt x="2255" y="15396"/>
                  </a:lnTo>
                  <a:lnTo>
                    <a:pt x="2306" y="15291"/>
                  </a:lnTo>
                  <a:lnTo>
                    <a:pt x="2658" y="15464"/>
                  </a:lnTo>
                  <a:lnTo>
                    <a:pt x="2680" y="15419"/>
                  </a:lnTo>
                  <a:lnTo>
                    <a:pt x="2328" y="15246"/>
                  </a:lnTo>
                  <a:lnTo>
                    <a:pt x="2380" y="15140"/>
                  </a:lnTo>
                  <a:lnTo>
                    <a:pt x="2343" y="15118"/>
                  </a:lnTo>
                  <a:close/>
                  <a:moveTo>
                    <a:pt x="2477" y="14845"/>
                  </a:moveTo>
                  <a:lnTo>
                    <a:pt x="2376" y="15050"/>
                  </a:lnTo>
                  <a:lnTo>
                    <a:pt x="2766" y="15243"/>
                  </a:lnTo>
                  <a:lnTo>
                    <a:pt x="2790" y="15195"/>
                  </a:lnTo>
                  <a:lnTo>
                    <a:pt x="2604" y="15104"/>
                  </a:lnTo>
                  <a:lnTo>
                    <a:pt x="2666" y="14979"/>
                  </a:lnTo>
                  <a:lnTo>
                    <a:pt x="2627" y="14960"/>
                  </a:lnTo>
                  <a:lnTo>
                    <a:pt x="2566" y="15085"/>
                  </a:lnTo>
                  <a:lnTo>
                    <a:pt x="2438" y="15022"/>
                  </a:lnTo>
                  <a:lnTo>
                    <a:pt x="2512" y="14871"/>
                  </a:lnTo>
                  <a:lnTo>
                    <a:pt x="2477" y="14845"/>
                  </a:lnTo>
                  <a:close/>
                  <a:moveTo>
                    <a:pt x="3024" y="14719"/>
                  </a:moveTo>
                  <a:lnTo>
                    <a:pt x="2569" y="14656"/>
                  </a:lnTo>
                  <a:lnTo>
                    <a:pt x="2539" y="14717"/>
                  </a:lnTo>
                  <a:lnTo>
                    <a:pt x="2866" y="15040"/>
                  </a:lnTo>
                  <a:lnTo>
                    <a:pt x="2889" y="14993"/>
                  </a:lnTo>
                  <a:lnTo>
                    <a:pt x="2788" y="14896"/>
                  </a:lnTo>
                  <a:lnTo>
                    <a:pt x="2859" y="14750"/>
                  </a:lnTo>
                  <a:lnTo>
                    <a:pt x="2998" y="14772"/>
                  </a:lnTo>
                  <a:lnTo>
                    <a:pt x="3024" y="14719"/>
                  </a:lnTo>
                  <a:close/>
                  <a:moveTo>
                    <a:pt x="2815" y="14743"/>
                  </a:moveTo>
                  <a:lnTo>
                    <a:pt x="2756" y="14865"/>
                  </a:lnTo>
                  <a:lnTo>
                    <a:pt x="2595" y="14709"/>
                  </a:lnTo>
                  <a:lnTo>
                    <a:pt x="2815" y="14743"/>
                  </a:lnTo>
                  <a:close/>
                  <a:moveTo>
                    <a:pt x="2461" y="14687"/>
                  </a:moveTo>
                  <a:cubicBezTo>
                    <a:pt x="2453" y="14690"/>
                    <a:pt x="2447" y="14696"/>
                    <a:pt x="2443" y="14704"/>
                  </a:cubicBezTo>
                  <a:cubicBezTo>
                    <a:pt x="2439" y="14712"/>
                    <a:pt x="2438" y="14721"/>
                    <a:pt x="2441" y="14729"/>
                  </a:cubicBezTo>
                  <a:cubicBezTo>
                    <a:pt x="2444" y="14738"/>
                    <a:pt x="2449" y="14744"/>
                    <a:pt x="2457" y="14748"/>
                  </a:cubicBezTo>
                  <a:cubicBezTo>
                    <a:pt x="2466" y="14752"/>
                    <a:pt x="2474" y="14752"/>
                    <a:pt x="2483" y="14750"/>
                  </a:cubicBezTo>
                  <a:cubicBezTo>
                    <a:pt x="2492" y="14747"/>
                    <a:pt x="2498" y="14741"/>
                    <a:pt x="2502" y="14733"/>
                  </a:cubicBezTo>
                  <a:cubicBezTo>
                    <a:pt x="2506" y="14725"/>
                    <a:pt x="2507" y="14716"/>
                    <a:pt x="2503" y="14708"/>
                  </a:cubicBezTo>
                  <a:cubicBezTo>
                    <a:pt x="2500" y="14699"/>
                    <a:pt x="2495" y="14693"/>
                    <a:pt x="2486" y="14689"/>
                  </a:cubicBezTo>
                  <a:cubicBezTo>
                    <a:pt x="2478" y="14685"/>
                    <a:pt x="2470" y="14685"/>
                    <a:pt x="2461" y="14687"/>
                  </a:cubicBezTo>
                  <a:close/>
                  <a:moveTo>
                    <a:pt x="2519" y="14570"/>
                  </a:moveTo>
                  <a:cubicBezTo>
                    <a:pt x="2511" y="14573"/>
                    <a:pt x="2504" y="14579"/>
                    <a:pt x="2500" y="14587"/>
                  </a:cubicBezTo>
                  <a:cubicBezTo>
                    <a:pt x="2496" y="14595"/>
                    <a:pt x="2496" y="14603"/>
                    <a:pt x="2499" y="14612"/>
                  </a:cubicBezTo>
                  <a:cubicBezTo>
                    <a:pt x="2502" y="14620"/>
                    <a:pt x="2507" y="14626"/>
                    <a:pt x="2515" y="14630"/>
                  </a:cubicBezTo>
                  <a:cubicBezTo>
                    <a:pt x="2523" y="14634"/>
                    <a:pt x="2532" y="14635"/>
                    <a:pt x="2541" y="14632"/>
                  </a:cubicBezTo>
                  <a:cubicBezTo>
                    <a:pt x="2549" y="14629"/>
                    <a:pt x="2556" y="14624"/>
                    <a:pt x="2560" y="14616"/>
                  </a:cubicBezTo>
                  <a:cubicBezTo>
                    <a:pt x="2564" y="14607"/>
                    <a:pt x="2564" y="14599"/>
                    <a:pt x="2561" y="14590"/>
                  </a:cubicBezTo>
                  <a:cubicBezTo>
                    <a:pt x="2558" y="14582"/>
                    <a:pt x="2552" y="14576"/>
                    <a:pt x="2544" y="14572"/>
                  </a:cubicBezTo>
                  <a:cubicBezTo>
                    <a:pt x="2536" y="14568"/>
                    <a:pt x="2528" y="14567"/>
                    <a:pt x="2519" y="14570"/>
                  </a:cubicBezTo>
                  <a:close/>
                  <a:moveTo>
                    <a:pt x="3120" y="14425"/>
                  </a:moveTo>
                  <a:lnTo>
                    <a:pt x="3044" y="14579"/>
                  </a:lnTo>
                  <a:lnTo>
                    <a:pt x="2692" y="14406"/>
                  </a:lnTo>
                  <a:lnTo>
                    <a:pt x="2669" y="14453"/>
                  </a:lnTo>
                  <a:lnTo>
                    <a:pt x="3060" y="14645"/>
                  </a:lnTo>
                  <a:lnTo>
                    <a:pt x="3156" y="14451"/>
                  </a:lnTo>
                  <a:lnTo>
                    <a:pt x="3120" y="14425"/>
                  </a:lnTo>
                  <a:close/>
                  <a:moveTo>
                    <a:pt x="3219" y="14323"/>
                  </a:moveTo>
                  <a:lnTo>
                    <a:pt x="2828" y="14131"/>
                  </a:lnTo>
                  <a:lnTo>
                    <a:pt x="2806" y="14177"/>
                  </a:lnTo>
                  <a:lnTo>
                    <a:pt x="3196" y="14369"/>
                  </a:lnTo>
                  <a:lnTo>
                    <a:pt x="3219" y="14323"/>
                  </a:lnTo>
                  <a:close/>
                  <a:moveTo>
                    <a:pt x="3243" y="13903"/>
                  </a:moveTo>
                  <a:cubicBezTo>
                    <a:pt x="3228" y="13901"/>
                    <a:pt x="3215" y="13902"/>
                    <a:pt x="3201" y="13906"/>
                  </a:cubicBezTo>
                  <a:cubicBezTo>
                    <a:pt x="3188" y="13909"/>
                    <a:pt x="3176" y="13914"/>
                    <a:pt x="3165" y="13922"/>
                  </a:cubicBezTo>
                  <a:cubicBezTo>
                    <a:pt x="3155" y="13929"/>
                    <a:pt x="3142" y="13940"/>
                    <a:pt x="3128" y="13955"/>
                  </a:cubicBezTo>
                  <a:lnTo>
                    <a:pt x="3092" y="13993"/>
                  </a:lnTo>
                  <a:cubicBezTo>
                    <a:pt x="3073" y="14013"/>
                    <a:pt x="3056" y="14025"/>
                    <a:pt x="3042" y="14030"/>
                  </a:cubicBezTo>
                  <a:cubicBezTo>
                    <a:pt x="3027" y="14036"/>
                    <a:pt x="3012" y="14035"/>
                    <a:pt x="2996" y="14027"/>
                  </a:cubicBezTo>
                  <a:cubicBezTo>
                    <a:pt x="2976" y="14017"/>
                    <a:pt x="2964" y="14002"/>
                    <a:pt x="2959" y="13983"/>
                  </a:cubicBezTo>
                  <a:cubicBezTo>
                    <a:pt x="2954" y="13964"/>
                    <a:pt x="2958" y="13942"/>
                    <a:pt x="2970" y="13917"/>
                  </a:cubicBezTo>
                  <a:cubicBezTo>
                    <a:pt x="2974" y="13909"/>
                    <a:pt x="2979" y="13901"/>
                    <a:pt x="2983" y="13894"/>
                  </a:cubicBezTo>
                  <a:cubicBezTo>
                    <a:pt x="2988" y="13887"/>
                    <a:pt x="2994" y="13881"/>
                    <a:pt x="3000" y="13875"/>
                  </a:cubicBezTo>
                  <a:cubicBezTo>
                    <a:pt x="3006" y="13869"/>
                    <a:pt x="3014" y="13863"/>
                    <a:pt x="3022" y="13857"/>
                  </a:cubicBezTo>
                  <a:cubicBezTo>
                    <a:pt x="3030" y="13851"/>
                    <a:pt x="3039" y="13845"/>
                    <a:pt x="3050" y="13838"/>
                  </a:cubicBezTo>
                  <a:lnTo>
                    <a:pt x="3026" y="13801"/>
                  </a:lnTo>
                  <a:cubicBezTo>
                    <a:pt x="2983" y="13826"/>
                    <a:pt x="2951" y="13859"/>
                    <a:pt x="2931" y="13900"/>
                  </a:cubicBezTo>
                  <a:cubicBezTo>
                    <a:pt x="2921" y="13919"/>
                    <a:pt x="2916" y="13938"/>
                    <a:pt x="2914" y="13956"/>
                  </a:cubicBezTo>
                  <a:cubicBezTo>
                    <a:pt x="2911" y="13975"/>
                    <a:pt x="2913" y="13992"/>
                    <a:pt x="2917" y="14008"/>
                  </a:cubicBezTo>
                  <a:cubicBezTo>
                    <a:pt x="2921" y="14024"/>
                    <a:pt x="2929" y="14038"/>
                    <a:pt x="2940" y="14051"/>
                  </a:cubicBezTo>
                  <a:cubicBezTo>
                    <a:pt x="2950" y="14063"/>
                    <a:pt x="2964" y="14074"/>
                    <a:pt x="2981" y="14082"/>
                  </a:cubicBezTo>
                  <a:cubicBezTo>
                    <a:pt x="3006" y="14095"/>
                    <a:pt x="3031" y="14097"/>
                    <a:pt x="3057" y="14089"/>
                  </a:cubicBezTo>
                  <a:cubicBezTo>
                    <a:pt x="3068" y="14085"/>
                    <a:pt x="3079" y="14080"/>
                    <a:pt x="3089" y="14072"/>
                  </a:cubicBezTo>
                  <a:cubicBezTo>
                    <a:pt x="3099" y="14064"/>
                    <a:pt x="3112" y="14052"/>
                    <a:pt x="3126" y="14037"/>
                  </a:cubicBezTo>
                  <a:lnTo>
                    <a:pt x="3157" y="14003"/>
                  </a:lnTo>
                  <a:cubicBezTo>
                    <a:pt x="3194" y="13963"/>
                    <a:pt x="3230" y="13952"/>
                    <a:pt x="3264" y="13969"/>
                  </a:cubicBezTo>
                  <a:cubicBezTo>
                    <a:pt x="3288" y="13980"/>
                    <a:pt x="3302" y="13999"/>
                    <a:pt x="3306" y="14024"/>
                  </a:cubicBezTo>
                  <a:cubicBezTo>
                    <a:pt x="3309" y="14036"/>
                    <a:pt x="3309" y="14047"/>
                    <a:pt x="3307" y="14057"/>
                  </a:cubicBezTo>
                  <a:cubicBezTo>
                    <a:pt x="3305" y="14068"/>
                    <a:pt x="3300" y="14080"/>
                    <a:pt x="3293" y="14095"/>
                  </a:cubicBezTo>
                  <a:cubicBezTo>
                    <a:pt x="3283" y="14115"/>
                    <a:pt x="3272" y="14132"/>
                    <a:pt x="3258" y="14146"/>
                  </a:cubicBezTo>
                  <a:cubicBezTo>
                    <a:pt x="3244" y="14160"/>
                    <a:pt x="3228" y="14173"/>
                    <a:pt x="3208" y="14183"/>
                  </a:cubicBezTo>
                  <a:lnTo>
                    <a:pt x="3234" y="14222"/>
                  </a:lnTo>
                  <a:cubicBezTo>
                    <a:pt x="3256" y="14208"/>
                    <a:pt x="3275" y="14193"/>
                    <a:pt x="3290" y="14175"/>
                  </a:cubicBezTo>
                  <a:cubicBezTo>
                    <a:pt x="3306" y="14158"/>
                    <a:pt x="3320" y="14137"/>
                    <a:pt x="3331" y="14114"/>
                  </a:cubicBezTo>
                  <a:cubicBezTo>
                    <a:pt x="3340" y="14096"/>
                    <a:pt x="3346" y="14079"/>
                    <a:pt x="3349" y="14063"/>
                  </a:cubicBezTo>
                  <a:cubicBezTo>
                    <a:pt x="3352" y="14048"/>
                    <a:pt x="3352" y="14031"/>
                    <a:pt x="3350" y="14014"/>
                  </a:cubicBezTo>
                  <a:cubicBezTo>
                    <a:pt x="3348" y="13991"/>
                    <a:pt x="3341" y="13971"/>
                    <a:pt x="3329" y="13954"/>
                  </a:cubicBezTo>
                  <a:cubicBezTo>
                    <a:pt x="3316" y="13936"/>
                    <a:pt x="3301" y="13923"/>
                    <a:pt x="3283" y="13914"/>
                  </a:cubicBezTo>
                  <a:cubicBezTo>
                    <a:pt x="3271" y="13908"/>
                    <a:pt x="3257" y="13904"/>
                    <a:pt x="3243" y="13903"/>
                  </a:cubicBezTo>
                  <a:close/>
                  <a:moveTo>
                    <a:pt x="3494" y="13620"/>
                  </a:moveTo>
                  <a:cubicBezTo>
                    <a:pt x="3497" y="13637"/>
                    <a:pt x="3497" y="13652"/>
                    <a:pt x="3495" y="13666"/>
                  </a:cubicBezTo>
                  <a:cubicBezTo>
                    <a:pt x="3493" y="13680"/>
                    <a:pt x="3489" y="13694"/>
                    <a:pt x="3482" y="13709"/>
                  </a:cubicBezTo>
                  <a:cubicBezTo>
                    <a:pt x="3470" y="13731"/>
                    <a:pt x="3454" y="13749"/>
                    <a:pt x="3433" y="13762"/>
                  </a:cubicBezTo>
                  <a:cubicBezTo>
                    <a:pt x="3412" y="13775"/>
                    <a:pt x="3387" y="13780"/>
                    <a:pt x="3357" y="13778"/>
                  </a:cubicBezTo>
                  <a:cubicBezTo>
                    <a:pt x="3343" y="13777"/>
                    <a:pt x="3330" y="13774"/>
                    <a:pt x="3317" y="13770"/>
                  </a:cubicBezTo>
                  <a:cubicBezTo>
                    <a:pt x="3303" y="13766"/>
                    <a:pt x="3287" y="13759"/>
                    <a:pt x="3268" y="13750"/>
                  </a:cubicBezTo>
                  <a:cubicBezTo>
                    <a:pt x="3245" y="13738"/>
                    <a:pt x="3226" y="13727"/>
                    <a:pt x="3211" y="13717"/>
                  </a:cubicBezTo>
                  <a:cubicBezTo>
                    <a:pt x="3196" y="13706"/>
                    <a:pt x="3183" y="13694"/>
                    <a:pt x="3173" y="13682"/>
                  </a:cubicBezTo>
                  <a:cubicBezTo>
                    <a:pt x="3155" y="13662"/>
                    <a:pt x="3145" y="13641"/>
                    <a:pt x="3141" y="13619"/>
                  </a:cubicBezTo>
                  <a:cubicBezTo>
                    <a:pt x="3138" y="13598"/>
                    <a:pt x="3142" y="13576"/>
                    <a:pt x="3153" y="13553"/>
                  </a:cubicBezTo>
                  <a:cubicBezTo>
                    <a:pt x="3160" y="13538"/>
                    <a:pt x="3168" y="13526"/>
                    <a:pt x="3178" y="13517"/>
                  </a:cubicBezTo>
                  <a:cubicBezTo>
                    <a:pt x="3187" y="13507"/>
                    <a:pt x="3199" y="13498"/>
                    <a:pt x="3214" y="13491"/>
                  </a:cubicBezTo>
                  <a:lnTo>
                    <a:pt x="3196" y="13451"/>
                  </a:lnTo>
                  <a:cubicBezTo>
                    <a:pt x="3179" y="13459"/>
                    <a:pt x="3164" y="13470"/>
                    <a:pt x="3150" y="13484"/>
                  </a:cubicBezTo>
                  <a:cubicBezTo>
                    <a:pt x="3136" y="13498"/>
                    <a:pt x="3125" y="13515"/>
                    <a:pt x="3115" y="13534"/>
                  </a:cubicBezTo>
                  <a:cubicBezTo>
                    <a:pt x="3104" y="13557"/>
                    <a:pt x="3098" y="13582"/>
                    <a:pt x="3098" y="13607"/>
                  </a:cubicBezTo>
                  <a:cubicBezTo>
                    <a:pt x="3098" y="13632"/>
                    <a:pt x="3104" y="13656"/>
                    <a:pt x="3115" y="13680"/>
                  </a:cubicBezTo>
                  <a:cubicBezTo>
                    <a:pt x="3126" y="13703"/>
                    <a:pt x="3141" y="13725"/>
                    <a:pt x="3162" y="13745"/>
                  </a:cubicBezTo>
                  <a:cubicBezTo>
                    <a:pt x="3183" y="13766"/>
                    <a:pt x="3208" y="13783"/>
                    <a:pt x="3236" y="13797"/>
                  </a:cubicBezTo>
                  <a:cubicBezTo>
                    <a:pt x="3266" y="13812"/>
                    <a:pt x="3295" y="13821"/>
                    <a:pt x="3324" y="13827"/>
                  </a:cubicBezTo>
                  <a:cubicBezTo>
                    <a:pt x="3353" y="13832"/>
                    <a:pt x="3381" y="13831"/>
                    <a:pt x="3408" y="13824"/>
                  </a:cubicBezTo>
                  <a:cubicBezTo>
                    <a:pt x="3433" y="13817"/>
                    <a:pt x="3454" y="13806"/>
                    <a:pt x="3473" y="13790"/>
                  </a:cubicBezTo>
                  <a:cubicBezTo>
                    <a:pt x="3491" y="13775"/>
                    <a:pt x="3506" y="13756"/>
                    <a:pt x="3516" y="13735"/>
                  </a:cubicBezTo>
                  <a:cubicBezTo>
                    <a:pt x="3526" y="13716"/>
                    <a:pt x="3532" y="13695"/>
                    <a:pt x="3536" y="13674"/>
                  </a:cubicBezTo>
                  <a:cubicBezTo>
                    <a:pt x="3539" y="13653"/>
                    <a:pt x="3540" y="13632"/>
                    <a:pt x="3538" y="13611"/>
                  </a:cubicBezTo>
                  <a:lnTo>
                    <a:pt x="3494" y="13620"/>
                  </a:lnTo>
                  <a:close/>
                  <a:moveTo>
                    <a:pt x="3730" y="13285"/>
                  </a:moveTo>
                  <a:lnTo>
                    <a:pt x="3339" y="13093"/>
                  </a:lnTo>
                  <a:lnTo>
                    <a:pt x="3316" y="13139"/>
                  </a:lnTo>
                  <a:lnTo>
                    <a:pt x="3479" y="13220"/>
                  </a:lnTo>
                  <a:lnTo>
                    <a:pt x="3398" y="13385"/>
                  </a:lnTo>
                  <a:lnTo>
                    <a:pt x="3235" y="13304"/>
                  </a:lnTo>
                  <a:lnTo>
                    <a:pt x="3212" y="13350"/>
                  </a:lnTo>
                  <a:lnTo>
                    <a:pt x="3603" y="13542"/>
                  </a:lnTo>
                  <a:lnTo>
                    <a:pt x="3626" y="13496"/>
                  </a:lnTo>
                  <a:lnTo>
                    <a:pt x="3437" y="13403"/>
                  </a:lnTo>
                  <a:lnTo>
                    <a:pt x="3518" y="13239"/>
                  </a:lnTo>
                  <a:lnTo>
                    <a:pt x="3707" y="13332"/>
                  </a:lnTo>
                  <a:lnTo>
                    <a:pt x="3730" y="13285"/>
                  </a:lnTo>
                  <a:close/>
                  <a:moveTo>
                    <a:pt x="3894" y="12951"/>
                  </a:moveTo>
                  <a:lnTo>
                    <a:pt x="3854" y="12931"/>
                  </a:lnTo>
                  <a:lnTo>
                    <a:pt x="3769" y="13103"/>
                  </a:lnTo>
                  <a:lnTo>
                    <a:pt x="3626" y="13033"/>
                  </a:lnTo>
                  <a:lnTo>
                    <a:pt x="3692" y="12899"/>
                  </a:lnTo>
                  <a:lnTo>
                    <a:pt x="3651" y="12879"/>
                  </a:lnTo>
                  <a:lnTo>
                    <a:pt x="3585" y="13013"/>
                  </a:lnTo>
                  <a:lnTo>
                    <a:pt x="3457" y="12950"/>
                  </a:lnTo>
                  <a:lnTo>
                    <a:pt x="3536" y="12790"/>
                  </a:lnTo>
                  <a:lnTo>
                    <a:pt x="3500" y="12765"/>
                  </a:lnTo>
                  <a:lnTo>
                    <a:pt x="3395" y="12978"/>
                  </a:lnTo>
                  <a:lnTo>
                    <a:pt x="3786" y="13171"/>
                  </a:lnTo>
                  <a:lnTo>
                    <a:pt x="3894" y="12951"/>
                  </a:lnTo>
                  <a:close/>
                  <a:moveTo>
                    <a:pt x="3811" y="12134"/>
                  </a:moveTo>
                  <a:lnTo>
                    <a:pt x="3788" y="12181"/>
                  </a:lnTo>
                  <a:lnTo>
                    <a:pt x="3991" y="12341"/>
                  </a:lnTo>
                  <a:cubicBezTo>
                    <a:pt x="4004" y="12351"/>
                    <a:pt x="4016" y="12361"/>
                    <a:pt x="4029" y="12370"/>
                  </a:cubicBezTo>
                  <a:cubicBezTo>
                    <a:pt x="4042" y="12380"/>
                    <a:pt x="4053" y="12389"/>
                    <a:pt x="4063" y="12396"/>
                  </a:cubicBezTo>
                  <a:cubicBezTo>
                    <a:pt x="4074" y="12404"/>
                    <a:pt x="4082" y="12410"/>
                    <a:pt x="4089" y="12415"/>
                  </a:cubicBezTo>
                  <a:cubicBezTo>
                    <a:pt x="4094" y="12418"/>
                    <a:pt x="4097" y="12421"/>
                    <a:pt x="4099" y="12422"/>
                  </a:cubicBezTo>
                  <a:cubicBezTo>
                    <a:pt x="4097" y="12422"/>
                    <a:pt x="4094" y="12421"/>
                    <a:pt x="4089" y="12419"/>
                  </a:cubicBezTo>
                  <a:cubicBezTo>
                    <a:pt x="4083" y="12417"/>
                    <a:pt x="4075" y="12415"/>
                    <a:pt x="4065" y="12412"/>
                  </a:cubicBezTo>
                  <a:cubicBezTo>
                    <a:pt x="4055" y="12409"/>
                    <a:pt x="4043" y="12406"/>
                    <a:pt x="4030" y="12403"/>
                  </a:cubicBezTo>
                  <a:cubicBezTo>
                    <a:pt x="4016" y="12399"/>
                    <a:pt x="4001" y="12395"/>
                    <a:pt x="3986" y="12391"/>
                  </a:cubicBezTo>
                  <a:lnTo>
                    <a:pt x="3716" y="12326"/>
                  </a:lnTo>
                  <a:lnTo>
                    <a:pt x="3690" y="12379"/>
                  </a:lnTo>
                  <a:lnTo>
                    <a:pt x="3899" y="12546"/>
                  </a:lnTo>
                  <a:cubicBezTo>
                    <a:pt x="3909" y="12554"/>
                    <a:pt x="3919" y="12562"/>
                    <a:pt x="3931" y="12571"/>
                  </a:cubicBezTo>
                  <a:cubicBezTo>
                    <a:pt x="3943" y="12580"/>
                    <a:pt x="3953" y="12588"/>
                    <a:pt x="3963" y="12596"/>
                  </a:cubicBezTo>
                  <a:cubicBezTo>
                    <a:pt x="3973" y="12603"/>
                    <a:pt x="3982" y="12610"/>
                    <a:pt x="3989" y="12615"/>
                  </a:cubicBezTo>
                  <a:cubicBezTo>
                    <a:pt x="3996" y="12620"/>
                    <a:pt x="4000" y="12623"/>
                    <a:pt x="4001" y="12624"/>
                  </a:cubicBezTo>
                  <a:cubicBezTo>
                    <a:pt x="3999" y="12623"/>
                    <a:pt x="3994" y="12622"/>
                    <a:pt x="3985" y="12619"/>
                  </a:cubicBezTo>
                  <a:cubicBezTo>
                    <a:pt x="3977" y="12616"/>
                    <a:pt x="3966" y="12613"/>
                    <a:pt x="3954" y="12609"/>
                  </a:cubicBezTo>
                  <a:cubicBezTo>
                    <a:pt x="3942" y="12605"/>
                    <a:pt x="3928" y="12602"/>
                    <a:pt x="3914" y="12597"/>
                  </a:cubicBezTo>
                  <a:cubicBezTo>
                    <a:pt x="3899" y="12593"/>
                    <a:pt x="3885" y="12590"/>
                    <a:pt x="3872" y="12586"/>
                  </a:cubicBezTo>
                  <a:lnTo>
                    <a:pt x="3619" y="12524"/>
                  </a:lnTo>
                  <a:lnTo>
                    <a:pt x="3594" y="12574"/>
                  </a:lnTo>
                  <a:lnTo>
                    <a:pt x="4031" y="12674"/>
                  </a:lnTo>
                  <a:lnTo>
                    <a:pt x="4060" y="12613"/>
                  </a:lnTo>
                  <a:lnTo>
                    <a:pt x="3863" y="12457"/>
                  </a:lnTo>
                  <a:cubicBezTo>
                    <a:pt x="3852" y="12448"/>
                    <a:pt x="3840" y="12439"/>
                    <a:pt x="3829" y="12431"/>
                  </a:cubicBezTo>
                  <a:cubicBezTo>
                    <a:pt x="3818" y="12422"/>
                    <a:pt x="3808" y="12415"/>
                    <a:pt x="3799" y="12408"/>
                  </a:cubicBezTo>
                  <a:cubicBezTo>
                    <a:pt x="3790" y="12401"/>
                    <a:pt x="3782" y="12396"/>
                    <a:pt x="3777" y="12392"/>
                  </a:cubicBezTo>
                  <a:cubicBezTo>
                    <a:pt x="3771" y="12388"/>
                    <a:pt x="3768" y="12386"/>
                    <a:pt x="3767" y="12385"/>
                  </a:cubicBezTo>
                  <a:cubicBezTo>
                    <a:pt x="3768" y="12385"/>
                    <a:pt x="3772" y="12387"/>
                    <a:pt x="3779" y="12389"/>
                  </a:cubicBezTo>
                  <a:cubicBezTo>
                    <a:pt x="3786" y="12391"/>
                    <a:pt x="3795" y="12393"/>
                    <a:pt x="3805" y="12396"/>
                  </a:cubicBezTo>
                  <a:cubicBezTo>
                    <a:pt x="3816" y="12399"/>
                    <a:pt x="3828" y="12403"/>
                    <a:pt x="3842" y="12406"/>
                  </a:cubicBezTo>
                  <a:cubicBezTo>
                    <a:pt x="3856" y="12410"/>
                    <a:pt x="3871" y="12414"/>
                    <a:pt x="3887" y="12418"/>
                  </a:cubicBezTo>
                  <a:lnTo>
                    <a:pt x="4128" y="12477"/>
                  </a:lnTo>
                  <a:lnTo>
                    <a:pt x="4158" y="12416"/>
                  </a:lnTo>
                  <a:lnTo>
                    <a:pt x="3811" y="12134"/>
                  </a:lnTo>
                  <a:close/>
                  <a:moveTo>
                    <a:pt x="4263" y="12202"/>
                  </a:moveTo>
                  <a:lnTo>
                    <a:pt x="3872" y="12010"/>
                  </a:lnTo>
                  <a:lnTo>
                    <a:pt x="3849" y="12055"/>
                  </a:lnTo>
                  <a:lnTo>
                    <a:pt x="4240" y="12248"/>
                  </a:lnTo>
                  <a:lnTo>
                    <a:pt x="4263" y="12202"/>
                  </a:lnTo>
                  <a:close/>
                  <a:moveTo>
                    <a:pt x="4379" y="11867"/>
                  </a:moveTo>
                  <a:lnTo>
                    <a:pt x="4303" y="12021"/>
                  </a:lnTo>
                  <a:lnTo>
                    <a:pt x="3951" y="11848"/>
                  </a:lnTo>
                  <a:lnTo>
                    <a:pt x="3928" y="11895"/>
                  </a:lnTo>
                  <a:lnTo>
                    <a:pt x="4319" y="12087"/>
                  </a:lnTo>
                  <a:lnTo>
                    <a:pt x="4415" y="11893"/>
                  </a:lnTo>
                  <a:lnTo>
                    <a:pt x="4379" y="11867"/>
                  </a:lnTo>
                  <a:close/>
                  <a:moveTo>
                    <a:pt x="4581" y="11554"/>
                  </a:moveTo>
                  <a:lnTo>
                    <a:pt x="4191" y="11362"/>
                  </a:lnTo>
                  <a:lnTo>
                    <a:pt x="4168" y="11408"/>
                  </a:lnTo>
                  <a:lnTo>
                    <a:pt x="4331" y="11489"/>
                  </a:lnTo>
                  <a:lnTo>
                    <a:pt x="4250" y="11654"/>
                  </a:lnTo>
                  <a:lnTo>
                    <a:pt x="4087" y="11573"/>
                  </a:lnTo>
                  <a:lnTo>
                    <a:pt x="4064" y="11619"/>
                  </a:lnTo>
                  <a:lnTo>
                    <a:pt x="4455" y="11811"/>
                  </a:lnTo>
                  <a:lnTo>
                    <a:pt x="4477" y="11765"/>
                  </a:lnTo>
                  <a:lnTo>
                    <a:pt x="4288" y="11672"/>
                  </a:lnTo>
                  <a:lnTo>
                    <a:pt x="4369" y="11508"/>
                  </a:lnTo>
                  <a:lnTo>
                    <a:pt x="4558" y="11601"/>
                  </a:lnTo>
                  <a:lnTo>
                    <a:pt x="4581" y="11554"/>
                  </a:lnTo>
                  <a:close/>
                  <a:moveTo>
                    <a:pt x="4746" y="11220"/>
                  </a:moveTo>
                  <a:lnTo>
                    <a:pt x="4705" y="11200"/>
                  </a:lnTo>
                  <a:lnTo>
                    <a:pt x="4621" y="11372"/>
                  </a:lnTo>
                  <a:lnTo>
                    <a:pt x="4478" y="11302"/>
                  </a:lnTo>
                  <a:lnTo>
                    <a:pt x="4544" y="11168"/>
                  </a:lnTo>
                  <a:lnTo>
                    <a:pt x="4503" y="11148"/>
                  </a:lnTo>
                  <a:lnTo>
                    <a:pt x="4437" y="11282"/>
                  </a:lnTo>
                  <a:lnTo>
                    <a:pt x="4309" y="11219"/>
                  </a:lnTo>
                  <a:lnTo>
                    <a:pt x="4388" y="11059"/>
                  </a:lnTo>
                  <a:lnTo>
                    <a:pt x="4352" y="11034"/>
                  </a:lnTo>
                  <a:lnTo>
                    <a:pt x="4247" y="11247"/>
                  </a:lnTo>
                  <a:lnTo>
                    <a:pt x="4638" y="11440"/>
                  </a:lnTo>
                  <a:lnTo>
                    <a:pt x="4746" y="11220"/>
                  </a:lnTo>
                  <a:close/>
                  <a:moveTo>
                    <a:pt x="4846" y="10917"/>
                  </a:moveTo>
                  <a:lnTo>
                    <a:pt x="4770" y="11071"/>
                  </a:lnTo>
                  <a:lnTo>
                    <a:pt x="4419" y="10899"/>
                  </a:lnTo>
                  <a:lnTo>
                    <a:pt x="4396" y="10945"/>
                  </a:lnTo>
                  <a:lnTo>
                    <a:pt x="4786" y="11138"/>
                  </a:lnTo>
                  <a:lnTo>
                    <a:pt x="4882" y="10943"/>
                  </a:lnTo>
                  <a:lnTo>
                    <a:pt x="4846" y="10917"/>
                  </a:lnTo>
                  <a:close/>
                  <a:moveTo>
                    <a:pt x="5105" y="10490"/>
                  </a:moveTo>
                  <a:lnTo>
                    <a:pt x="4698" y="10331"/>
                  </a:lnTo>
                  <a:lnTo>
                    <a:pt x="4664" y="10400"/>
                  </a:lnTo>
                  <a:lnTo>
                    <a:pt x="4887" y="10601"/>
                  </a:lnTo>
                  <a:cubicBezTo>
                    <a:pt x="4901" y="10613"/>
                    <a:pt x="4913" y="10624"/>
                    <a:pt x="4925" y="10632"/>
                  </a:cubicBezTo>
                  <a:cubicBezTo>
                    <a:pt x="4936" y="10641"/>
                    <a:pt x="4942" y="10646"/>
                    <a:pt x="4944" y="10647"/>
                  </a:cubicBezTo>
                  <a:cubicBezTo>
                    <a:pt x="4942" y="10646"/>
                    <a:pt x="4934" y="10644"/>
                    <a:pt x="4920" y="10640"/>
                  </a:cubicBezTo>
                  <a:cubicBezTo>
                    <a:pt x="4906" y="10637"/>
                    <a:pt x="4889" y="10633"/>
                    <a:pt x="4868" y="10629"/>
                  </a:cubicBezTo>
                  <a:lnTo>
                    <a:pt x="4578" y="10574"/>
                  </a:lnTo>
                  <a:lnTo>
                    <a:pt x="4544" y="10643"/>
                  </a:lnTo>
                  <a:lnTo>
                    <a:pt x="4918" y="10869"/>
                  </a:lnTo>
                  <a:lnTo>
                    <a:pt x="4941" y="10824"/>
                  </a:lnTo>
                  <a:lnTo>
                    <a:pt x="4673" y="10666"/>
                  </a:lnTo>
                  <a:cubicBezTo>
                    <a:pt x="4668" y="10663"/>
                    <a:pt x="4661" y="10659"/>
                    <a:pt x="4654" y="10654"/>
                  </a:cubicBezTo>
                  <a:cubicBezTo>
                    <a:pt x="4646" y="10650"/>
                    <a:pt x="4639" y="10646"/>
                    <a:pt x="4631" y="10642"/>
                  </a:cubicBezTo>
                  <a:cubicBezTo>
                    <a:pt x="4624" y="10638"/>
                    <a:pt x="4617" y="10634"/>
                    <a:pt x="4612" y="10631"/>
                  </a:cubicBezTo>
                  <a:cubicBezTo>
                    <a:pt x="4607" y="10628"/>
                    <a:pt x="4604" y="10626"/>
                    <a:pt x="4602" y="10625"/>
                  </a:cubicBezTo>
                  <a:cubicBezTo>
                    <a:pt x="4607" y="10627"/>
                    <a:pt x="4616" y="10629"/>
                    <a:pt x="4630" y="10631"/>
                  </a:cubicBezTo>
                  <a:cubicBezTo>
                    <a:pt x="4645" y="10634"/>
                    <a:pt x="4664" y="10638"/>
                    <a:pt x="4686" y="10642"/>
                  </a:cubicBezTo>
                  <a:lnTo>
                    <a:pt x="5001" y="10701"/>
                  </a:lnTo>
                  <a:lnTo>
                    <a:pt x="5021" y="10661"/>
                  </a:lnTo>
                  <a:lnTo>
                    <a:pt x="4770" y="10434"/>
                  </a:lnTo>
                  <a:cubicBezTo>
                    <a:pt x="4765" y="10430"/>
                    <a:pt x="4759" y="10425"/>
                    <a:pt x="4754" y="10420"/>
                  </a:cubicBezTo>
                  <a:cubicBezTo>
                    <a:pt x="4748" y="10415"/>
                    <a:pt x="4742" y="10410"/>
                    <a:pt x="4737" y="10406"/>
                  </a:cubicBezTo>
                  <a:cubicBezTo>
                    <a:pt x="4731" y="10401"/>
                    <a:pt x="4727" y="10397"/>
                    <a:pt x="4723" y="10394"/>
                  </a:cubicBezTo>
                  <a:cubicBezTo>
                    <a:pt x="4720" y="10391"/>
                    <a:pt x="4717" y="10389"/>
                    <a:pt x="4717" y="10389"/>
                  </a:cubicBezTo>
                  <a:cubicBezTo>
                    <a:pt x="4718" y="10389"/>
                    <a:pt x="4720" y="10390"/>
                    <a:pt x="4725" y="10392"/>
                  </a:cubicBezTo>
                  <a:cubicBezTo>
                    <a:pt x="4730" y="10394"/>
                    <a:pt x="4735" y="10397"/>
                    <a:pt x="4742" y="10400"/>
                  </a:cubicBezTo>
                  <a:cubicBezTo>
                    <a:pt x="4749" y="10403"/>
                    <a:pt x="4756" y="10406"/>
                    <a:pt x="4764" y="10410"/>
                  </a:cubicBezTo>
                  <a:cubicBezTo>
                    <a:pt x="4771" y="10413"/>
                    <a:pt x="4778" y="10416"/>
                    <a:pt x="4784" y="10418"/>
                  </a:cubicBezTo>
                  <a:lnTo>
                    <a:pt x="5082" y="10537"/>
                  </a:lnTo>
                  <a:lnTo>
                    <a:pt x="5105" y="10490"/>
                  </a:lnTo>
                  <a:close/>
                  <a:moveTo>
                    <a:pt x="5125" y="10078"/>
                  </a:moveTo>
                  <a:cubicBezTo>
                    <a:pt x="5110" y="10077"/>
                    <a:pt x="5096" y="10077"/>
                    <a:pt x="5083" y="10081"/>
                  </a:cubicBezTo>
                  <a:cubicBezTo>
                    <a:pt x="5070" y="10084"/>
                    <a:pt x="5058" y="10090"/>
                    <a:pt x="5047" y="10097"/>
                  </a:cubicBezTo>
                  <a:cubicBezTo>
                    <a:pt x="5037" y="10105"/>
                    <a:pt x="5024" y="10116"/>
                    <a:pt x="5010" y="10131"/>
                  </a:cubicBezTo>
                  <a:lnTo>
                    <a:pt x="4974" y="10169"/>
                  </a:lnTo>
                  <a:cubicBezTo>
                    <a:pt x="4955" y="10188"/>
                    <a:pt x="4938" y="10200"/>
                    <a:pt x="4924" y="10206"/>
                  </a:cubicBezTo>
                  <a:cubicBezTo>
                    <a:pt x="4909" y="10211"/>
                    <a:pt x="4894" y="10210"/>
                    <a:pt x="4878" y="10202"/>
                  </a:cubicBezTo>
                  <a:cubicBezTo>
                    <a:pt x="4858" y="10192"/>
                    <a:pt x="4845" y="10178"/>
                    <a:pt x="4841" y="10158"/>
                  </a:cubicBezTo>
                  <a:cubicBezTo>
                    <a:pt x="4836" y="10139"/>
                    <a:pt x="4840" y="10117"/>
                    <a:pt x="4852" y="10092"/>
                  </a:cubicBezTo>
                  <a:cubicBezTo>
                    <a:pt x="4856" y="10084"/>
                    <a:pt x="4861" y="10076"/>
                    <a:pt x="4865" y="10070"/>
                  </a:cubicBezTo>
                  <a:cubicBezTo>
                    <a:pt x="4870" y="10063"/>
                    <a:pt x="4876" y="10056"/>
                    <a:pt x="4882" y="10050"/>
                  </a:cubicBezTo>
                  <a:cubicBezTo>
                    <a:pt x="4888" y="10044"/>
                    <a:pt x="4896" y="10038"/>
                    <a:pt x="4904" y="10032"/>
                  </a:cubicBezTo>
                  <a:cubicBezTo>
                    <a:pt x="4912" y="10026"/>
                    <a:pt x="4921" y="10020"/>
                    <a:pt x="4932" y="10014"/>
                  </a:cubicBezTo>
                  <a:lnTo>
                    <a:pt x="4908" y="9976"/>
                  </a:lnTo>
                  <a:cubicBezTo>
                    <a:pt x="4865" y="10001"/>
                    <a:pt x="4833" y="10035"/>
                    <a:pt x="4813" y="10076"/>
                  </a:cubicBezTo>
                  <a:cubicBezTo>
                    <a:pt x="4803" y="10095"/>
                    <a:pt x="4798" y="10114"/>
                    <a:pt x="4795" y="10132"/>
                  </a:cubicBezTo>
                  <a:cubicBezTo>
                    <a:pt x="4793" y="10150"/>
                    <a:pt x="4794" y="10167"/>
                    <a:pt x="4799" y="10183"/>
                  </a:cubicBezTo>
                  <a:cubicBezTo>
                    <a:pt x="4803" y="10199"/>
                    <a:pt x="4811" y="10213"/>
                    <a:pt x="4822" y="10226"/>
                  </a:cubicBezTo>
                  <a:cubicBezTo>
                    <a:pt x="4832" y="10239"/>
                    <a:pt x="4846" y="10249"/>
                    <a:pt x="4863" y="10258"/>
                  </a:cubicBezTo>
                  <a:cubicBezTo>
                    <a:pt x="4888" y="10270"/>
                    <a:pt x="4913" y="10272"/>
                    <a:pt x="4939" y="10265"/>
                  </a:cubicBezTo>
                  <a:cubicBezTo>
                    <a:pt x="4950" y="10261"/>
                    <a:pt x="4961" y="10255"/>
                    <a:pt x="4971" y="10247"/>
                  </a:cubicBezTo>
                  <a:cubicBezTo>
                    <a:pt x="4981" y="10239"/>
                    <a:pt x="4993" y="10227"/>
                    <a:pt x="5008" y="10212"/>
                  </a:cubicBezTo>
                  <a:lnTo>
                    <a:pt x="5039" y="10179"/>
                  </a:lnTo>
                  <a:cubicBezTo>
                    <a:pt x="5076" y="10139"/>
                    <a:pt x="5112" y="10127"/>
                    <a:pt x="5146" y="10144"/>
                  </a:cubicBezTo>
                  <a:cubicBezTo>
                    <a:pt x="5169" y="10156"/>
                    <a:pt x="5183" y="10174"/>
                    <a:pt x="5188" y="10200"/>
                  </a:cubicBezTo>
                  <a:cubicBezTo>
                    <a:pt x="5191" y="10211"/>
                    <a:pt x="5191" y="10222"/>
                    <a:pt x="5189" y="10233"/>
                  </a:cubicBezTo>
                  <a:cubicBezTo>
                    <a:pt x="5187" y="10243"/>
                    <a:pt x="5182" y="10256"/>
                    <a:pt x="5175" y="10270"/>
                  </a:cubicBezTo>
                  <a:cubicBezTo>
                    <a:pt x="5165" y="10290"/>
                    <a:pt x="5153" y="10307"/>
                    <a:pt x="5140" y="10321"/>
                  </a:cubicBezTo>
                  <a:cubicBezTo>
                    <a:pt x="5126" y="10336"/>
                    <a:pt x="5110" y="10348"/>
                    <a:pt x="5090" y="10359"/>
                  </a:cubicBezTo>
                  <a:lnTo>
                    <a:pt x="5116" y="10397"/>
                  </a:lnTo>
                  <a:cubicBezTo>
                    <a:pt x="5138" y="10384"/>
                    <a:pt x="5156" y="10368"/>
                    <a:pt x="5172" y="10351"/>
                  </a:cubicBezTo>
                  <a:cubicBezTo>
                    <a:pt x="5188" y="10333"/>
                    <a:pt x="5201" y="10313"/>
                    <a:pt x="5213" y="10289"/>
                  </a:cubicBezTo>
                  <a:cubicBezTo>
                    <a:pt x="5222" y="10271"/>
                    <a:pt x="5228" y="10254"/>
                    <a:pt x="5231" y="10239"/>
                  </a:cubicBezTo>
                  <a:cubicBezTo>
                    <a:pt x="5234" y="10223"/>
                    <a:pt x="5234" y="10207"/>
                    <a:pt x="5232" y="10190"/>
                  </a:cubicBezTo>
                  <a:cubicBezTo>
                    <a:pt x="5230" y="10167"/>
                    <a:pt x="5223" y="10147"/>
                    <a:pt x="5211" y="10129"/>
                  </a:cubicBezTo>
                  <a:cubicBezTo>
                    <a:pt x="5198" y="10112"/>
                    <a:pt x="5183" y="10098"/>
                    <a:pt x="5165" y="10089"/>
                  </a:cubicBezTo>
                  <a:cubicBezTo>
                    <a:pt x="5153" y="10083"/>
                    <a:pt x="5139" y="10080"/>
                    <a:pt x="5125" y="10078"/>
                  </a:cubicBezTo>
                  <a:close/>
                  <a:moveTo>
                    <a:pt x="5239" y="9888"/>
                  </a:moveTo>
                  <a:lnTo>
                    <a:pt x="5196" y="9867"/>
                  </a:lnTo>
                  <a:lnTo>
                    <a:pt x="5142" y="9976"/>
                  </a:lnTo>
                  <a:lnTo>
                    <a:pt x="5186" y="9997"/>
                  </a:lnTo>
                  <a:lnTo>
                    <a:pt x="5239" y="9888"/>
                  </a:lnTo>
                  <a:close/>
                  <a:moveTo>
                    <a:pt x="5156" y="9401"/>
                  </a:moveTo>
                  <a:lnTo>
                    <a:pt x="5133" y="9447"/>
                  </a:lnTo>
                  <a:lnTo>
                    <a:pt x="5405" y="9581"/>
                  </a:lnTo>
                  <a:cubicBezTo>
                    <a:pt x="5419" y="9587"/>
                    <a:pt x="5429" y="9594"/>
                    <a:pt x="5438" y="9600"/>
                  </a:cubicBezTo>
                  <a:cubicBezTo>
                    <a:pt x="5446" y="9606"/>
                    <a:pt x="5453" y="9615"/>
                    <a:pt x="5459" y="9626"/>
                  </a:cubicBezTo>
                  <a:cubicBezTo>
                    <a:pt x="5464" y="9636"/>
                    <a:pt x="5466" y="9648"/>
                    <a:pt x="5464" y="9661"/>
                  </a:cubicBezTo>
                  <a:cubicBezTo>
                    <a:pt x="5462" y="9675"/>
                    <a:pt x="5458" y="9690"/>
                    <a:pt x="5449" y="9707"/>
                  </a:cubicBezTo>
                  <a:cubicBezTo>
                    <a:pt x="5443" y="9719"/>
                    <a:pt x="5437" y="9729"/>
                    <a:pt x="5431" y="9736"/>
                  </a:cubicBezTo>
                  <a:cubicBezTo>
                    <a:pt x="5424" y="9744"/>
                    <a:pt x="5417" y="9750"/>
                    <a:pt x="5411" y="9754"/>
                  </a:cubicBezTo>
                  <a:cubicBezTo>
                    <a:pt x="5404" y="9758"/>
                    <a:pt x="5397" y="9761"/>
                    <a:pt x="5391" y="9762"/>
                  </a:cubicBezTo>
                  <a:cubicBezTo>
                    <a:pt x="5385" y="9764"/>
                    <a:pt x="5379" y="9764"/>
                    <a:pt x="5374" y="9764"/>
                  </a:cubicBezTo>
                  <a:cubicBezTo>
                    <a:pt x="5366" y="9764"/>
                    <a:pt x="5357" y="9762"/>
                    <a:pt x="5346" y="9757"/>
                  </a:cubicBezTo>
                  <a:cubicBezTo>
                    <a:pt x="5334" y="9753"/>
                    <a:pt x="5324" y="9748"/>
                    <a:pt x="5314" y="9743"/>
                  </a:cubicBezTo>
                  <a:lnTo>
                    <a:pt x="5051" y="9614"/>
                  </a:lnTo>
                  <a:lnTo>
                    <a:pt x="5028" y="9660"/>
                  </a:lnTo>
                  <a:lnTo>
                    <a:pt x="5308" y="9798"/>
                  </a:lnTo>
                  <a:cubicBezTo>
                    <a:pt x="5317" y="9802"/>
                    <a:pt x="5327" y="9806"/>
                    <a:pt x="5339" y="9811"/>
                  </a:cubicBezTo>
                  <a:cubicBezTo>
                    <a:pt x="5351" y="9815"/>
                    <a:pt x="5363" y="9817"/>
                    <a:pt x="5375" y="9816"/>
                  </a:cubicBezTo>
                  <a:cubicBezTo>
                    <a:pt x="5400" y="9815"/>
                    <a:pt x="5421" y="9808"/>
                    <a:pt x="5439" y="9794"/>
                  </a:cubicBezTo>
                  <a:cubicBezTo>
                    <a:pt x="5457" y="9781"/>
                    <a:pt x="5473" y="9759"/>
                    <a:pt x="5488" y="9729"/>
                  </a:cubicBezTo>
                  <a:cubicBezTo>
                    <a:pt x="5500" y="9705"/>
                    <a:pt x="5507" y="9683"/>
                    <a:pt x="5510" y="9665"/>
                  </a:cubicBezTo>
                  <a:cubicBezTo>
                    <a:pt x="5513" y="9646"/>
                    <a:pt x="5513" y="9628"/>
                    <a:pt x="5508" y="9611"/>
                  </a:cubicBezTo>
                  <a:cubicBezTo>
                    <a:pt x="5504" y="9595"/>
                    <a:pt x="5497" y="9581"/>
                    <a:pt x="5486" y="9571"/>
                  </a:cubicBezTo>
                  <a:cubicBezTo>
                    <a:pt x="5475" y="9560"/>
                    <a:pt x="5457" y="9549"/>
                    <a:pt x="5434" y="9538"/>
                  </a:cubicBezTo>
                  <a:lnTo>
                    <a:pt x="5156" y="9401"/>
                  </a:lnTo>
                  <a:close/>
                  <a:moveTo>
                    <a:pt x="5730" y="9220"/>
                  </a:moveTo>
                  <a:lnTo>
                    <a:pt x="5339" y="9028"/>
                  </a:lnTo>
                  <a:lnTo>
                    <a:pt x="5316" y="9074"/>
                  </a:lnTo>
                  <a:lnTo>
                    <a:pt x="5530" y="9177"/>
                  </a:lnTo>
                  <a:cubicBezTo>
                    <a:pt x="5544" y="9184"/>
                    <a:pt x="5558" y="9191"/>
                    <a:pt x="5572" y="9197"/>
                  </a:cubicBezTo>
                  <a:cubicBezTo>
                    <a:pt x="5586" y="9203"/>
                    <a:pt x="5599" y="9209"/>
                    <a:pt x="5611" y="9214"/>
                  </a:cubicBezTo>
                  <a:cubicBezTo>
                    <a:pt x="5622" y="9219"/>
                    <a:pt x="5632" y="9223"/>
                    <a:pt x="5639" y="9226"/>
                  </a:cubicBezTo>
                  <a:cubicBezTo>
                    <a:pt x="5647" y="9229"/>
                    <a:pt x="5651" y="9230"/>
                    <a:pt x="5651" y="9231"/>
                  </a:cubicBezTo>
                  <a:cubicBezTo>
                    <a:pt x="5650" y="9230"/>
                    <a:pt x="5646" y="9230"/>
                    <a:pt x="5640" y="9230"/>
                  </a:cubicBezTo>
                  <a:cubicBezTo>
                    <a:pt x="5634" y="9229"/>
                    <a:pt x="5626" y="9229"/>
                    <a:pt x="5617" y="9228"/>
                  </a:cubicBezTo>
                  <a:cubicBezTo>
                    <a:pt x="5608" y="9228"/>
                    <a:pt x="5597" y="9227"/>
                    <a:pt x="5586" y="9227"/>
                  </a:cubicBezTo>
                  <a:cubicBezTo>
                    <a:pt x="5574" y="9226"/>
                    <a:pt x="5563" y="9226"/>
                    <a:pt x="5551" y="9227"/>
                  </a:cubicBezTo>
                  <a:lnTo>
                    <a:pt x="5238" y="9234"/>
                  </a:lnTo>
                  <a:lnTo>
                    <a:pt x="5211" y="9288"/>
                  </a:lnTo>
                  <a:lnTo>
                    <a:pt x="5602" y="9480"/>
                  </a:lnTo>
                  <a:lnTo>
                    <a:pt x="5626" y="9432"/>
                  </a:lnTo>
                  <a:lnTo>
                    <a:pt x="5398" y="9323"/>
                  </a:lnTo>
                  <a:cubicBezTo>
                    <a:pt x="5386" y="9317"/>
                    <a:pt x="5375" y="9312"/>
                    <a:pt x="5363" y="9307"/>
                  </a:cubicBezTo>
                  <a:cubicBezTo>
                    <a:pt x="5352" y="9302"/>
                    <a:pt x="5341" y="9297"/>
                    <a:pt x="5331" y="9293"/>
                  </a:cubicBezTo>
                  <a:cubicBezTo>
                    <a:pt x="5321" y="9289"/>
                    <a:pt x="5312" y="9285"/>
                    <a:pt x="5305" y="9282"/>
                  </a:cubicBezTo>
                  <a:cubicBezTo>
                    <a:pt x="5298" y="9279"/>
                    <a:pt x="5293" y="9277"/>
                    <a:pt x="5289" y="9275"/>
                  </a:cubicBezTo>
                  <a:cubicBezTo>
                    <a:pt x="5293" y="9276"/>
                    <a:pt x="5299" y="9276"/>
                    <a:pt x="5306" y="9277"/>
                  </a:cubicBezTo>
                  <a:cubicBezTo>
                    <a:pt x="5314" y="9277"/>
                    <a:pt x="5323" y="9277"/>
                    <a:pt x="5333" y="9277"/>
                  </a:cubicBezTo>
                  <a:cubicBezTo>
                    <a:pt x="5343" y="9277"/>
                    <a:pt x="5354" y="9277"/>
                    <a:pt x="5366" y="9278"/>
                  </a:cubicBezTo>
                  <a:cubicBezTo>
                    <a:pt x="5378" y="9278"/>
                    <a:pt x="5391" y="9278"/>
                    <a:pt x="5405" y="9277"/>
                  </a:cubicBezTo>
                  <a:lnTo>
                    <a:pt x="5706" y="9269"/>
                  </a:lnTo>
                  <a:lnTo>
                    <a:pt x="5730" y="9220"/>
                  </a:lnTo>
                  <a:close/>
                  <a:moveTo>
                    <a:pt x="5808" y="9060"/>
                  </a:moveTo>
                  <a:lnTo>
                    <a:pt x="5418" y="8868"/>
                  </a:lnTo>
                  <a:lnTo>
                    <a:pt x="5395" y="8914"/>
                  </a:lnTo>
                  <a:lnTo>
                    <a:pt x="5786" y="9106"/>
                  </a:lnTo>
                  <a:lnTo>
                    <a:pt x="5808" y="9060"/>
                  </a:lnTo>
                  <a:close/>
                  <a:moveTo>
                    <a:pt x="5608" y="8481"/>
                  </a:moveTo>
                  <a:lnTo>
                    <a:pt x="5585" y="8529"/>
                  </a:lnTo>
                  <a:lnTo>
                    <a:pt x="5801" y="8739"/>
                  </a:lnTo>
                  <a:cubicBezTo>
                    <a:pt x="5819" y="8757"/>
                    <a:pt x="5834" y="8771"/>
                    <a:pt x="5846" y="8782"/>
                  </a:cubicBezTo>
                  <a:cubicBezTo>
                    <a:pt x="5858" y="8792"/>
                    <a:pt x="5866" y="8800"/>
                    <a:pt x="5871" y="8803"/>
                  </a:cubicBezTo>
                  <a:cubicBezTo>
                    <a:pt x="5868" y="8802"/>
                    <a:pt x="5863" y="8801"/>
                    <a:pt x="5856" y="8799"/>
                  </a:cubicBezTo>
                  <a:cubicBezTo>
                    <a:pt x="5849" y="8797"/>
                    <a:pt x="5841" y="8796"/>
                    <a:pt x="5832" y="8794"/>
                  </a:cubicBezTo>
                  <a:cubicBezTo>
                    <a:pt x="5823" y="8792"/>
                    <a:pt x="5813" y="8790"/>
                    <a:pt x="5803" y="8788"/>
                  </a:cubicBezTo>
                  <a:cubicBezTo>
                    <a:pt x="5792" y="8786"/>
                    <a:pt x="5782" y="8785"/>
                    <a:pt x="5772" y="8783"/>
                  </a:cubicBezTo>
                  <a:lnTo>
                    <a:pt x="5480" y="8742"/>
                  </a:lnTo>
                  <a:lnTo>
                    <a:pt x="5455" y="8793"/>
                  </a:lnTo>
                  <a:lnTo>
                    <a:pt x="5910" y="8853"/>
                  </a:lnTo>
                  <a:lnTo>
                    <a:pt x="5933" y="8807"/>
                  </a:lnTo>
                  <a:lnTo>
                    <a:pt x="5608" y="8481"/>
                  </a:lnTo>
                  <a:close/>
                  <a:moveTo>
                    <a:pt x="6144" y="8378"/>
                  </a:moveTo>
                  <a:lnTo>
                    <a:pt x="6104" y="8358"/>
                  </a:lnTo>
                  <a:lnTo>
                    <a:pt x="6019" y="8530"/>
                  </a:lnTo>
                  <a:lnTo>
                    <a:pt x="5876" y="8460"/>
                  </a:lnTo>
                  <a:lnTo>
                    <a:pt x="5942" y="8326"/>
                  </a:lnTo>
                  <a:lnTo>
                    <a:pt x="5901" y="8306"/>
                  </a:lnTo>
                  <a:lnTo>
                    <a:pt x="5836" y="8440"/>
                  </a:lnTo>
                  <a:lnTo>
                    <a:pt x="5707" y="8377"/>
                  </a:lnTo>
                  <a:lnTo>
                    <a:pt x="5786" y="8217"/>
                  </a:lnTo>
                  <a:lnTo>
                    <a:pt x="5751" y="8192"/>
                  </a:lnTo>
                  <a:lnTo>
                    <a:pt x="5645" y="8405"/>
                  </a:lnTo>
                  <a:lnTo>
                    <a:pt x="6036" y="8598"/>
                  </a:lnTo>
                  <a:lnTo>
                    <a:pt x="6144" y="8378"/>
                  </a:lnTo>
                  <a:close/>
                  <a:moveTo>
                    <a:pt x="6307" y="8047"/>
                  </a:moveTo>
                  <a:lnTo>
                    <a:pt x="6271" y="8052"/>
                  </a:lnTo>
                  <a:cubicBezTo>
                    <a:pt x="6254" y="8054"/>
                    <a:pt x="6236" y="8057"/>
                    <a:pt x="6218" y="8059"/>
                  </a:cubicBezTo>
                  <a:cubicBezTo>
                    <a:pt x="6199" y="8062"/>
                    <a:pt x="6181" y="8064"/>
                    <a:pt x="6165" y="8066"/>
                  </a:cubicBezTo>
                  <a:cubicBezTo>
                    <a:pt x="6148" y="8069"/>
                    <a:pt x="6137" y="8071"/>
                    <a:pt x="6130" y="8072"/>
                  </a:cubicBezTo>
                  <a:cubicBezTo>
                    <a:pt x="6120" y="8074"/>
                    <a:pt x="6109" y="8076"/>
                    <a:pt x="6097" y="8079"/>
                  </a:cubicBezTo>
                  <a:cubicBezTo>
                    <a:pt x="6086" y="8082"/>
                    <a:pt x="6075" y="8086"/>
                    <a:pt x="6067" y="8090"/>
                  </a:cubicBezTo>
                  <a:lnTo>
                    <a:pt x="6070" y="8084"/>
                  </a:lnTo>
                  <a:cubicBezTo>
                    <a:pt x="6077" y="8068"/>
                    <a:pt x="6082" y="8053"/>
                    <a:pt x="6083" y="8038"/>
                  </a:cubicBezTo>
                  <a:cubicBezTo>
                    <a:pt x="6084" y="8022"/>
                    <a:pt x="6082" y="8008"/>
                    <a:pt x="6077" y="7994"/>
                  </a:cubicBezTo>
                  <a:cubicBezTo>
                    <a:pt x="6072" y="7981"/>
                    <a:pt x="6065" y="7968"/>
                    <a:pt x="6054" y="7956"/>
                  </a:cubicBezTo>
                  <a:cubicBezTo>
                    <a:pt x="6043" y="7945"/>
                    <a:pt x="6029" y="7935"/>
                    <a:pt x="6014" y="7927"/>
                  </a:cubicBezTo>
                  <a:cubicBezTo>
                    <a:pt x="6003" y="7922"/>
                    <a:pt x="5993" y="7919"/>
                    <a:pt x="5984" y="7917"/>
                  </a:cubicBezTo>
                  <a:cubicBezTo>
                    <a:pt x="5974" y="7916"/>
                    <a:pt x="5965" y="7915"/>
                    <a:pt x="5956" y="7915"/>
                  </a:cubicBezTo>
                  <a:cubicBezTo>
                    <a:pt x="5947" y="7915"/>
                    <a:pt x="5939" y="7916"/>
                    <a:pt x="5932" y="7918"/>
                  </a:cubicBezTo>
                  <a:cubicBezTo>
                    <a:pt x="5925" y="7921"/>
                    <a:pt x="5918" y="7923"/>
                    <a:pt x="5912" y="7926"/>
                  </a:cubicBezTo>
                  <a:cubicBezTo>
                    <a:pt x="5906" y="7929"/>
                    <a:pt x="5900" y="7932"/>
                    <a:pt x="5894" y="7936"/>
                  </a:cubicBezTo>
                  <a:cubicBezTo>
                    <a:pt x="5889" y="7941"/>
                    <a:pt x="5883" y="7946"/>
                    <a:pt x="5876" y="7953"/>
                  </a:cubicBezTo>
                  <a:cubicBezTo>
                    <a:pt x="5870" y="7960"/>
                    <a:pt x="5864" y="7968"/>
                    <a:pt x="5858" y="7978"/>
                  </a:cubicBezTo>
                  <a:cubicBezTo>
                    <a:pt x="5852" y="7987"/>
                    <a:pt x="5845" y="7999"/>
                    <a:pt x="5839" y="8012"/>
                  </a:cubicBezTo>
                  <a:lnTo>
                    <a:pt x="5794" y="8103"/>
                  </a:lnTo>
                  <a:lnTo>
                    <a:pt x="6185" y="8296"/>
                  </a:lnTo>
                  <a:lnTo>
                    <a:pt x="6207" y="8250"/>
                  </a:lnTo>
                  <a:lnTo>
                    <a:pt x="6031" y="8163"/>
                  </a:lnTo>
                  <a:cubicBezTo>
                    <a:pt x="6036" y="8153"/>
                    <a:pt x="6042" y="8146"/>
                    <a:pt x="6048" y="8142"/>
                  </a:cubicBezTo>
                  <a:cubicBezTo>
                    <a:pt x="6054" y="8137"/>
                    <a:pt x="6064" y="8134"/>
                    <a:pt x="6078" y="8131"/>
                  </a:cubicBezTo>
                  <a:cubicBezTo>
                    <a:pt x="6101" y="8126"/>
                    <a:pt x="6123" y="8122"/>
                    <a:pt x="6143" y="8119"/>
                  </a:cubicBezTo>
                  <a:cubicBezTo>
                    <a:pt x="6164" y="8115"/>
                    <a:pt x="6183" y="8113"/>
                    <a:pt x="6201" y="8110"/>
                  </a:cubicBezTo>
                  <a:cubicBezTo>
                    <a:pt x="6218" y="8108"/>
                    <a:pt x="6233" y="8107"/>
                    <a:pt x="6246" y="8106"/>
                  </a:cubicBezTo>
                  <a:cubicBezTo>
                    <a:pt x="6260" y="8106"/>
                    <a:pt x="6270" y="8106"/>
                    <a:pt x="6278" y="8106"/>
                  </a:cubicBezTo>
                  <a:lnTo>
                    <a:pt x="6307" y="8047"/>
                  </a:lnTo>
                  <a:close/>
                  <a:moveTo>
                    <a:pt x="6021" y="7998"/>
                  </a:moveTo>
                  <a:cubicBezTo>
                    <a:pt x="6029" y="8007"/>
                    <a:pt x="6035" y="8016"/>
                    <a:pt x="6038" y="8025"/>
                  </a:cubicBezTo>
                  <a:cubicBezTo>
                    <a:pt x="6041" y="8036"/>
                    <a:pt x="6041" y="8048"/>
                    <a:pt x="6039" y="8060"/>
                  </a:cubicBezTo>
                  <a:cubicBezTo>
                    <a:pt x="6037" y="8073"/>
                    <a:pt x="6031" y="8088"/>
                    <a:pt x="6023" y="8105"/>
                  </a:cubicBezTo>
                  <a:lnTo>
                    <a:pt x="6002" y="8149"/>
                  </a:lnTo>
                  <a:lnTo>
                    <a:pt x="5856" y="8077"/>
                  </a:lnTo>
                  <a:lnTo>
                    <a:pt x="5879" y="8030"/>
                  </a:lnTo>
                  <a:cubicBezTo>
                    <a:pt x="5884" y="8020"/>
                    <a:pt x="5889" y="8011"/>
                    <a:pt x="5894" y="8004"/>
                  </a:cubicBezTo>
                  <a:cubicBezTo>
                    <a:pt x="5899" y="7997"/>
                    <a:pt x="5905" y="7990"/>
                    <a:pt x="5911" y="7985"/>
                  </a:cubicBezTo>
                  <a:cubicBezTo>
                    <a:pt x="5921" y="7976"/>
                    <a:pt x="5933" y="7971"/>
                    <a:pt x="5948" y="7969"/>
                  </a:cubicBezTo>
                  <a:cubicBezTo>
                    <a:pt x="5962" y="7968"/>
                    <a:pt x="5976" y="7970"/>
                    <a:pt x="5989" y="7976"/>
                  </a:cubicBezTo>
                  <a:cubicBezTo>
                    <a:pt x="6002" y="7983"/>
                    <a:pt x="6012" y="7990"/>
                    <a:pt x="6021" y="7998"/>
                  </a:cubicBezTo>
                  <a:close/>
                  <a:moveTo>
                    <a:pt x="6318" y="7653"/>
                  </a:moveTo>
                  <a:cubicBezTo>
                    <a:pt x="6303" y="7652"/>
                    <a:pt x="6290" y="7653"/>
                    <a:pt x="6277" y="7656"/>
                  </a:cubicBezTo>
                  <a:cubicBezTo>
                    <a:pt x="6264" y="7660"/>
                    <a:pt x="6252" y="7665"/>
                    <a:pt x="6241" y="7672"/>
                  </a:cubicBezTo>
                  <a:cubicBezTo>
                    <a:pt x="6230" y="7680"/>
                    <a:pt x="6217" y="7691"/>
                    <a:pt x="6203" y="7706"/>
                  </a:cubicBezTo>
                  <a:lnTo>
                    <a:pt x="6167" y="7744"/>
                  </a:lnTo>
                  <a:cubicBezTo>
                    <a:pt x="6148" y="7763"/>
                    <a:pt x="6131" y="7776"/>
                    <a:pt x="6117" y="7781"/>
                  </a:cubicBezTo>
                  <a:cubicBezTo>
                    <a:pt x="6102" y="7786"/>
                    <a:pt x="6087" y="7785"/>
                    <a:pt x="6071" y="7777"/>
                  </a:cubicBezTo>
                  <a:cubicBezTo>
                    <a:pt x="6051" y="7767"/>
                    <a:pt x="6039" y="7753"/>
                    <a:pt x="6034" y="7734"/>
                  </a:cubicBezTo>
                  <a:cubicBezTo>
                    <a:pt x="6029" y="7714"/>
                    <a:pt x="6033" y="7692"/>
                    <a:pt x="6045" y="7668"/>
                  </a:cubicBezTo>
                  <a:cubicBezTo>
                    <a:pt x="6049" y="7659"/>
                    <a:pt x="6054" y="7652"/>
                    <a:pt x="6059" y="7645"/>
                  </a:cubicBezTo>
                  <a:cubicBezTo>
                    <a:pt x="6063" y="7638"/>
                    <a:pt x="6069" y="7631"/>
                    <a:pt x="6075" y="7625"/>
                  </a:cubicBezTo>
                  <a:cubicBezTo>
                    <a:pt x="6081" y="7619"/>
                    <a:pt x="6089" y="7613"/>
                    <a:pt x="6097" y="7607"/>
                  </a:cubicBezTo>
                  <a:cubicBezTo>
                    <a:pt x="6105" y="7601"/>
                    <a:pt x="6114" y="7595"/>
                    <a:pt x="6125" y="7589"/>
                  </a:cubicBezTo>
                  <a:lnTo>
                    <a:pt x="6102" y="7552"/>
                  </a:lnTo>
                  <a:cubicBezTo>
                    <a:pt x="6058" y="7577"/>
                    <a:pt x="6026" y="7610"/>
                    <a:pt x="6006" y="7651"/>
                  </a:cubicBezTo>
                  <a:cubicBezTo>
                    <a:pt x="5997" y="7670"/>
                    <a:pt x="5991" y="7689"/>
                    <a:pt x="5989" y="7707"/>
                  </a:cubicBezTo>
                  <a:cubicBezTo>
                    <a:pt x="5987" y="7725"/>
                    <a:pt x="5988" y="7742"/>
                    <a:pt x="5992" y="7758"/>
                  </a:cubicBezTo>
                  <a:cubicBezTo>
                    <a:pt x="5997" y="7774"/>
                    <a:pt x="6004" y="7788"/>
                    <a:pt x="6015" y="7801"/>
                  </a:cubicBezTo>
                  <a:cubicBezTo>
                    <a:pt x="6025" y="7814"/>
                    <a:pt x="6039" y="7825"/>
                    <a:pt x="6056" y="7833"/>
                  </a:cubicBezTo>
                  <a:cubicBezTo>
                    <a:pt x="6081" y="7845"/>
                    <a:pt x="6106" y="7847"/>
                    <a:pt x="6132" y="7840"/>
                  </a:cubicBezTo>
                  <a:cubicBezTo>
                    <a:pt x="6143" y="7836"/>
                    <a:pt x="6154" y="7830"/>
                    <a:pt x="6164" y="7822"/>
                  </a:cubicBezTo>
                  <a:cubicBezTo>
                    <a:pt x="6175" y="7814"/>
                    <a:pt x="6187" y="7803"/>
                    <a:pt x="6201" y="7787"/>
                  </a:cubicBezTo>
                  <a:lnTo>
                    <a:pt x="6232" y="7754"/>
                  </a:lnTo>
                  <a:cubicBezTo>
                    <a:pt x="6269" y="7714"/>
                    <a:pt x="6305" y="7703"/>
                    <a:pt x="6339" y="7720"/>
                  </a:cubicBezTo>
                  <a:cubicBezTo>
                    <a:pt x="6363" y="7731"/>
                    <a:pt x="6377" y="7750"/>
                    <a:pt x="6382" y="7775"/>
                  </a:cubicBezTo>
                  <a:cubicBezTo>
                    <a:pt x="6384" y="7787"/>
                    <a:pt x="6384" y="7797"/>
                    <a:pt x="6382" y="7808"/>
                  </a:cubicBezTo>
                  <a:cubicBezTo>
                    <a:pt x="6380" y="7818"/>
                    <a:pt x="6375" y="7831"/>
                    <a:pt x="6368" y="7846"/>
                  </a:cubicBezTo>
                  <a:cubicBezTo>
                    <a:pt x="6358" y="7865"/>
                    <a:pt x="6347" y="7882"/>
                    <a:pt x="6333" y="7897"/>
                  </a:cubicBezTo>
                  <a:cubicBezTo>
                    <a:pt x="6319" y="7911"/>
                    <a:pt x="6303" y="7923"/>
                    <a:pt x="6283" y="7934"/>
                  </a:cubicBezTo>
                  <a:lnTo>
                    <a:pt x="6309" y="7972"/>
                  </a:lnTo>
                  <a:cubicBezTo>
                    <a:pt x="6331" y="7959"/>
                    <a:pt x="6350" y="7943"/>
                    <a:pt x="6365" y="7926"/>
                  </a:cubicBezTo>
                  <a:cubicBezTo>
                    <a:pt x="6381" y="7908"/>
                    <a:pt x="6395" y="7888"/>
                    <a:pt x="6406" y="7864"/>
                  </a:cubicBezTo>
                  <a:cubicBezTo>
                    <a:pt x="6415" y="7846"/>
                    <a:pt x="6421" y="7829"/>
                    <a:pt x="6424" y="7814"/>
                  </a:cubicBezTo>
                  <a:cubicBezTo>
                    <a:pt x="6427" y="7798"/>
                    <a:pt x="6428" y="7782"/>
                    <a:pt x="6426" y="7765"/>
                  </a:cubicBezTo>
                  <a:cubicBezTo>
                    <a:pt x="6423" y="7742"/>
                    <a:pt x="6416" y="7722"/>
                    <a:pt x="6404" y="7704"/>
                  </a:cubicBezTo>
                  <a:cubicBezTo>
                    <a:pt x="6392" y="7687"/>
                    <a:pt x="6376" y="7673"/>
                    <a:pt x="6358" y="7664"/>
                  </a:cubicBezTo>
                  <a:cubicBezTo>
                    <a:pt x="6346" y="7658"/>
                    <a:pt x="6333" y="7655"/>
                    <a:pt x="6318" y="7653"/>
                  </a:cubicBezTo>
                  <a:close/>
                  <a:moveTo>
                    <a:pt x="6536" y="7583"/>
                  </a:moveTo>
                  <a:lnTo>
                    <a:pt x="6145" y="7390"/>
                  </a:lnTo>
                  <a:lnTo>
                    <a:pt x="6122" y="7436"/>
                  </a:lnTo>
                  <a:lnTo>
                    <a:pt x="6513" y="7628"/>
                  </a:lnTo>
                  <a:lnTo>
                    <a:pt x="6536" y="7583"/>
                  </a:lnTo>
                  <a:close/>
                  <a:moveTo>
                    <a:pt x="6311" y="7053"/>
                  </a:moveTo>
                  <a:lnTo>
                    <a:pt x="6183" y="7312"/>
                  </a:lnTo>
                  <a:lnTo>
                    <a:pt x="6223" y="7331"/>
                  </a:lnTo>
                  <a:lnTo>
                    <a:pt x="6274" y="7226"/>
                  </a:lnTo>
                  <a:lnTo>
                    <a:pt x="6626" y="7399"/>
                  </a:lnTo>
                  <a:lnTo>
                    <a:pt x="6648" y="7354"/>
                  </a:lnTo>
                  <a:lnTo>
                    <a:pt x="6296" y="7181"/>
                  </a:lnTo>
                  <a:lnTo>
                    <a:pt x="6349" y="7076"/>
                  </a:lnTo>
                  <a:lnTo>
                    <a:pt x="6311" y="7053"/>
                  </a:lnTo>
                  <a:close/>
                  <a:moveTo>
                    <a:pt x="6854" y="6937"/>
                  </a:moveTo>
                  <a:lnTo>
                    <a:pt x="6399" y="6874"/>
                  </a:lnTo>
                  <a:lnTo>
                    <a:pt x="6369" y="6935"/>
                  </a:lnTo>
                  <a:lnTo>
                    <a:pt x="6696" y="7257"/>
                  </a:lnTo>
                  <a:lnTo>
                    <a:pt x="6719" y="7210"/>
                  </a:lnTo>
                  <a:lnTo>
                    <a:pt x="6617" y="7113"/>
                  </a:lnTo>
                  <a:lnTo>
                    <a:pt x="6689" y="6968"/>
                  </a:lnTo>
                  <a:lnTo>
                    <a:pt x="6827" y="6990"/>
                  </a:lnTo>
                  <a:lnTo>
                    <a:pt x="6854" y="6937"/>
                  </a:lnTo>
                  <a:close/>
                  <a:moveTo>
                    <a:pt x="6645" y="6961"/>
                  </a:moveTo>
                  <a:lnTo>
                    <a:pt x="6585" y="7082"/>
                  </a:lnTo>
                  <a:lnTo>
                    <a:pt x="6424" y="6926"/>
                  </a:lnTo>
                  <a:lnTo>
                    <a:pt x="6645" y="6961"/>
                  </a:lnTo>
                  <a:close/>
                  <a:moveTo>
                    <a:pt x="6291" y="6905"/>
                  </a:moveTo>
                  <a:cubicBezTo>
                    <a:pt x="6283" y="6908"/>
                    <a:pt x="6276" y="6913"/>
                    <a:pt x="6272" y="6922"/>
                  </a:cubicBezTo>
                  <a:cubicBezTo>
                    <a:pt x="6268" y="6930"/>
                    <a:pt x="6268" y="6938"/>
                    <a:pt x="6271" y="6946"/>
                  </a:cubicBezTo>
                  <a:cubicBezTo>
                    <a:pt x="6273" y="6955"/>
                    <a:pt x="6279" y="6961"/>
                    <a:pt x="6287" y="6965"/>
                  </a:cubicBezTo>
                  <a:cubicBezTo>
                    <a:pt x="6295" y="6969"/>
                    <a:pt x="6304" y="6970"/>
                    <a:pt x="6312" y="6967"/>
                  </a:cubicBezTo>
                  <a:cubicBezTo>
                    <a:pt x="6321" y="6964"/>
                    <a:pt x="6328" y="6959"/>
                    <a:pt x="6332" y="6950"/>
                  </a:cubicBezTo>
                  <a:cubicBezTo>
                    <a:pt x="6336" y="6942"/>
                    <a:pt x="6336" y="6933"/>
                    <a:pt x="6333" y="6925"/>
                  </a:cubicBezTo>
                  <a:cubicBezTo>
                    <a:pt x="6330" y="6917"/>
                    <a:pt x="6324" y="6910"/>
                    <a:pt x="6316" y="6906"/>
                  </a:cubicBezTo>
                  <a:cubicBezTo>
                    <a:pt x="6308" y="6902"/>
                    <a:pt x="6300" y="6902"/>
                    <a:pt x="6291" y="6905"/>
                  </a:cubicBezTo>
                  <a:close/>
                  <a:moveTo>
                    <a:pt x="6349" y="6787"/>
                  </a:moveTo>
                  <a:cubicBezTo>
                    <a:pt x="6340" y="6790"/>
                    <a:pt x="6334" y="6796"/>
                    <a:pt x="6330" y="6804"/>
                  </a:cubicBezTo>
                  <a:cubicBezTo>
                    <a:pt x="6326" y="6812"/>
                    <a:pt x="6325" y="6820"/>
                    <a:pt x="6328" y="6829"/>
                  </a:cubicBezTo>
                  <a:cubicBezTo>
                    <a:pt x="6331" y="6837"/>
                    <a:pt x="6337" y="6844"/>
                    <a:pt x="6345" y="6848"/>
                  </a:cubicBezTo>
                  <a:cubicBezTo>
                    <a:pt x="6353" y="6852"/>
                    <a:pt x="6362" y="6852"/>
                    <a:pt x="6370" y="6850"/>
                  </a:cubicBezTo>
                  <a:cubicBezTo>
                    <a:pt x="6379" y="6847"/>
                    <a:pt x="6385" y="6841"/>
                    <a:pt x="6389" y="6833"/>
                  </a:cubicBezTo>
                  <a:cubicBezTo>
                    <a:pt x="6394" y="6824"/>
                    <a:pt x="6394" y="6816"/>
                    <a:pt x="6391" y="6808"/>
                  </a:cubicBezTo>
                  <a:cubicBezTo>
                    <a:pt x="6388" y="6799"/>
                    <a:pt x="6382" y="6793"/>
                    <a:pt x="6374" y="6789"/>
                  </a:cubicBezTo>
                  <a:cubicBezTo>
                    <a:pt x="6366" y="6785"/>
                    <a:pt x="6357" y="6784"/>
                    <a:pt x="6349" y="6787"/>
                  </a:cubicBezTo>
                  <a:close/>
                  <a:moveTo>
                    <a:pt x="6591" y="6484"/>
                  </a:moveTo>
                  <a:lnTo>
                    <a:pt x="6463" y="6743"/>
                  </a:lnTo>
                  <a:lnTo>
                    <a:pt x="6503" y="6762"/>
                  </a:lnTo>
                  <a:lnTo>
                    <a:pt x="6554" y="6658"/>
                  </a:lnTo>
                  <a:lnTo>
                    <a:pt x="6906" y="6831"/>
                  </a:lnTo>
                  <a:lnTo>
                    <a:pt x="6928" y="6786"/>
                  </a:lnTo>
                  <a:lnTo>
                    <a:pt x="6576" y="6613"/>
                  </a:lnTo>
                  <a:lnTo>
                    <a:pt x="6628" y="6507"/>
                  </a:lnTo>
                  <a:lnTo>
                    <a:pt x="6591" y="6484"/>
                  </a:lnTo>
                  <a:close/>
                  <a:moveTo>
                    <a:pt x="7256" y="6118"/>
                  </a:moveTo>
                  <a:lnTo>
                    <a:pt x="6849" y="5959"/>
                  </a:lnTo>
                  <a:lnTo>
                    <a:pt x="6815" y="6028"/>
                  </a:lnTo>
                  <a:lnTo>
                    <a:pt x="7039" y="6229"/>
                  </a:lnTo>
                  <a:cubicBezTo>
                    <a:pt x="7052" y="6241"/>
                    <a:pt x="7065" y="6251"/>
                    <a:pt x="7076" y="6260"/>
                  </a:cubicBezTo>
                  <a:cubicBezTo>
                    <a:pt x="7087" y="6269"/>
                    <a:pt x="7094" y="6274"/>
                    <a:pt x="7095" y="6275"/>
                  </a:cubicBezTo>
                  <a:cubicBezTo>
                    <a:pt x="7093" y="6274"/>
                    <a:pt x="7085" y="6272"/>
                    <a:pt x="7071" y="6268"/>
                  </a:cubicBezTo>
                  <a:cubicBezTo>
                    <a:pt x="7058" y="6265"/>
                    <a:pt x="7040" y="6261"/>
                    <a:pt x="7020" y="6257"/>
                  </a:cubicBezTo>
                  <a:lnTo>
                    <a:pt x="6729" y="6202"/>
                  </a:lnTo>
                  <a:lnTo>
                    <a:pt x="6696" y="6271"/>
                  </a:lnTo>
                  <a:lnTo>
                    <a:pt x="7070" y="6497"/>
                  </a:lnTo>
                  <a:lnTo>
                    <a:pt x="7092" y="6452"/>
                  </a:lnTo>
                  <a:lnTo>
                    <a:pt x="6824" y="6294"/>
                  </a:lnTo>
                  <a:cubicBezTo>
                    <a:pt x="6819" y="6291"/>
                    <a:pt x="6812" y="6287"/>
                    <a:pt x="6805" y="6282"/>
                  </a:cubicBezTo>
                  <a:cubicBezTo>
                    <a:pt x="6797" y="6278"/>
                    <a:pt x="6790" y="6274"/>
                    <a:pt x="6783" y="6270"/>
                  </a:cubicBezTo>
                  <a:cubicBezTo>
                    <a:pt x="6775" y="6266"/>
                    <a:pt x="6769" y="6262"/>
                    <a:pt x="6763" y="6259"/>
                  </a:cubicBezTo>
                  <a:cubicBezTo>
                    <a:pt x="6758" y="6256"/>
                    <a:pt x="6755" y="6254"/>
                    <a:pt x="6754" y="6253"/>
                  </a:cubicBezTo>
                  <a:cubicBezTo>
                    <a:pt x="6758" y="6255"/>
                    <a:pt x="6768" y="6257"/>
                    <a:pt x="6781" y="6259"/>
                  </a:cubicBezTo>
                  <a:cubicBezTo>
                    <a:pt x="6796" y="6262"/>
                    <a:pt x="6815" y="6266"/>
                    <a:pt x="6837" y="6270"/>
                  </a:cubicBezTo>
                  <a:lnTo>
                    <a:pt x="7152" y="6329"/>
                  </a:lnTo>
                  <a:lnTo>
                    <a:pt x="7172" y="6289"/>
                  </a:lnTo>
                  <a:lnTo>
                    <a:pt x="6922" y="6062"/>
                  </a:lnTo>
                  <a:cubicBezTo>
                    <a:pt x="6916" y="6058"/>
                    <a:pt x="6911" y="6053"/>
                    <a:pt x="6905" y="6048"/>
                  </a:cubicBezTo>
                  <a:cubicBezTo>
                    <a:pt x="6899" y="6043"/>
                    <a:pt x="6893" y="6038"/>
                    <a:pt x="6888" y="6034"/>
                  </a:cubicBezTo>
                  <a:cubicBezTo>
                    <a:pt x="6883" y="6029"/>
                    <a:pt x="6878" y="6025"/>
                    <a:pt x="6875" y="6022"/>
                  </a:cubicBezTo>
                  <a:cubicBezTo>
                    <a:pt x="6871" y="6019"/>
                    <a:pt x="6869" y="6017"/>
                    <a:pt x="6868" y="6017"/>
                  </a:cubicBezTo>
                  <a:cubicBezTo>
                    <a:pt x="6869" y="6017"/>
                    <a:pt x="6872" y="6018"/>
                    <a:pt x="6876" y="6020"/>
                  </a:cubicBezTo>
                  <a:cubicBezTo>
                    <a:pt x="6881" y="6022"/>
                    <a:pt x="6887" y="6025"/>
                    <a:pt x="6893" y="6028"/>
                  </a:cubicBezTo>
                  <a:cubicBezTo>
                    <a:pt x="6900" y="6031"/>
                    <a:pt x="6907" y="6034"/>
                    <a:pt x="6915" y="6037"/>
                  </a:cubicBezTo>
                  <a:cubicBezTo>
                    <a:pt x="6922" y="6041"/>
                    <a:pt x="6929" y="6044"/>
                    <a:pt x="6936" y="6046"/>
                  </a:cubicBezTo>
                  <a:lnTo>
                    <a:pt x="7233" y="6165"/>
                  </a:lnTo>
                  <a:lnTo>
                    <a:pt x="7256" y="6118"/>
                  </a:lnTo>
                  <a:close/>
                  <a:moveTo>
                    <a:pt x="7041" y="5569"/>
                  </a:moveTo>
                  <a:lnTo>
                    <a:pt x="7018" y="5615"/>
                  </a:lnTo>
                  <a:lnTo>
                    <a:pt x="7291" y="5749"/>
                  </a:lnTo>
                  <a:cubicBezTo>
                    <a:pt x="7304" y="5756"/>
                    <a:pt x="7315" y="5762"/>
                    <a:pt x="7323" y="5769"/>
                  </a:cubicBezTo>
                  <a:cubicBezTo>
                    <a:pt x="7332" y="5775"/>
                    <a:pt x="7339" y="5783"/>
                    <a:pt x="7344" y="5794"/>
                  </a:cubicBezTo>
                  <a:cubicBezTo>
                    <a:pt x="7349" y="5804"/>
                    <a:pt x="7351" y="5816"/>
                    <a:pt x="7349" y="5830"/>
                  </a:cubicBezTo>
                  <a:cubicBezTo>
                    <a:pt x="7348" y="5844"/>
                    <a:pt x="7343" y="5859"/>
                    <a:pt x="7335" y="5875"/>
                  </a:cubicBezTo>
                  <a:cubicBezTo>
                    <a:pt x="7329" y="5887"/>
                    <a:pt x="7323" y="5897"/>
                    <a:pt x="7316" y="5905"/>
                  </a:cubicBezTo>
                  <a:cubicBezTo>
                    <a:pt x="7309" y="5913"/>
                    <a:pt x="7303" y="5918"/>
                    <a:pt x="7296" y="5923"/>
                  </a:cubicBezTo>
                  <a:cubicBezTo>
                    <a:pt x="7289" y="5927"/>
                    <a:pt x="7283" y="5930"/>
                    <a:pt x="7276" y="5931"/>
                  </a:cubicBezTo>
                  <a:cubicBezTo>
                    <a:pt x="7270" y="5932"/>
                    <a:pt x="7264" y="5933"/>
                    <a:pt x="7259" y="5933"/>
                  </a:cubicBezTo>
                  <a:cubicBezTo>
                    <a:pt x="7252" y="5932"/>
                    <a:pt x="7242" y="5930"/>
                    <a:pt x="7231" y="5926"/>
                  </a:cubicBezTo>
                  <a:cubicBezTo>
                    <a:pt x="7220" y="5921"/>
                    <a:pt x="7209" y="5917"/>
                    <a:pt x="7199" y="5912"/>
                  </a:cubicBezTo>
                  <a:lnTo>
                    <a:pt x="6936" y="5782"/>
                  </a:lnTo>
                  <a:lnTo>
                    <a:pt x="6913" y="5829"/>
                  </a:lnTo>
                  <a:lnTo>
                    <a:pt x="7194" y="5966"/>
                  </a:lnTo>
                  <a:cubicBezTo>
                    <a:pt x="7202" y="5971"/>
                    <a:pt x="7213" y="5975"/>
                    <a:pt x="7224" y="5979"/>
                  </a:cubicBezTo>
                  <a:cubicBezTo>
                    <a:pt x="7236" y="5984"/>
                    <a:pt x="7248" y="5986"/>
                    <a:pt x="7260" y="5985"/>
                  </a:cubicBezTo>
                  <a:cubicBezTo>
                    <a:pt x="7285" y="5984"/>
                    <a:pt x="7306" y="5977"/>
                    <a:pt x="7324" y="5963"/>
                  </a:cubicBezTo>
                  <a:cubicBezTo>
                    <a:pt x="7342" y="5950"/>
                    <a:pt x="7359" y="5928"/>
                    <a:pt x="7374" y="5897"/>
                  </a:cubicBezTo>
                  <a:cubicBezTo>
                    <a:pt x="7385" y="5873"/>
                    <a:pt x="7393" y="5852"/>
                    <a:pt x="7396" y="5833"/>
                  </a:cubicBezTo>
                  <a:cubicBezTo>
                    <a:pt x="7399" y="5815"/>
                    <a:pt x="7398" y="5797"/>
                    <a:pt x="7394" y="5780"/>
                  </a:cubicBezTo>
                  <a:cubicBezTo>
                    <a:pt x="7390" y="5763"/>
                    <a:pt x="7382" y="5750"/>
                    <a:pt x="7371" y="5739"/>
                  </a:cubicBezTo>
                  <a:cubicBezTo>
                    <a:pt x="7360" y="5729"/>
                    <a:pt x="7342" y="5718"/>
                    <a:pt x="7319" y="5706"/>
                  </a:cubicBezTo>
                  <a:lnTo>
                    <a:pt x="7041" y="5569"/>
                  </a:lnTo>
                  <a:close/>
                  <a:moveTo>
                    <a:pt x="6884" y="5700"/>
                  </a:moveTo>
                  <a:cubicBezTo>
                    <a:pt x="6875" y="5703"/>
                    <a:pt x="6869" y="5709"/>
                    <a:pt x="6865" y="5717"/>
                  </a:cubicBezTo>
                  <a:cubicBezTo>
                    <a:pt x="6861" y="5725"/>
                    <a:pt x="6860" y="5733"/>
                    <a:pt x="6863" y="5742"/>
                  </a:cubicBezTo>
                  <a:cubicBezTo>
                    <a:pt x="6866" y="5750"/>
                    <a:pt x="6872" y="5756"/>
                    <a:pt x="6880" y="5760"/>
                  </a:cubicBezTo>
                  <a:cubicBezTo>
                    <a:pt x="6888" y="5764"/>
                    <a:pt x="6897" y="5765"/>
                    <a:pt x="6905" y="5762"/>
                  </a:cubicBezTo>
                  <a:cubicBezTo>
                    <a:pt x="6914" y="5759"/>
                    <a:pt x="6920" y="5754"/>
                    <a:pt x="6924" y="5746"/>
                  </a:cubicBezTo>
                  <a:cubicBezTo>
                    <a:pt x="6929" y="5737"/>
                    <a:pt x="6929" y="5729"/>
                    <a:pt x="6926" y="5720"/>
                  </a:cubicBezTo>
                  <a:cubicBezTo>
                    <a:pt x="6923" y="5712"/>
                    <a:pt x="6917" y="5706"/>
                    <a:pt x="6909" y="5702"/>
                  </a:cubicBezTo>
                  <a:cubicBezTo>
                    <a:pt x="6901" y="5698"/>
                    <a:pt x="6892" y="5697"/>
                    <a:pt x="6884" y="5700"/>
                  </a:cubicBezTo>
                  <a:close/>
                  <a:moveTo>
                    <a:pt x="6941" y="5583"/>
                  </a:moveTo>
                  <a:cubicBezTo>
                    <a:pt x="6933" y="5586"/>
                    <a:pt x="6926" y="5592"/>
                    <a:pt x="6922" y="5600"/>
                  </a:cubicBezTo>
                  <a:cubicBezTo>
                    <a:pt x="6918" y="5608"/>
                    <a:pt x="6918" y="5616"/>
                    <a:pt x="6921" y="5625"/>
                  </a:cubicBezTo>
                  <a:cubicBezTo>
                    <a:pt x="6924" y="5633"/>
                    <a:pt x="6929" y="5640"/>
                    <a:pt x="6937" y="5644"/>
                  </a:cubicBezTo>
                  <a:cubicBezTo>
                    <a:pt x="6945" y="5648"/>
                    <a:pt x="6954" y="5648"/>
                    <a:pt x="6963" y="5645"/>
                  </a:cubicBezTo>
                  <a:cubicBezTo>
                    <a:pt x="6971" y="5643"/>
                    <a:pt x="6978" y="5637"/>
                    <a:pt x="6982" y="5629"/>
                  </a:cubicBezTo>
                  <a:cubicBezTo>
                    <a:pt x="6986" y="5620"/>
                    <a:pt x="6986" y="5612"/>
                    <a:pt x="6983" y="5604"/>
                  </a:cubicBezTo>
                  <a:cubicBezTo>
                    <a:pt x="6980" y="5595"/>
                    <a:pt x="6974" y="5589"/>
                    <a:pt x="6966" y="5585"/>
                  </a:cubicBezTo>
                  <a:cubicBezTo>
                    <a:pt x="6958" y="5581"/>
                    <a:pt x="6950" y="5580"/>
                    <a:pt x="6941" y="5583"/>
                  </a:cubicBezTo>
                  <a:close/>
                  <a:moveTo>
                    <a:pt x="7615" y="5389"/>
                  </a:moveTo>
                  <a:lnTo>
                    <a:pt x="7224" y="5197"/>
                  </a:lnTo>
                  <a:lnTo>
                    <a:pt x="7201" y="5243"/>
                  </a:lnTo>
                  <a:lnTo>
                    <a:pt x="7415" y="5346"/>
                  </a:lnTo>
                  <a:cubicBezTo>
                    <a:pt x="7429" y="5353"/>
                    <a:pt x="7443" y="5359"/>
                    <a:pt x="7457" y="5366"/>
                  </a:cubicBezTo>
                  <a:cubicBezTo>
                    <a:pt x="7472" y="5372"/>
                    <a:pt x="7485" y="5378"/>
                    <a:pt x="7496" y="5383"/>
                  </a:cubicBezTo>
                  <a:cubicBezTo>
                    <a:pt x="7508" y="5387"/>
                    <a:pt x="7517" y="5391"/>
                    <a:pt x="7525" y="5394"/>
                  </a:cubicBezTo>
                  <a:cubicBezTo>
                    <a:pt x="7532" y="5397"/>
                    <a:pt x="7536" y="5399"/>
                    <a:pt x="7536" y="5399"/>
                  </a:cubicBezTo>
                  <a:cubicBezTo>
                    <a:pt x="7535" y="5399"/>
                    <a:pt x="7531" y="5399"/>
                    <a:pt x="7525" y="5398"/>
                  </a:cubicBezTo>
                  <a:cubicBezTo>
                    <a:pt x="7519" y="5398"/>
                    <a:pt x="7511" y="5397"/>
                    <a:pt x="7502" y="5397"/>
                  </a:cubicBezTo>
                  <a:cubicBezTo>
                    <a:pt x="7493" y="5396"/>
                    <a:pt x="7483" y="5396"/>
                    <a:pt x="7471" y="5395"/>
                  </a:cubicBezTo>
                  <a:cubicBezTo>
                    <a:pt x="7460" y="5395"/>
                    <a:pt x="7448" y="5395"/>
                    <a:pt x="7436" y="5395"/>
                  </a:cubicBezTo>
                  <a:lnTo>
                    <a:pt x="7123" y="5402"/>
                  </a:lnTo>
                  <a:lnTo>
                    <a:pt x="7096" y="5457"/>
                  </a:lnTo>
                  <a:lnTo>
                    <a:pt x="7487" y="5649"/>
                  </a:lnTo>
                  <a:lnTo>
                    <a:pt x="7511" y="5600"/>
                  </a:lnTo>
                  <a:lnTo>
                    <a:pt x="7283" y="5491"/>
                  </a:lnTo>
                  <a:cubicBezTo>
                    <a:pt x="7272" y="5485"/>
                    <a:pt x="7260" y="5480"/>
                    <a:pt x="7249" y="5475"/>
                  </a:cubicBezTo>
                  <a:cubicBezTo>
                    <a:pt x="7237" y="5470"/>
                    <a:pt x="7226" y="5465"/>
                    <a:pt x="7216" y="5461"/>
                  </a:cubicBezTo>
                  <a:cubicBezTo>
                    <a:pt x="7206" y="5457"/>
                    <a:pt x="7197" y="5453"/>
                    <a:pt x="7190" y="5450"/>
                  </a:cubicBezTo>
                  <a:cubicBezTo>
                    <a:pt x="7183" y="5447"/>
                    <a:pt x="7178" y="5445"/>
                    <a:pt x="7175" y="5444"/>
                  </a:cubicBezTo>
                  <a:cubicBezTo>
                    <a:pt x="7179" y="5445"/>
                    <a:pt x="7184" y="5445"/>
                    <a:pt x="7192" y="5445"/>
                  </a:cubicBezTo>
                  <a:cubicBezTo>
                    <a:pt x="7199" y="5446"/>
                    <a:pt x="7208" y="5446"/>
                    <a:pt x="7218" y="5446"/>
                  </a:cubicBezTo>
                  <a:cubicBezTo>
                    <a:pt x="7228" y="5446"/>
                    <a:pt x="7239" y="5446"/>
                    <a:pt x="7251" y="5446"/>
                  </a:cubicBezTo>
                  <a:cubicBezTo>
                    <a:pt x="7264" y="5446"/>
                    <a:pt x="7277" y="5446"/>
                    <a:pt x="7290" y="5446"/>
                  </a:cubicBezTo>
                  <a:lnTo>
                    <a:pt x="7591" y="5438"/>
                  </a:lnTo>
                  <a:lnTo>
                    <a:pt x="7615" y="5389"/>
                  </a:lnTo>
                  <a:close/>
                  <a:moveTo>
                    <a:pt x="7639" y="4968"/>
                  </a:moveTo>
                  <a:cubicBezTo>
                    <a:pt x="7625" y="4967"/>
                    <a:pt x="7611" y="4968"/>
                    <a:pt x="7598" y="4971"/>
                  </a:cubicBezTo>
                  <a:cubicBezTo>
                    <a:pt x="7585" y="4975"/>
                    <a:pt x="7573" y="4980"/>
                    <a:pt x="7562" y="4987"/>
                  </a:cubicBezTo>
                  <a:cubicBezTo>
                    <a:pt x="7551" y="4995"/>
                    <a:pt x="7538" y="5006"/>
                    <a:pt x="7525" y="5021"/>
                  </a:cubicBezTo>
                  <a:lnTo>
                    <a:pt x="7488" y="5059"/>
                  </a:lnTo>
                  <a:cubicBezTo>
                    <a:pt x="7469" y="5078"/>
                    <a:pt x="7452" y="5091"/>
                    <a:pt x="7438" y="5096"/>
                  </a:cubicBezTo>
                  <a:cubicBezTo>
                    <a:pt x="7423" y="5101"/>
                    <a:pt x="7408" y="5100"/>
                    <a:pt x="7392" y="5092"/>
                  </a:cubicBezTo>
                  <a:cubicBezTo>
                    <a:pt x="7372" y="5082"/>
                    <a:pt x="7360" y="5068"/>
                    <a:pt x="7355" y="5049"/>
                  </a:cubicBezTo>
                  <a:cubicBezTo>
                    <a:pt x="7350" y="5029"/>
                    <a:pt x="7354" y="5007"/>
                    <a:pt x="7366" y="4983"/>
                  </a:cubicBezTo>
                  <a:cubicBezTo>
                    <a:pt x="7370" y="4974"/>
                    <a:pt x="7375" y="4967"/>
                    <a:pt x="7380" y="4960"/>
                  </a:cubicBezTo>
                  <a:cubicBezTo>
                    <a:pt x="7384" y="4953"/>
                    <a:pt x="7390" y="4946"/>
                    <a:pt x="7396" y="4940"/>
                  </a:cubicBezTo>
                  <a:cubicBezTo>
                    <a:pt x="7403" y="4934"/>
                    <a:pt x="7410" y="4928"/>
                    <a:pt x="7418" y="4922"/>
                  </a:cubicBezTo>
                  <a:cubicBezTo>
                    <a:pt x="7426" y="4916"/>
                    <a:pt x="7435" y="4910"/>
                    <a:pt x="7446" y="4904"/>
                  </a:cubicBezTo>
                  <a:lnTo>
                    <a:pt x="7423" y="4867"/>
                  </a:lnTo>
                  <a:cubicBezTo>
                    <a:pt x="7379" y="4892"/>
                    <a:pt x="7347" y="4925"/>
                    <a:pt x="7327" y="4966"/>
                  </a:cubicBezTo>
                  <a:cubicBezTo>
                    <a:pt x="7318" y="4985"/>
                    <a:pt x="7312" y="5004"/>
                    <a:pt x="7310" y="5022"/>
                  </a:cubicBezTo>
                  <a:cubicBezTo>
                    <a:pt x="7308" y="5040"/>
                    <a:pt x="7309" y="5057"/>
                    <a:pt x="7313" y="5073"/>
                  </a:cubicBezTo>
                  <a:cubicBezTo>
                    <a:pt x="7318" y="5089"/>
                    <a:pt x="7325" y="5103"/>
                    <a:pt x="7336" y="5116"/>
                  </a:cubicBezTo>
                  <a:cubicBezTo>
                    <a:pt x="7347" y="5129"/>
                    <a:pt x="7360" y="5140"/>
                    <a:pt x="7377" y="5148"/>
                  </a:cubicBezTo>
                  <a:cubicBezTo>
                    <a:pt x="7402" y="5160"/>
                    <a:pt x="7427" y="5162"/>
                    <a:pt x="7453" y="5155"/>
                  </a:cubicBezTo>
                  <a:cubicBezTo>
                    <a:pt x="7465" y="5151"/>
                    <a:pt x="7476" y="5145"/>
                    <a:pt x="7486" y="5137"/>
                  </a:cubicBezTo>
                  <a:cubicBezTo>
                    <a:pt x="7496" y="5129"/>
                    <a:pt x="7508" y="5118"/>
                    <a:pt x="7522" y="5102"/>
                  </a:cubicBezTo>
                  <a:lnTo>
                    <a:pt x="7553" y="5069"/>
                  </a:lnTo>
                  <a:cubicBezTo>
                    <a:pt x="7590" y="5029"/>
                    <a:pt x="7626" y="5018"/>
                    <a:pt x="7661" y="5035"/>
                  </a:cubicBezTo>
                  <a:cubicBezTo>
                    <a:pt x="7684" y="5046"/>
                    <a:pt x="7698" y="5065"/>
                    <a:pt x="7703" y="5090"/>
                  </a:cubicBezTo>
                  <a:cubicBezTo>
                    <a:pt x="7705" y="5102"/>
                    <a:pt x="7705" y="5113"/>
                    <a:pt x="7703" y="5123"/>
                  </a:cubicBezTo>
                  <a:cubicBezTo>
                    <a:pt x="7701" y="5133"/>
                    <a:pt x="7697" y="5146"/>
                    <a:pt x="7689" y="5161"/>
                  </a:cubicBezTo>
                  <a:cubicBezTo>
                    <a:pt x="7680" y="5180"/>
                    <a:pt x="7668" y="5197"/>
                    <a:pt x="7654" y="5212"/>
                  </a:cubicBezTo>
                  <a:cubicBezTo>
                    <a:pt x="7641" y="5226"/>
                    <a:pt x="7624" y="5238"/>
                    <a:pt x="7604" y="5249"/>
                  </a:cubicBezTo>
                  <a:lnTo>
                    <a:pt x="7630" y="5287"/>
                  </a:lnTo>
                  <a:cubicBezTo>
                    <a:pt x="7652" y="5274"/>
                    <a:pt x="7671" y="5258"/>
                    <a:pt x="7687" y="5241"/>
                  </a:cubicBezTo>
                  <a:cubicBezTo>
                    <a:pt x="7702" y="5223"/>
                    <a:pt x="7716" y="5203"/>
                    <a:pt x="7727" y="5179"/>
                  </a:cubicBezTo>
                  <a:cubicBezTo>
                    <a:pt x="7736" y="5161"/>
                    <a:pt x="7742" y="5144"/>
                    <a:pt x="7745" y="5129"/>
                  </a:cubicBezTo>
                  <a:cubicBezTo>
                    <a:pt x="7748" y="5113"/>
                    <a:pt x="7749" y="5097"/>
                    <a:pt x="7747" y="5080"/>
                  </a:cubicBezTo>
                  <a:cubicBezTo>
                    <a:pt x="7744" y="5057"/>
                    <a:pt x="7737" y="5037"/>
                    <a:pt x="7725" y="5019"/>
                  </a:cubicBezTo>
                  <a:cubicBezTo>
                    <a:pt x="7713" y="5002"/>
                    <a:pt x="7698" y="4988"/>
                    <a:pt x="7679" y="4979"/>
                  </a:cubicBezTo>
                  <a:cubicBezTo>
                    <a:pt x="7667" y="4973"/>
                    <a:pt x="7654" y="4970"/>
                    <a:pt x="7639" y="4968"/>
                  </a:cubicBezTo>
                  <a:close/>
                  <a:moveTo>
                    <a:pt x="7556" y="4521"/>
                  </a:moveTo>
                  <a:lnTo>
                    <a:pt x="7429" y="4780"/>
                  </a:lnTo>
                  <a:lnTo>
                    <a:pt x="7468" y="4799"/>
                  </a:lnTo>
                  <a:lnTo>
                    <a:pt x="7520" y="4695"/>
                  </a:lnTo>
                  <a:lnTo>
                    <a:pt x="7872" y="4868"/>
                  </a:lnTo>
                  <a:lnTo>
                    <a:pt x="7894" y="4823"/>
                  </a:lnTo>
                  <a:lnTo>
                    <a:pt x="7542" y="4650"/>
                  </a:lnTo>
                  <a:lnTo>
                    <a:pt x="7594" y="4544"/>
                  </a:lnTo>
                  <a:lnTo>
                    <a:pt x="7556" y="4521"/>
                  </a:lnTo>
                  <a:close/>
                  <a:moveTo>
                    <a:pt x="8088" y="4427"/>
                  </a:moveTo>
                  <a:lnTo>
                    <a:pt x="8048" y="4407"/>
                  </a:lnTo>
                  <a:lnTo>
                    <a:pt x="7963" y="4579"/>
                  </a:lnTo>
                  <a:lnTo>
                    <a:pt x="7820" y="4509"/>
                  </a:lnTo>
                  <a:lnTo>
                    <a:pt x="7886" y="4375"/>
                  </a:lnTo>
                  <a:lnTo>
                    <a:pt x="7846" y="4355"/>
                  </a:lnTo>
                  <a:lnTo>
                    <a:pt x="7780" y="4489"/>
                  </a:lnTo>
                  <a:lnTo>
                    <a:pt x="7652" y="4426"/>
                  </a:lnTo>
                  <a:lnTo>
                    <a:pt x="7730" y="4266"/>
                  </a:lnTo>
                  <a:lnTo>
                    <a:pt x="7695" y="4241"/>
                  </a:lnTo>
                  <a:lnTo>
                    <a:pt x="7590" y="4454"/>
                  </a:lnTo>
                  <a:lnTo>
                    <a:pt x="7980" y="4647"/>
                  </a:lnTo>
                  <a:lnTo>
                    <a:pt x="8088" y="4427"/>
                  </a:lnTo>
                  <a:close/>
                  <a:moveTo>
                    <a:pt x="8251" y="4096"/>
                  </a:moveTo>
                  <a:lnTo>
                    <a:pt x="8215" y="4101"/>
                  </a:lnTo>
                  <a:cubicBezTo>
                    <a:pt x="8198" y="4103"/>
                    <a:pt x="8181" y="4106"/>
                    <a:pt x="8162" y="4108"/>
                  </a:cubicBezTo>
                  <a:cubicBezTo>
                    <a:pt x="8143" y="4111"/>
                    <a:pt x="8126" y="4113"/>
                    <a:pt x="8109" y="4115"/>
                  </a:cubicBezTo>
                  <a:cubicBezTo>
                    <a:pt x="8093" y="4118"/>
                    <a:pt x="8081" y="4120"/>
                    <a:pt x="8074" y="4121"/>
                  </a:cubicBezTo>
                  <a:cubicBezTo>
                    <a:pt x="8064" y="4123"/>
                    <a:pt x="8053" y="4125"/>
                    <a:pt x="8042" y="4128"/>
                  </a:cubicBezTo>
                  <a:cubicBezTo>
                    <a:pt x="8030" y="4131"/>
                    <a:pt x="8019" y="4135"/>
                    <a:pt x="8011" y="4139"/>
                  </a:cubicBezTo>
                  <a:lnTo>
                    <a:pt x="8014" y="4133"/>
                  </a:lnTo>
                  <a:cubicBezTo>
                    <a:pt x="8021" y="4117"/>
                    <a:pt x="8026" y="4102"/>
                    <a:pt x="8027" y="4087"/>
                  </a:cubicBezTo>
                  <a:cubicBezTo>
                    <a:pt x="8028" y="4071"/>
                    <a:pt x="8026" y="4057"/>
                    <a:pt x="8021" y="4043"/>
                  </a:cubicBezTo>
                  <a:cubicBezTo>
                    <a:pt x="8017" y="4030"/>
                    <a:pt x="8009" y="4017"/>
                    <a:pt x="7998" y="4005"/>
                  </a:cubicBezTo>
                  <a:cubicBezTo>
                    <a:pt x="7987" y="3994"/>
                    <a:pt x="7974" y="3984"/>
                    <a:pt x="7958" y="3976"/>
                  </a:cubicBezTo>
                  <a:cubicBezTo>
                    <a:pt x="7947" y="3971"/>
                    <a:pt x="7937" y="3968"/>
                    <a:pt x="7928" y="3966"/>
                  </a:cubicBezTo>
                  <a:cubicBezTo>
                    <a:pt x="7918" y="3965"/>
                    <a:pt x="7909" y="3964"/>
                    <a:pt x="7900" y="3964"/>
                  </a:cubicBezTo>
                  <a:cubicBezTo>
                    <a:pt x="7891" y="3964"/>
                    <a:pt x="7883" y="3965"/>
                    <a:pt x="7876" y="3967"/>
                  </a:cubicBezTo>
                  <a:cubicBezTo>
                    <a:pt x="7869" y="3970"/>
                    <a:pt x="7862" y="3972"/>
                    <a:pt x="7857" y="3975"/>
                  </a:cubicBezTo>
                  <a:cubicBezTo>
                    <a:pt x="7851" y="3978"/>
                    <a:pt x="7845" y="3981"/>
                    <a:pt x="7839" y="3985"/>
                  </a:cubicBezTo>
                  <a:cubicBezTo>
                    <a:pt x="7833" y="3990"/>
                    <a:pt x="7827" y="3995"/>
                    <a:pt x="7821" y="4002"/>
                  </a:cubicBezTo>
                  <a:cubicBezTo>
                    <a:pt x="7814" y="4009"/>
                    <a:pt x="7808" y="4017"/>
                    <a:pt x="7802" y="4027"/>
                  </a:cubicBezTo>
                  <a:cubicBezTo>
                    <a:pt x="7796" y="4036"/>
                    <a:pt x="7790" y="4048"/>
                    <a:pt x="7783" y="4061"/>
                  </a:cubicBezTo>
                  <a:lnTo>
                    <a:pt x="7738" y="4152"/>
                  </a:lnTo>
                  <a:lnTo>
                    <a:pt x="8129" y="4345"/>
                  </a:lnTo>
                  <a:lnTo>
                    <a:pt x="8151" y="4299"/>
                  </a:lnTo>
                  <a:lnTo>
                    <a:pt x="7975" y="4212"/>
                  </a:lnTo>
                  <a:cubicBezTo>
                    <a:pt x="7980" y="4202"/>
                    <a:pt x="7986" y="4195"/>
                    <a:pt x="7992" y="4191"/>
                  </a:cubicBezTo>
                  <a:cubicBezTo>
                    <a:pt x="7998" y="4186"/>
                    <a:pt x="8008" y="4183"/>
                    <a:pt x="8022" y="4180"/>
                  </a:cubicBezTo>
                  <a:cubicBezTo>
                    <a:pt x="8045" y="4175"/>
                    <a:pt x="8067" y="4171"/>
                    <a:pt x="8088" y="4168"/>
                  </a:cubicBezTo>
                  <a:cubicBezTo>
                    <a:pt x="8108" y="4164"/>
                    <a:pt x="8127" y="4162"/>
                    <a:pt x="8145" y="4159"/>
                  </a:cubicBezTo>
                  <a:cubicBezTo>
                    <a:pt x="8162" y="4157"/>
                    <a:pt x="8177" y="4156"/>
                    <a:pt x="8191" y="4155"/>
                  </a:cubicBezTo>
                  <a:cubicBezTo>
                    <a:pt x="8204" y="4155"/>
                    <a:pt x="8214" y="4155"/>
                    <a:pt x="8222" y="4155"/>
                  </a:cubicBezTo>
                  <a:lnTo>
                    <a:pt x="8251" y="4096"/>
                  </a:lnTo>
                  <a:close/>
                  <a:moveTo>
                    <a:pt x="7965" y="4047"/>
                  </a:moveTo>
                  <a:cubicBezTo>
                    <a:pt x="7973" y="4056"/>
                    <a:pt x="7979" y="4065"/>
                    <a:pt x="7982" y="4074"/>
                  </a:cubicBezTo>
                  <a:cubicBezTo>
                    <a:pt x="7985" y="4085"/>
                    <a:pt x="7985" y="4097"/>
                    <a:pt x="7983" y="4109"/>
                  </a:cubicBezTo>
                  <a:cubicBezTo>
                    <a:pt x="7981" y="4122"/>
                    <a:pt x="7976" y="4137"/>
                    <a:pt x="7967" y="4154"/>
                  </a:cubicBezTo>
                  <a:lnTo>
                    <a:pt x="7946" y="4198"/>
                  </a:lnTo>
                  <a:lnTo>
                    <a:pt x="7800" y="4126"/>
                  </a:lnTo>
                  <a:lnTo>
                    <a:pt x="7823" y="4079"/>
                  </a:lnTo>
                  <a:cubicBezTo>
                    <a:pt x="7828" y="4069"/>
                    <a:pt x="7833" y="4060"/>
                    <a:pt x="7838" y="4053"/>
                  </a:cubicBezTo>
                  <a:cubicBezTo>
                    <a:pt x="7844" y="4046"/>
                    <a:pt x="7849" y="4039"/>
                    <a:pt x="7855" y="4034"/>
                  </a:cubicBezTo>
                  <a:cubicBezTo>
                    <a:pt x="7865" y="4025"/>
                    <a:pt x="7877" y="4020"/>
                    <a:pt x="7892" y="4018"/>
                  </a:cubicBezTo>
                  <a:cubicBezTo>
                    <a:pt x="7906" y="4017"/>
                    <a:pt x="7920" y="4019"/>
                    <a:pt x="7933" y="4025"/>
                  </a:cubicBezTo>
                  <a:cubicBezTo>
                    <a:pt x="7946" y="4032"/>
                    <a:pt x="7957" y="4039"/>
                    <a:pt x="7965" y="4047"/>
                  </a:cubicBezTo>
                  <a:close/>
                  <a:moveTo>
                    <a:pt x="8463" y="3885"/>
                  </a:moveTo>
                  <a:lnTo>
                    <a:pt x="7914" y="3615"/>
                  </a:lnTo>
                  <a:lnTo>
                    <a:pt x="7895" y="3652"/>
                  </a:lnTo>
                  <a:lnTo>
                    <a:pt x="8445" y="3922"/>
                  </a:lnTo>
                  <a:lnTo>
                    <a:pt x="8463" y="3885"/>
                  </a:lnTo>
                  <a:close/>
                  <a:moveTo>
                    <a:pt x="8238" y="3137"/>
                  </a:moveTo>
                  <a:lnTo>
                    <a:pt x="8215" y="3183"/>
                  </a:lnTo>
                  <a:lnTo>
                    <a:pt x="8487" y="3317"/>
                  </a:lnTo>
                  <a:cubicBezTo>
                    <a:pt x="8501" y="3324"/>
                    <a:pt x="8512" y="3330"/>
                    <a:pt x="8520" y="3336"/>
                  </a:cubicBezTo>
                  <a:cubicBezTo>
                    <a:pt x="8528" y="3343"/>
                    <a:pt x="8535" y="3351"/>
                    <a:pt x="8541" y="3362"/>
                  </a:cubicBezTo>
                  <a:cubicBezTo>
                    <a:pt x="8546" y="3372"/>
                    <a:pt x="8548" y="3384"/>
                    <a:pt x="8546" y="3398"/>
                  </a:cubicBezTo>
                  <a:cubicBezTo>
                    <a:pt x="8544" y="3412"/>
                    <a:pt x="8540" y="3427"/>
                    <a:pt x="8532" y="3443"/>
                  </a:cubicBezTo>
                  <a:cubicBezTo>
                    <a:pt x="8526" y="3455"/>
                    <a:pt x="8519" y="3465"/>
                    <a:pt x="8513" y="3473"/>
                  </a:cubicBezTo>
                  <a:cubicBezTo>
                    <a:pt x="8506" y="3480"/>
                    <a:pt x="8500" y="3486"/>
                    <a:pt x="8493" y="3490"/>
                  </a:cubicBezTo>
                  <a:cubicBezTo>
                    <a:pt x="8486" y="3495"/>
                    <a:pt x="8479" y="3497"/>
                    <a:pt x="8473" y="3499"/>
                  </a:cubicBezTo>
                  <a:cubicBezTo>
                    <a:pt x="8467" y="3500"/>
                    <a:pt x="8461" y="3501"/>
                    <a:pt x="8456" y="3500"/>
                  </a:cubicBezTo>
                  <a:cubicBezTo>
                    <a:pt x="8449" y="3500"/>
                    <a:pt x="8439" y="3498"/>
                    <a:pt x="8428" y="3493"/>
                  </a:cubicBezTo>
                  <a:cubicBezTo>
                    <a:pt x="8417" y="3489"/>
                    <a:pt x="8406" y="3484"/>
                    <a:pt x="8396" y="3480"/>
                  </a:cubicBezTo>
                  <a:lnTo>
                    <a:pt x="8133" y="3350"/>
                  </a:lnTo>
                  <a:lnTo>
                    <a:pt x="8110" y="3396"/>
                  </a:lnTo>
                  <a:lnTo>
                    <a:pt x="8390" y="3534"/>
                  </a:lnTo>
                  <a:cubicBezTo>
                    <a:pt x="8399" y="3538"/>
                    <a:pt x="8409" y="3543"/>
                    <a:pt x="8421" y="3547"/>
                  </a:cubicBezTo>
                  <a:cubicBezTo>
                    <a:pt x="8433" y="3551"/>
                    <a:pt x="8445" y="3553"/>
                    <a:pt x="8457" y="3553"/>
                  </a:cubicBezTo>
                  <a:cubicBezTo>
                    <a:pt x="8482" y="3552"/>
                    <a:pt x="8503" y="3544"/>
                    <a:pt x="8521" y="3531"/>
                  </a:cubicBezTo>
                  <a:cubicBezTo>
                    <a:pt x="8539" y="3517"/>
                    <a:pt x="8555" y="3495"/>
                    <a:pt x="8570" y="3465"/>
                  </a:cubicBezTo>
                  <a:cubicBezTo>
                    <a:pt x="8582" y="3441"/>
                    <a:pt x="8590" y="3420"/>
                    <a:pt x="8593" y="3401"/>
                  </a:cubicBezTo>
                  <a:cubicBezTo>
                    <a:pt x="8596" y="3382"/>
                    <a:pt x="8595" y="3365"/>
                    <a:pt x="8591" y="3347"/>
                  </a:cubicBezTo>
                  <a:cubicBezTo>
                    <a:pt x="8587" y="3331"/>
                    <a:pt x="8579" y="3317"/>
                    <a:pt x="8568" y="3307"/>
                  </a:cubicBezTo>
                  <a:cubicBezTo>
                    <a:pt x="8557" y="3296"/>
                    <a:pt x="8539" y="3285"/>
                    <a:pt x="8516" y="3274"/>
                  </a:cubicBezTo>
                  <a:lnTo>
                    <a:pt x="8238" y="3137"/>
                  </a:lnTo>
                  <a:close/>
                  <a:moveTo>
                    <a:pt x="8812" y="2957"/>
                  </a:moveTo>
                  <a:lnTo>
                    <a:pt x="8421" y="2764"/>
                  </a:lnTo>
                  <a:lnTo>
                    <a:pt x="8398" y="2811"/>
                  </a:lnTo>
                  <a:lnTo>
                    <a:pt x="8612" y="2913"/>
                  </a:lnTo>
                  <a:cubicBezTo>
                    <a:pt x="8626" y="2920"/>
                    <a:pt x="8640" y="2927"/>
                    <a:pt x="8654" y="2933"/>
                  </a:cubicBezTo>
                  <a:cubicBezTo>
                    <a:pt x="8669" y="2940"/>
                    <a:pt x="8682" y="2945"/>
                    <a:pt x="8693" y="2950"/>
                  </a:cubicBezTo>
                  <a:cubicBezTo>
                    <a:pt x="8705" y="2955"/>
                    <a:pt x="8714" y="2959"/>
                    <a:pt x="8721" y="2962"/>
                  </a:cubicBezTo>
                  <a:cubicBezTo>
                    <a:pt x="8729" y="2965"/>
                    <a:pt x="8733" y="2967"/>
                    <a:pt x="8733" y="2967"/>
                  </a:cubicBezTo>
                  <a:cubicBezTo>
                    <a:pt x="8732" y="2967"/>
                    <a:pt x="8728" y="2966"/>
                    <a:pt x="8722" y="2966"/>
                  </a:cubicBezTo>
                  <a:cubicBezTo>
                    <a:pt x="8716" y="2965"/>
                    <a:pt x="8708" y="2965"/>
                    <a:pt x="8699" y="2965"/>
                  </a:cubicBezTo>
                  <a:cubicBezTo>
                    <a:pt x="8690" y="2964"/>
                    <a:pt x="8680" y="2964"/>
                    <a:pt x="8668" y="2963"/>
                  </a:cubicBezTo>
                  <a:cubicBezTo>
                    <a:pt x="8656" y="2963"/>
                    <a:pt x="8645" y="2963"/>
                    <a:pt x="8633" y="2963"/>
                  </a:cubicBezTo>
                  <a:lnTo>
                    <a:pt x="8320" y="2970"/>
                  </a:lnTo>
                  <a:lnTo>
                    <a:pt x="8293" y="3024"/>
                  </a:lnTo>
                  <a:lnTo>
                    <a:pt x="8684" y="3217"/>
                  </a:lnTo>
                  <a:lnTo>
                    <a:pt x="8708" y="3168"/>
                  </a:lnTo>
                  <a:lnTo>
                    <a:pt x="8480" y="3059"/>
                  </a:lnTo>
                  <a:cubicBezTo>
                    <a:pt x="8469" y="3053"/>
                    <a:pt x="8457" y="3048"/>
                    <a:pt x="8445" y="3043"/>
                  </a:cubicBezTo>
                  <a:cubicBezTo>
                    <a:pt x="8434" y="3038"/>
                    <a:pt x="8423" y="3033"/>
                    <a:pt x="8413" y="3029"/>
                  </a:cubicBezTo>
                  <a:cubicBezTo>
                    <a:pt x="8403" y="3025"/>
                    <a:pt x="8394" y="3021"/>
                    <a:pt x="8387" y="3018"/>
                  </a:cubicBezTo>
                  <a:cubicBezTo>
                    <a:pt x="8380" y="3015"/>
                    <a:pt x="8375" y="3013"/>
                    <a:pt x="8371" y="3012"/>
                  </a:cubicBezTo>
                  <a:cubicBezTo>
                    <a:pt x="8375" y="3012"/>
                    <a:pt x="8381" y="3013"/>
                    <a:pt x="8389" y="3013"/>
                  </a:cubicBezTo>
                  <a:cubicBezTo>
                    <a:pt x="8396" y="3013"/>
                    <a:pt x="8405" y="3014"/>
                    <a:pt x="8415" y="3014"/>
                  </a:cubicBezTo>
                  <a:cubicBezTo>
                    <a:pt x="8425" y="3014"/>
                    <a:pt x="8436" y="3014"/>
                    <a:pt x="8448" y="3014"/>
                  </a:cubicBezTo>
                  <a:cubicBezTo>
                    <a:pt x="8461" y="3014"/>
                    <a:pt x="8473" y="3014"/>
                    <a:pt x="8487" y="3013"/>
                  </a:cubicBezTo>
                  <a:lnTo>
                    <a:pt x="8788" y="3006"/>
                  </a:lnTo>
                  <a:lnTo>
                    <a:pt x="8812" y="2957"/>
                  </a:lnTo>
                  <a:close/>
                  <a:moveTo>
                    <a:pt x="8891" y="2797"/>
                  </a:moveTo>
                  <a:lnTo>
                    <a:pt x="8500" y="2604"/>
                  </a:lnTo>
                  <a:lnTo>
                    <a:pt x="8477" y="2650"/>
                  </a:lnTo>
                  <a:lnTo>
                    <a:pt x="8868" y="2842"/>
                  </a:lnTo>
                  <a:lnTo>
                    <a:pt x="8891" y="2797"/>
                  </a:lnTo>
                  <a:close/>
                  <a:moveTo>
                    <a:pt x="2039" y="18075"/>
                  </a:moveTo>
                  <a:cubicBezTo>
                    <a:pt x="2025" y="18073"/>
                    <a:pt x="2011" y="18074"/>
                    <a:pt x="1998" y="18078"/>
                  </a:cubicBezTo>
                  <a:cubicBezTo>
                    <a:pt x="1985" y="18081"/>
                    <a:pt x="1973" y="18087"/>
                    <a:pt x="1962" y="18094"/>
                  </a:cubicBezTo>
                  <a:cubicBezTo>
                    <a:pt x="1951" y="18101"/>
                    <a:pt x="1938" y="18112"/>
                    <a:pt x="1925" y="18127"/>
                  </a:cubicBezTo>
                  <a:lnTo>
                    <a:pt x="1888" y="18165"/>
                  </a:lnTo>
                  <a:cubicBezTo>
                    <a:pt x="1869" y="18185"/>
                    <a:pt x="1852" y="18197"/>
                    <a:pt x="1838" y="18203"/>
                  </a:cubicBezTo>
                  <a:cubicBezTo>
                    <a:pt x="1824" y="18208"/>
                    <a:pt x="1808" y="18207"/>
                    <a:pt x="1792" y="18199"/>
                  </a:cubicBezTo>
                  <a:cubicBezTo>
                    <a:pt x="1772" y="18189"/>
                    <a:pt x="1760" y="18174"/>
                    <a:pt x="1755" y="18155"/>
                  </a:cubicBezTo>
                  <a:cubicBezTo>
                    <a:pt x="1750" y="18136"/>
                    <a:pt x="1754" y="18114"/>
                    <a:pt x="1766" y="18089"/>
                  </a:cubicBezTo>
                  <a:cubicBezTo>
                    <a:pt x="1770" y="18081"/>
                    <a:pt x="1775" y="18073"/>
                    <a:pt x="1780" y="18066"/>
                  </a:cubicBezTo>
                  <a:cubicBezTo>
                    <a:pt x="1784" y="18060"/>
                    <a:pt x="1790" y="18053"/>
                    <a:pt x="1796" y="18047"/>
                  </a:cubicBezTo>
                  <a:cubicBezTo>
                    <a:pt x="1803" y="18041"/>
                    <a:pt x="1810" y="18035"/>
                    <a:pt x="1818" y="18029"/>
                  </a:cubicBezTo>
                  <a:cubicBezTo>
                    <a:pt x="1826" y="18023"/>
                    <a:pt x="1836" y="18017"/>
                    <a:pt x="1846" y="18010"/>
                  </a:cubicBezTo>
                  <a:lnTo>
                    <a:pt x="1823" y="17973"/>
                  </a:lnTo>
                  <a:cubicBezTo>
                    <a:pt x="1779" y="17998"/>
                    <a:pt x="1747" y="18031"/>
                    <a:pt x="1727" y="18073"/>
                  </a:cubicBezTo>
                  <a:cubicBezTo>
                    <a:pt x="1718" y="18092"/>
                    <a:pt x="1712" y="18110"/>
                    <a:pt x="1710" y="18129"/>
                  </a:cubicBezTo>
                  <a:cubicBezTo>
                    <a:pt x="1708" y="18147"/>
                    <a:pt x="1709" y="18164"/>
                    <a:pt x="1713" y="18180"/>
                  </a:cubicBezTo>
                  <a:cubicBezTo>
                    <a:pt x="1718" y="18196"/>
                    <a:pt x="1725" y="18210"/>
                    <a:pt x="1736" y="18223"/>
                  </a:cubicBezTo>
                  <a:cubicBezTo>
                    <a:pt x="1747" y="18235"/>
                    <a:pt x="1760" y="18246"/>
                    <a:pt x="1776" y="18254"/>
                  </a:cubicBezTo>
                  <a:lnTo>
                    <a:pt x="1870" y="18254"/>
                  </a:lnTo>
                  <a:cubicBezTo>
                    <a:pt x="1876" y="18251"/>
                    <a:pt x="1881" y="18248"/>
                    <a:pt x="1886" y="18244"/>
                  </a:cubicBezTo>
                  <a:cubicBezTo>
                    <a:pt x="1896" y="18236"/>
                    <a:pt x="1908" y="18224"/>
                    <a:pt x="1922" y="18209"/>
                  </a:cubicBezTo>
                  <a:lnTo>
                    <a:pt x="1953" y="18175"/>
                  </a:lnTo>
                  <a:cubicBezTo>
                    <a:pt x="1990" y="18136"/>
                    <a:pt x="2026" y="18124"/>
                    <a:pt x="2061" y="18141"/>
                  </a:cubicBezTo>
                  <a:cubicBezTo>
                    <a:pt x="2084" y="18153"/>
                    <a:pt x="2098" y="18171"/>
                    <a:pt x="2103" y="18197"/>
                  </a:cubicBezTo>
                  <a:cubicBezTo>
                    <a:pt x="2105" y="18208"/>
                    <a:pt x="2105" y="18219"/>
                    <a:pt x="2103" y="18229"/>
                  </a:cubicBezTo>
                  <a:cubicBezTo>
                    <a:pt x="2102" y="18237"/>
                    <a:pt x="2099" y="18245"/>
                    <a:pt x="2095" y="18254"/>
                  </a:cubicBezTo>
                  <a:lnTo>
                    <a:pt x="2141" y="18254"/>
                  </a:lnTo>
                  <a:cubicBezTo>
                    <a:pt x="2143" y="18248"/>
                    <a:pt x="2144" y="18241"/>
                    <a:pt x="2145" y="18235"/>
                  </a:cubicBezTo>
                  <a:cubicBezTo>
                    <a:pt x="2148" y="18220"/>
                    <a:pt x="2149" y="18203"/>
                    <a:pt x="2147" y="18186"/>
                  </a:cubicBezTo>
                  <a:cubicBezTo>
                    <a:pt x="2144" y="18164"/>
                    <a:pt x="2137" y="18143"/>
                    <a:pt x="2125" y="18126"/>
                  </a:cubicBezTo>
                  <a:cubicBezTo>
                    <a:pt x="2113" y="18108"/>
                    <a:pt x="2098" y="18095"/>
                    <a:pt x="2079" y="18086"/>
                  </a:cubicBezTo>
                  <a:cubicBezTo>
                    <a:pt x="2067" y="18080"/>
                    <a:pt x="2054" y="18076"/>
                    <a:pt x="2039" y="18075"/>
                  </a:cubicBezTo>
                  <a:close/>
                  <a:moveTo>
                    <a:pt x="9002" y="4138"/>
                  </a:moveTo>
                  <a:lnTo>
                    <a:pt x="9002" y="4082"/>
                  </a:lnTo>
                  <a:lnTo>
                    <a:pt x="8735" y="3951"/>
                  </a:lnTo>
                  <a:lnTo>
                    <a:pt x="8787" y="3845"/>
                  </a:lnTo>
                  <a:lnTo>
                    <a:pt x="8749" y="3823"/>
                  </a:lnTo>
                  <a:lnTo>
                    <a:pt x="8622" y="4082"/>
                  </a:lnTo>
                  <a:lnTo>
                    <a:pt x="8662" y="4101"/>
                  </a:lnTo>
                  <a:lnTo>
                    <a:pt x="8713" y="3996"/>
                  </a:lnTo>
                  <a:lnTo>
                    <a:pt x="9002" y="4138"/>
                  </a:lnTo>
                  <a:close/>
                  <a:moveTo>
                    <a:pt x="9002" y="3896"/>
                  </a:moveTo>
                  <a:lnTo>
                    <a:pt x="9002" y="3830"/>
                  </a:lnTo>
                  <a:lnTo>
                    <a:pt x="8863" y="3696"/>
                  </a:lnTo>
                  <a:lnTo>
                    <a:pt x="9002" y="3718"/>
                  </a:lnTo>
                  <a:lnTo>
                    <a:pt x="9002" y="3666"/>
                  </a:lnTo>
                  <a:lnTo>
                    <a:pt x="8838" y="3643"/>
                  </a:lnTo>
                  <a:lnTo>
                    <a:pt x="8808" y="3704"/>
                  </a:lnTo>
                  <a:lnTo>
                    <a:pt x="9002" y="3896"/>
                  </a:lnTo>
                  <a:close/>
                  <a:moveTo>
                    <a:pt x="9002" y="3432"/>
                  </a:moveTo>
                  <a:lnTo>
                    <a:pt x="9002" y="3310"/>
                  </a:lnTo>
                  <a:lnTo>
                    <a:pt x="8902" y="3513"/>
                  </a:lnTo>
                  <a:lnTo>
                    <a:pt x="8941" y="3532"/>
                  </a:lnTo>
                  <a:lnTo>
                    <a:pt x="8993" y="3427"/>
                  </a:lnTo>
                  <a:lnTo>
                    <a:pt x="9002" y="3432"/>
                  </a:lnTo>
                  <a:close/>
                  <a:moveTo>
                    <a:pt x="2257" y="18004"/>
                  </a:moveTo>
                  <a:lnTo>
                    <a:pt x="1866" y="17812"/>
                  </a:lnTo>
                  <a:lnTo>
                    <a:pt x="1844" y="17858"/>
                  </a:lnTo>
                  <a:lnTo>
                    <a:pt x="2234" y="18050"/>
                  </a:lnTo>
                  <a:lnTo>
                    <a:pt x="2257" y="18004"/>
                  </a:lnTo>
                  <a:close/>
                  <a:moveTo>
                    <a:pt x="2032" y="17475"/>
                  </a:moveTo>
                  <a:lnTo>
                    <a:pt x="1905" y="17734"/>
                  </a:lnTo>
                  <a:lnTo>
                    <a:pt x="1944" y="17753"/>
                  </a:lnTo>
                  <a:lnTo>
                    <a:pt x="1995" y="17648"/>
                  </a:lnTo>
                  <a:lnTo>
                    <a:pt x="2347" y="17821"/>
                  </a:lnTo>
                  <a:lnTo>
                    <a:pt x="2369" y="17776"/>
                  </a:lnTo>
                  <a:lnTo>
                    <a:pt x="2018" y="17603"/>
                  </a:lnTo>
                  <a:lnTo>
                    <a:pt x="2070" y="17497"/>
                  </a:lnTo>
                  <a:lnTo>
                    <a:pt x="2032" y="17475"/>
                  </a:lnTo>
                  <a:close/>
                  <a:moveTo>
                    <a:pt x="2199" y="17135"/>
                  </a:moveTo>
                  <a:lnTo>
                    <a:pt x="2173" y="17188"/>
                  </a:lnTo>
                  <a:lnTo>
                    <a:pt x="2285" y="17337"/>
                  </a:lnTo>
                  <a:cubicBezTo>
                    <a:pt x="2292" y="17347"/>
                    <a:pt x="2299" y="17356"/>
                    <a:pt x="2306" y="17364"/>
                  </a:cubicBezTo>
                  <a:cubicBezTo>
                    <a:pt x="2313" y="17373"/>
                    <a:pt x="2317" y="17378"/>
                    <a:pt x="2319" y="17379"/>
                  </a:cubicBezTo>
                  <a:cubicBezTo>
                    <a:pt x="2309" y="17379"/>
                    <a:pt x="2301" y="17379"/>
                    <a:pt x="2292" y="17378"/>
                  </a:cubicBezTo>
                  <a:cubicBezTo>
                    <a:pt x="2284" y="17378"/>
                    <a:pt x="2275" y="17378"/>
                    <a:pt x="2265" y="17378"/>
                  </a:cubicBezTo>
                  <a:lnTo>
                    <a:pt x="2079" y="17378"/>
                  </a:lnTo>
                  <a:lnTo>
                    <a:pt x="2051" y="17436"/>
                  </a:lnTo>
                  <a:lnTo>
                    <a:pt x="2349" y="17426"/>
                  </a:lnTo>
                  <a:lnTo>
                    <a:pt x="2504" y="17502"/>
                  </a:lnTo>
                  <a:lnTo>
                    <a:pt x="2528" y="17454"/>
                  </a:lnTo>
                  <a:lnTo>
                    <a:pt x="2376" y="17379"/>
                  </a:lnTo>
                  <a:lnTo>
                    <a:pt x="2199" y="17135"/>
                  </a:lnTo>
                  <a:close/>
                  <a:moveTo>
                    <a:pt x="2559" y="16706"/>
                  </a:moveTo>
                  <a:cubicBezTo>
                    <a:pt x="2532" y="16700"/>
                    <a:pt x="2507" y="16698"/>
                    <a:pt x="2483" y="16702"/>
                  </a:cubicBezTo>
                  <a:cubicBezTo>
                    <a:pt x="2474" y="16703"/>
                    <a:pt x="2464" y="16705"/>
                    <a:pt x="2453" y="16709"/>
                  </a:cubicBezTo>
                  <a:cubicBezTo>
                    <a:pt x="2442" y="16712"/>
                    <a:pt x="2430" y="16717"/>
                    <a:pt x="2419" y="16724"/>
                  </a:cubicBezTo>
                  <a:cubicBezTo>
                    <a:pt x="2408" y="16731"/>
                    <a:pt x="2397" y="16740"/>
                    <a:pt x="2387" y="16751"/>
                  </a:cubicBezTo>
                  <a:cubicBezTo>
                    <a:pt x="2377" y="16762"/>
                    <a:pt x="2367" y="16776"/>
                    <a:pt x="2359" y="16793"/>
                  </a:cubicBezTo>
                  <a:cubicBezTo>
                    <a:pt x="2347" y="16817"/>
                    <a:pt x="2341" y="16841"/>
                    <a:pt x="2341" y="16865"/>
                  </a:cubicBezTo>
                  <a:cubicBezTo>
                    <a:pt x="2341" y="16889"/>
                    <a:pt x="2346" y="16912"/>
                    <a:pt x="2356" y="16934"/>
                  </a:cubicBezTo>
                  <a:cubicBezTo>
                    <a:pt x="2367" y="16956"/>
                    <a:pt x="2383" y="16976"/>
                    <a:pt x="2404" y="16996"/>
                  </a:cubicBezTo>
                  <a:cubicBezTo>
                    <a:pt x="2425" y="17015"/>
                    <a:pt x="2452" y="17032"/>
                    <a:pt x="2483" y="17048"/>
                  </a:cubicBezTo>
                  <a:cubicBezTo>
                    <a:pt x="2550" y="17081"/>
                    <a:pt x="2610" y="17091"/>
                    <a:pt x="2661" y="17077"/>
                  </a:cubicBezTo>
                  <a:cubicBezTo>
                    <a:pt x="2682" y="17071"/>
                    <a:pt x="2702" y="17061"/>
                    <a:pt x="2720" y="17047"/>
                  </a:cubicBezTo>
                  <a:cubicBezTo>
                    <a:pt x="2738" y="17033"/>
                    <a:pt x="2753" y="17014"/>
                    <a:pt x="2765" y="16990"/>
                  </a:cubicBezTo>
                  <a:cubicBezTo>
                    <a:pt x="2775" y="16970"/>
                    <a:pt x="2781" y="16950"/>
                    <a:pt x="2783" y="16932"/>
                  </a:cubicBezTo>
                  <a:cubicBezTo>
                    <a:pt x="2785" y="16913"/>
                    <a:pt x="2782" y="16894"/>
                    <a:pt x="2776" y="16873"/>
                  </a:cubicBezTo>
                  <a:cubicBezTo>
                    <a:pt x="2768" y="16844"/>
                    <a:pt x="2753" y="16819"/>
                    <a:pt x="2732" y="16797"/>
                  </a:cubicBezTo>
                  <a:cubicBezTo>
                    <a:pt x="2712" y="16776"/>
                    <a:pt x="2683" y="16756"/>
                    <a:pt x="2645" y="16738"/>
                  </a:cubicBezTo>
                  <a:cubicBezTo>
                    <a:pt x="2614" y="16722"/>
                    <a:pt x="2585" y="16711"/>
                    <a:pt x="2559" y="16706"/>
                  </a:cubicBezTo>
                  <a:close/>
                  <a:moveTo>
                    <a:pt x="2668" y="16816"/>
                  </a:moveTo>
                  <a:cubicBezTo>
                    <a:pt x="2680" y="16823"/>
                    <a:pt x="2690" y="16830"/>
                    <a:pt x="2698" y="16837"/>
                  </a:cubicBezTo>
                  <a:cubicBezTo>
                    <a:pt x="2706" y="16844"/>
                    <a:pt x="2713" y="16851"/>
                    <a:pt x="2719" y="16858"/>
                  </a:cubicBezTo>
                  <a:cubicBezTo>
                    <a:pt x="2724" y="16866"/>
                    <a:pt x="2729" y="16873"/>
                    <a:pt x="2732" y="16881"/>
                  </a:cubicBezTo>
                  <a:cubicBezTo>
                    <a:pt x="2739" y="16895"/>
                    <a:pt x="2742" y="16910"/>
                    <a:pt x="2742" y="16924"/>
                  </a:cubicBezTo>
                  <a:cubicBezTo>
                    <a:pt x="2742" y="16939"/>
                    <a:pt x="2738" y="16954"/>
                    <a:pt x="2730" y="16970"/>
                  </a:cubicBezTo>
                  <a:cubicBezTo>
                    <a:pt x="2726" y="16978"/>
                    <a:pt x="2721" y="16986"/>
                    <a:pt x="2715" y="16993"/>
                  </a:cubicBezTo>
                  <a:cubicBezTo>
                    <a:pt x="2709" y="17001"/>
                    <a:pt x="2702" y="17007"/>
                    <a:pt x="2695" y="17013"/>
                  </a:cubicBezTo>
                  <a:cubicBezTo>
                    <a:pt x="2688" y="17018"/>
                    <a:pt x="2680" y="17023"/>
                    <a:pt x="2672" y="17027"/>
                  </a:cubicBezTo>
                  <a:cubicBezTo>
                    <a:pt x="2664" y="17030"/>
                    <a:pt x="2655" y="17032"/>
                    <a:pt x="2647" y="17033"/>
                  </a:cubicBezTo>
                  <a:cubicBezTo>
                    <a:pt x="2630" y="17034"/>
                    <a:pt x="2608" y="17031"/>
                    <a:pt x="2582" y="17024"/>
                  </a:cubicBezTo>
                  <a:cubicBezTo>
                    <a:pt x="2556" y="17016"/>
                    <a:pt x="2528" y="17006"/>
                    <a:pt x="2499" y="16991"/>
                  </a:cubicBezTo>
                  <a:cubicBezTo>
                    <a:pt x="2474" y="16979"/>
                    <a:pt x="2454" y="16967"/>
                    <a:pt x="2439" y="16955"/>
                  </a:cubicBezTo>
                  <a:cubicBezTo>
                    <a:pt x="2423" y="16944"/>
                    <a:pt x="2410" y="16931"/>
                    <a:pt x="2401" y="16918"/>
                  </a:cubicBezTo>
                  <a:cubicBezTo>
                    <a:pt x="2390" y="16904"/>
                    <a:pt x="2385" y="16887"/>
                    <a:pt x="2384" y="16868"/>
                  </a:cubicBezTo>
                  <a:cubicBezTo>
                    <a:pt x="2383" y="16849"/>
                    <a:pt x="2387" y="16830"/>
                    <a:pt x="2396" y="16812"/>
                  </a:cubicBezTo>
                  <a:cubicBezTo>
                    <a:pt x="2408" y="16789"/>
                    <a:pt x="2422" y="16773"/>
                    <a:pt x="2440" y="16764"/>
                  </a:cubicBezTo>
                  <a:cubicBezTo>
                    <a:pt x="2457" y="16755"/>
                    <a:pt x="2475" y="16751"/>
                    <a:pt x="2493" y="16751"/>
                  </a:cubicBezTo>
                  <a:cubicBezTo>
                    <a:pt x="2510" y="16751"/>
                    <a:pt x="2529" y="16755"/>
                    <a:pt x="2550" y="16762"/>
                  </a:cubicBezTo>
                  <a:cubicBezTo>
                    <a:pt x="2572" y="16769"/>
                    <a:pt x="2597" y="16779"/>
                    <a:pt x="2626" y="16793"/>
                  </a:cubicBezTo>
                  <a:cubicBezTo>
                    <a:pt x="2642" y="16801"/>
                    <a:pt x="2656" y="16809"/>
                    <a:pt x="2668" y="16816"/>
                  </a:cubicBezTo>
                  <a:close/>
                  <a:moveTo>
                    <a:pt x="2593" y="16335"/>
                  </a:moveTo>
                  <a:lnTo>
                    <a:pt x="2492" y="16540"/>
                  </a:lnTo>
                  <a:lnTo>
                    <a:pt x="2883" y="16733"/>
                  </a:lnTo>
                  <a:lnTo>
                    <a:pt x="2906" y="16685"/>
                  </a:lnTo>
                  <a:lnTo>
                    <a:pt x="2720" y="16594"/>
                  </a:lnTo>
                  <a:lnTo>
                    <a:pt x="2782" y="16469"/>
                  </a:lnTo>
                  <a:lnTo>
                    <a:pt x="2744" y="16450"/>
                  </a:lnTo>
                  <a:lnTo>
                    <a:pt x="2682" y="16575"/>
                  </a:lnTo>
                  <a:lnTo>
                    <a:pt x="2554" y="16512"/>
                  </a:lnTo>
                  <a:lnTo>
                    <a:pt x="2628" y="16361"/>
                  </a:lnTo>
                  <a:lnTo>
                    <a:pt x="2593" y="16335"/>
                  </a:lnTo>
                  <a:close/>
                  <a:moveTo>
                    <a:pt x="3259" y="15968"/>
                  </a:moveTo>
                  <a:lnTo>
                    <a:pt x="2851" y="15809"/>
                  </a:lnTo>
                  <a:lnTo>
                    <a:pt x="2818" y="15878"/>
                  </a:lnTo>
                  <a:lnTo>
                    <a:pt x="3041" y="16080"/>
                  </a:lnTo>
                  <a:cubicBezTo>
                    <a:pt x="3055" y="16091"/>
                    <a:pt x="3067" y="16102"/>
                    <a:pt x="3078" y="16110"/>
                  </a:cubicBezTo>
                  <a:cubicBezTo>
                    <a:pt x="3090" y="16119"/>
                    <a:pt x="3096" y="16124"/>
                    <a:pt x="3097" y="16125"/>
                  </a:cubicBezTo>
                  <a:cubicBezTo>
                    <a:pt x="3095" y="16124"/>
                    <a:pt x="3087" y="16122"/>
                    <a:pt x="3074" y="16119"/>
                  </a:cubicBezTo>
                  <a:cubicBezTo>
                    <a:pt x="3060" y="16115"/>
                    <a:pt x="3043" y="16111"/>
                    <a:pt x="3022" y="16107"/>
                  </a:cubicBezTo>
                  <a:lnTo>
                    <a:pt x="2732" y="16053"/>
                  </a:lnTo>
                  <a:lnTo>
                    <a:pt x="2698" y="16121"/>
                  </a:lnTo>
                  <a:lnTo>
                    <a:pt x="3072" y="16347"/>
                  </a:lnTo>
                  <a:lnTo>
                    <a:pt x="3094" y="16302"/>
                  </a:lnTo>
                  <a:lnTo>
                    <a:pt x="2827" y="16144"/>
                  </a:lnTo>
                  <a:cubicBezTo>
                    <a:pt x="2821" y="16141"/>
                    <a:pt x="2815" y="16137"/>
                    <a:pt x="2807" y="16133"/>
                  </a:cubicBezTo>
                  <a:cubicBezTo>
                    <a:pt x="2800" y="16128"/>
                    <a:pt x="2792" y="16124"/>
                    <a:pt x="2785" y="16120"/>
                  </a:cubicBezTo>
                  <a:cubicBezTo>
                    <a:pt x="2778" y="16116"/>
                    <a:pt x="2771" y="16112"/>
                    <a:pt x="2766" y="16109"/>
                  </a:cubicBezTo>
                  <a:cubicBezTo>
                    <a:pt x="2761" y="16106"/>
                    <a:pt x="2758" y="16104"/>
                    <a:pt x="2756" y="16104"/>
                  </a:cubicBezTo>
                  <a:cubicBezTo>
                    <a:pt x="2761" y="16105"/>
                    <a:pt x="2770" y="16107"/>
                    <a:pt x="2784" y="16109"/>
                  </a:cubicBezTo>
                  <a:cubicBezTo>
                    <a:pt x="2799" y="16112"/>
                    <a:pt x="2817" y="16116"/>
                    <a:pt x="2839" y="16120"/>
                  </a:cubicBezTo>
                  <a:lnTo>
                    <a:pt x="3155" y="16179"/>
                  </a:lnTo>
                  <a:lnTo>
                    <a:pt x="3174" y="16139"/>
                  </a:lnTo>
                  <a:lnTo>
                    <a:pt x="2924" y="15912"/>
                  </a:lnTo>
                  <a:cubicBezTo>
                    <a:pt x="2919" y="15908"/>
                    <a:pt x="2913" y="15903"/>
                    <a:pt x="2907" y="15898"/>
                  </a:cubicBezTo>
                  <a:cubicBezTo>
                    <a:pt x="2901" y="15893"/>
                    <a:pt x="2896" y="15888"/>
                    <a:pt x="2890" y="15884"/>
                  </a:cubicBezTo>
                  <a:cubicBezTo>
                    <a:pt x="2885" y="15879"/>
                    <a:pt x="2881" y="15875"/>
                    <a:pt x="2877" y="15872"/>
                  </a:cubicBezTo>
                  <a:cubicBezTo>
                    <a:pt x="2873" y="15869"/>
                    <a:pt x="2871" y="15868"/>
                    <a:pt x="2871" y="15867"/>
                  </a:cubicBezTo>
                  <a:cubicBezTo>
                    <a:pt x="2871" y="15867"/>
                    <a:pt x="2874" y="15868"/>
                    <a:pt x="2879" y="15870"/>
                  </a:cubicBezTo>
                  <a:cubicBezTo>
                    <a:pt x="2883" y="15873"/>
                    <a:pt x="2889" y="15875"/>
                    <a:pt x="2896" y="15878"/>
                  </a:cubicBezTo>
                  <a:cubicBezTo>
                    <a:pt x="2902" y="15881"/>
                    <a:pt x="2910" y="15884"/>
                    <a:pt x="2917" y="15888"/>
                  </a:cubicBezTo>
                  <a:cubicBezTo>
                    <a:pt x="2925" y="15891"/>
                    <a:pt x="2932" y="15894"/>
                    <a:pt x="2938" y="15896"/>
                  </a:cubicBezTo>
                  <a:lnTo>
                    <a:pt x="3236" y="16015"/>
                  </a:lnTo>
                  <a:lnTo>
                    <a:pt x="3259" y="15968"/>
                  </a:lnTo>
                  <a:close/>
                  <a:moveTo>
                    <a:pt x="3043" y="15419"/>
                  </a:moveTo>
                  <a:lnTo>
                    <a:pt x="3021" y="15466"/>
                  </a:lnTo>
                  <a:lnTo>
                    <a:pt x="3293" y="15600"/>
                  </a:lnTo>
                  <a:cubicBezTo>
                    <a:pt x="3306" y="15606"/>
                    <a:pt x="3317" y="15613"/>
                    <a:pt x="3326" y="15619"/>
                  </a:cubicBezTo>
                  <a:cubicBezTo>
                    <a:pt x="3334" y="15625"/>
                    <a:pt x="3341" y="15634"/>
                    <a:pt x="3347" y="15644"/>
                  </a:cubicBezTo>
                  <a:cubicBezTo>
                    <a:pt x="3352" y="15654"/>
                    <a:pt x="3353" y="15666"/>
                    <a:pt x="3352" y="15680"/>
                  </a:cubicBezTo>
                  <a:cubicBezTo>
                    <a:pt x="3350" y="15694"/>
                    <a:pt x="3345" y="15709"/>
                    <a:pt x="3337" y="15725"/>
                  </a:cubicBezTo>
                  <a:cubicBezTo>
                    <a:pt x="3331" y="15738"/>
                    <a:pt x="3325" y="15747"/>
                    <a:pt x="3318" y="15755"/>
                  </a:cubicBezTo>
                  <a:cubicBezTo>
                    <a:pt x="3312" y="15763"/>
                    <a:pt x="3305" y="15769"/>
                    <a:pt x="3298" y="15773"/>
                  </a:cubicBezTo>
                  <a:cubicBezTo>
                    <a:pt x="3291" y="15777"/>
                    <a:pt x="3285" y="15780"/>
                    <a:pt x="3279" y="15781"/>
                  </a:cubicBezTo>
                  <a:cubicBezTo>
                    <a:pt x="3272" y="15783"/>
                    <a:pt x="3266" y="15783"/>
                    <a:pt x="3261" y="15783"/>
                  </a:cubicBezTo>
                  <a:cubicBezTo>
                    <a:pt x="3254" y="15783"/>
                    <a:pt x="3245" y="15780"/>
                    <a:pt x="3233" y="15776"/>
                  </a:cubicBezTo>
                  <a:cubicBezTo>
                    <a:pt x="3222" y="15772"/>
                    <a:pt x="3211" y="15767"/>
                    <a:pt x="3202" y="15762"/>
                  </a:cubicBezTo>
                  <a:lnTo>
                    <a:pt x="2938" y="15633"/>
                  </a:lnTo>
                  <a:lnTo>
                    <a:pt x="2916" y="15679"/>
                  </a:lnTo>
                  <a:lnTo>
                    <a:pt x="3196" y="15817"/>
                  </a:lnTo>
                  <a:cubicBezTo>
                    <a:pt x="3205" y="15821"/>
                    <a:pt x="3215" y="15825"/>
                    <a:pt x="3227" y="15830"/>
                  </a:cubicBezTo>
                  <a:cubicBezTo>
                    <a:pt x="3239" y="15834"/>
                    <a:pt x="3250" y="15836"/>
                    <a:pt x="3263" y="15835"/>
                  </a:cubicBezTo>
                  <a:cubicBezTo>
                    <a:pt x="3287" y="15834"/>
                    <a:pt x="3308" y="15827"/>
                    <a:pt x="3326" y="15813"/>
                  </a:cubicBezTo>
                  <a:cubicBezTo>
                    <a:pt x="3344" y="15800"/>
                    <a:pt x="3361" y="15778"/>
                    <a:pt x="3376" y="15747"/>
                  </a:cubicBezTo>
                  <a:cubicBezTo>
                    <a:pt x="3388" y="15723"/>
                    <a:pt x="3395" y="15702"/>
                    <a:pt x="3398" y="15684"/>
                  </a:cubicBezTo>
                  <a:cubicBezTo>
                    <a:pt x="3401" y="15665"/>
                    <a:pt x="3400" y="15647"/>
                    <a:pt x="3396" y="15630"/>
                  </a:cubicBezTo>
                  <a:cubicBezTo>
                    <a:pt x="3392" y="15613"/>
                    <a:pt x="3384" y="15600"/>
                    <a:pt x="3373" y="15589"/>
                  </a:cubicBezTo>
                  <a:cubicBezTo>
                    <a:pt x="3362" y="15579"/>
                    <a:pt x="3345" y="15568"/>
                    <a:pt x="3321" y="15556"/>
                  </a:cubicBezTo>
                  <a:lnTo>
                    <a:pt x="3043" y="15419"/>
                  </a:lnTo>
                  <a:close/>
                  <a:moveTo>
                    <a:pt x="2886" y="15550"/>
                  </a:moveTo>
                  <a:cubicBezTo>
                    <a:pt x="2878" y="15553"/>
                    <a:pt x="2871" y="15559"/>
                    <a:pt x="2867" y="15567"/>
                  </a:cubicBezTo>
                  <a:cubicBezTo>
                    <a:pt x="2863" y="15575"/>
                    <a:pt x="2863" y="15583"/>
                    <a:pt x="2866" y="15592"/>
                  </a:cubicBezTo>
                  <a:cubicBezTo>
                    <a:pt x="2869" y="15600"/>
                    <a:pt x="2874" y="15607"/>
                    <a:pt x="2882" y="15610"/>
                  </a:cubicBezTo>
                  <a:cubicBezTo>
                    <a:pt x="2890" y="15615"/>
                    <a:pt x="2899" y="15615"/>
                    <a:pt x="2908" y="15612"/>
                  </a:cubicBezTo>
                  <a:cubicBezTo>
                    <a:pt x="2916" y="15610"/>
                    <a:pt x="2923" y="15604"/>
                    <a:pt x="2927" y="15596"/>
                  </a:cubicBezTo>
                  <a:cubicBezTo>
                    <a:pt x="2931" y="15587"/>
                    <a:pt x="2931" y="15579"/>
                    <a:pt x="2928" y="15571"/>
                  </a:cubicBezTo>
                  <a:cubicBezTo>
                    <a:pt x="2925" y="15562"/>
                    <a:pt x="2919" y="15556"/>
                    <a:pt x="2911" y="15552"/>
                  </a:cubicBezTo>
                  <a:cubicBezTo>
                    <a:pt x="2903" y="15548"/>
                    <a:pt x="2895" y="15547"/>
                    <a:pt x="2886" y="15550"/>
                  </a:cubicBezTo>
                  <a:close/>
                  <a:moveTo>
                    <a:pt x="2944" y="15433"/>
                  </a:moveTo>
                  <a:cubicBezTo>
                    <a:pt x="2935" y="15436"/>
                    <a:pt x="2929" y="15442"/>
                    <a:pt x="2925" y="15450"/>
                  </a:cubicBezTo>
                  <a:cubicBezTo>
                    <a:pt x="2921" y="15458"/>
                    <a:pt x="2920" y="15467"/>
                    <a:pt x="2923" y="15475"/>
                  </a:cubicBezTo>
                  <a:cubicBezTo>
                    <a:pt x="2926" y="15484"/>
                    <a:pt x="2931" y="15490"/>
                    <a:pt x="2939" y="15494"/>
                  </a:cubicBezTo>
                  <a:cubicBezTo>
                    <a:pt x="2948" y="15498"/>
                    <a:pt x="2956" y="15498"/>
                    <a:pt x="2965" y="15496"/>
                  </a:cubicBezTo>
                  <a:cubicBezTo>
                    <a:pt x="2974" y="15493"/>
                    <a:pt x="2980" y="15487"/>
                    <a:pt x="2984" y="15479"/>
                  </a:cubicBezTo>
                  <a:cubicBezTo>
                    <a:pt x="2988" y="15471"/>
                    <a:pt x="2989" y="15462"/>
                    <a:pt x="2986" y="15454"/>
                  </a:cubicBezTo>
                  <a:cubicBezTo>
                    <a:pt x="2982" y="15445"/>
                    <a:pt x="2977" y="15439"/>
                    <a:pt x="2968" y="15435"/>
                  </a:cubicBezTo>
                  <a:cubicBezTo>
                    <a:pt x="2960" y="15431"/>
                    <a:pt x="2952" y="15431"/>
                    <a:pt x="2944" y="15433"/>
                  </a:cubicBezTo>
                  <a:close/>
                  <a:moveTo>
                    <a:pt x="3617" y="15239"/>
                  </a:moveTo>
                  <a:lnTo>
                    <a:pt x="3227" y="15047"/>
                  </a:lnTo>
                  <a:lnTo>
                    <a:pt x="3204" y="15093"/>
                  </a:lnTo>
                  <a:lnTo>
                    <a:pt x="3417" y="15196"/>
                  </a:lnTo>
                  <a:cubicBezTo>
                    <a:pt x="3431" y="15203"/>
                    <a:pt x="3445" y="15209"/>
                    <a:pt x="3460" y="15216"/>
                  </a:cubicBezTo>
                  <a:cubicBezTo>
                    <a:pt x="3474" y="15222"/>
                    <a:pt x="3487" y="15228"/>
                    <a:pt x="3499" y="15233"/>
                  </a:cubicBezTo>
                  <a:cubicBezTo>
                    <a:pt x="3510" y="15238"/>
                    <a:pt x="3519" y="15242"/>
                    <a:pt x="3527" y="15245"/>
                  </a:cubicBezTo>
                  <a:cubicBezTo>
                    <a:pt x="3534" y="15248"/>
                    <a:pt x="3538" y="15249"/>
                    <a:pt x="3539" y="15249"/>
                  </a:cubicBezTo>
                  <a:cubicBezTo>
                    <a:pt x="3537" y="15249"/>
                    <a:pt x="3534" y="15249"/>
                    <a:pt x="3528" y="15248"/>
                  </a:cubicBezTo>
                  <a:cubicBezTo>
                    <a:pt x="3521" y="15248"/>
                    <a:pt x="3514" y="15248"/>
                    <a:pt x="3505" y="15247"/>
                  </a:cubicBezTo>
                  <a:cubicBezTo>
                    <a:pt x="3495" y="15247"/>
                    <a:pt x="3485" y="15246"/>
                    <a:pt x="3473" y="15246"/>
                  </a:cubicBezTo>
                  <a:cubicBezTo>
                    <a:pt x="3462" y="15245"/>
                    <a:pt x="3450" y="15245"/>
                    <a:pt x="3439" y="15245"/>
                  </a:cubicBezTo>
                  <a:lnTo>
                    <a:pt x="3125" y="15253"/>
                  </a:lnTo>
                  <a:lnTo>
                    <a:pt x="3099" y="15307"/>
                  </a:lnTo>
                  <a:lnTo>
                    <a:pt x="3490" y="15499"/>
                  </a:lnTo>
                  <a:lnTo>
                    <a:pt x="3513" y="15451"/>
                  </a:lnTo>
                  <a:lnTo>
                    <a:pt x="3285" y="15341"/>
                  </a:lnTo>
                  <a:cubicBezTo>
                    <a:pt x="3274" y="15336"/>
                    <a:pt x="3263" y="15330"/>
                    <a:pt x="3251" y="15325"/>
                  </a:cubicBezTo>
                  <a:cubicBezTo>
                    <a:pt x="3239" y="15320"/>
                    <a:pt x="3228" y="15316"/>
                    <a:pt x="3218" y="15311"/>
                  </a:cubicBezTo>
                  <a:cubicBezTo>
                    <a:pt x="3208" y="15307"/>
                    <a:pt x="3200" y="15304"/>
                    <a:pt x="3192" y="15300"/>
                  </a:cubicBezTo>
                  <a:cubicBezTo>
                    <a:pt x="3185" y="15297"/>
                    <a:pt x="3180" y="15295"/>
                    <a:pt x="3177" y="15294"/>
                  </a:cubicBezTo>
                  <a:cubicBezTo>
                    <a:pt x="3181" y="15295"/>
                    <a:pt x="3187" y="15295"/>
                    <a:pt x="3194" y="15296"/>
                  </a:cubicBezTo>
                  <a:cubicBezTo>
                    <a:pt x="3201" y="15296"/>
                    <a:pt x="3210" y="15296"/>
                    <a:pt x="3220" y="15296"/>
                  </a:cubicBezTo>
                  <a:cubicBezTo>
                    <a:pt x="3230" y="15296"/>
                    <a:pt x="3242" y="15296"/>
                    <a:pt x="3254" y="15296"/>
                  </a:cubicBezTo>
                  <a:cubicBezTo>
                    <a:pt x="3266" y="15296"/>
                    <a:pt x="3279" y="15296"/>
                    <a:pt x="3292" y="15296"/>
                  </a:cubicBezTo>
                  <a:lnTo>
                    <a:pt x="3593" y="15288"/>
                  </a:lnTo>
                  <a:lnTo>
                    <a:pt x="3617" y="15239"/>
                  </a:lnTo>
                  <a:close/>
                  <a:moveTo>
                    <a:pt x="3642" y="14818"/>
                  </a:moveTo>
                  <a:cubicBezTo>
                    <a:pt x="3627" y="14817"/>
                    <a:pt x="3613" y="14818"/>
                    <a:pt x="3600" y="14821"/>
                  </a:cubicBezTo>
                  <a:cubicBezTo>
                    <a:pt x="3587" y="14825"/>
                    <a:pt x="3575" y="14830"/>
                    <a:pt x="3564" y="14838"/>
                  </a:cubicBezTo>
                  <a:cubicBezTo>
                    <a:pt x="3553" y="14845"/>
                    <a:pt x="3541" y="14856"/>
                    <a:pt x="3527" y="14871"/>
                  </a:cubicBezTo>
                  <a:lnTo>
                    <a:pt x="3490" y="14909"/>
                  </a:lnTo>
                  <a:cubicBezTo>
                    <a:pt x="3471" y="14928"/>
                    <a:pt x="3455" y="14941"/>
                    <a:pt x="3440" y="14946"/>
                  </a:cubicBezTo>
                  <a:cubicBezTo>
                    <a:pt x="3426" y="14952"/>
                    <a:pt x="3411" y="14950"/>
                    <a:pt x="3395" y="14943"/>
                  </a:cubicBezTo>
                  <a:cubicBezTo>
                    <a:pt x="3375" y="14933"/>
                    <a:pt x="3362" y="14918"/>
                    <a:pt x="3358" y="14899"/>
                  </a:cubicBezTo>
                  <a:cubicBezTo>
                    <a:pt x="3353" y="14879"/>
                    <a:pt x="3357" y="14857"/>
                    <a:pt x="3369" y="14833"/>
                  </a:cubicBezTo>
                  <a:cubicBezTo>
                    <a:pt x="3373" y="14824"/>
                    <a:pt x="3377" y="14817"/>
                    <a:pt x="3382" y="14810"/>
                  </a:cubicBezTo>
                  <a:cubicBezTo>
                    <a:pt x="3387" y="14803"/>
                    <a:pt x="3392" y="14797"/>
                    <a:pt x="3399" y="14791"/>
                  </a:cubicBezTo>
                  <a:cubicBezTo>
                    <a:pt x="3405" y="14784"/>
                    <a:pt x="3412" y="14778"/>
                    <a:pt x="3420" y="14773"/>
                  </a:cubicBezTo>
                  <a:cubicBezTo>
                    <a:pt x="3428" y="14767"/>
                    <a:pt x="3438" y="14760"/>
                    <a:pt x="3449" y="14754"/>
                  </a:cubicBezTo>
                  <a:lnTo>
                    <a:pt x="3425" y="14717"/>
                  </a:lnTo>
                  <a:cubicBezTo>
                    <a:pt x="3382" y="14742"/>
                    <a:pt x="3350" y="14775"/>
                    <a:pt x="3329" y="14816"/>
                  </a:cubicBezTo>
                  <a:cubicBezTo>
                    <a:pt x="3320" y="14835"/>
                    <a:pt x="3314" y="14854"/>
                    <a:pt x="3312" y="14872"/>
                  </a:cubicBezTo>
                  <a:cubicBezTo>
                    <a:pt x="3310" y="14890"/>
                    <a:pt x="3311" y="14908"/>
                    <a:pt x="3316" y="14923"/>
                  </a:cubicBezTo>
                  <a:cubicBezTo>
                    <a:pt x="3320" y="14939"/>
                    <a:pt x="3328" y="14954"/>
                    <a:pt x="3338" y="14966"/>
                  </a:cubicBezTo>
                  <a:cubicBezTo>
                    <a:pt x="3349" y="14979"/>
                    <a:pt x="3363" y="14990"/>
                    <a:pt x="3379" y="14998"/>
                  </a:cubicBezTo>
                  <a:cubicBezTo>
                    <a:pt x="3404" y="15010"/>
                    <a:pt x="3430" y="15013"/>
                    <a:pt x="3455" y="15005"/>
                  </a:cubicBezTo>
                  <a:cubicBezTo>
                    <a:pt x="3467" y="15001"/>
                    <a:pt x="3478" y="14995"/>
                    <a:pt x="3488" y="14987"/>
                  </a:cubicBezTo>
                  <a:cubicBezTo>
                    <a:pt x="3498" y="14979"/>
                    <a:pt x="3510" y="14968"/>
                    <a:pt x="3524" y="14953"/>
                  </a:cubicBezTo>
                  <a:lnTo>
                    <a:pt x="3556" y="14919"/>
                  </a:lnTo>
                  <a:cubicBezTo>
                    <a:pt x="3593" y="14879"/>
                    <a:pt x="3628" y="14868"/>
                    <a:pt x="3663" y="14885"/>
                  </a:cubicBezTo>
                  <a:cubicBezTo>
                    <a:pt x="3686" y="14896"/>
                    <a:pt x="3700" y="14915"/>
                    <a:pt x="3705" y="14940"/>
                  </a:cubicBezTo>
                  <a:cubicBezTo>
                    <a:pt x="3707" y="14952"/>
                    <a:pt x="3708" y="14963"/>
                    <a:pt x="3706" y="14973"/>
                  </a:cubicBezTo>
                  <a:cubicBezTo>
                    <a:pt x="3704" y="14983"/>
                    <a:pt x="3699" y="14996"/>
                    <a:pt x="3692" y="15011"/>
                  </a:cubicBezTo>
                  <a:cubicBezTo>
                    <a:pt x="3682" y="15031"/>
                    <a:pt x="3670" y="15048"/>
                    <a:pt x="3657" y="15062"/>
                  </a:cubicBezTo>
                  <a:cubicBezTo>
                    <a:pt x="3643" y="15076"/>
                    <a:pt x="3626" y="15089"/>
                    <a:pt x="3606" y="15099"/>
                  </a:cubicBezTo>
                  <a:lnTo>
                    <a:pt x="3633" y="15138"/>
                  </a:lnTo>
                  <a:cubicBezTo>
                    <a:pt x="3654" y="15124"/>
                    <a:pt x="3673" y="15109"/>
                    <a:pt x="3689" y="15091"/>
                  </a:cubicBezTo>
                  <a:cubicBezTo>
                    <a:pt x="3705" y="15074"/>
                    <a:pt x="3718" y="15053"/>
                    <a:pt x="3730" y="15030"/>
                  </a:cubicBezTo>
                  <a:cubicBezTo>
                    <a:pt x="3739" y="15011"/>
                    <a:pt x="3745" y="14994"/>
                    <a:pt x="3748" y="14979"/>
                  </a:cubicBezTo>
                  <a:cubicBezTo>
                    <a:pt x="3751" y="14963"/>
                    <a:pt x="3751" y="14947"/>
                    <a:pt x="3749" y="14930"/>
                  </a:cubicBezTo>
                  <a:cubicBezTo>
                    <a:pt x="3747" y="14907"/>
                    <a:pt x="3739" y="14887"/>
                    <a:pt x="3727" y="14869"/>
                  </a:cubicBezTo>
                  <a:cubicBezTo>
                    <a:pt x="3715" y="14852"/>
                    <a:pt x="3700" y="14839"/>
                    <a:pt x="3682" y="14830"/>
                  </a:cubicBezTo>
                  <a:cubicBezTo>
                    <a:pt x="3669" y="14824"/>
                    <a:pt x="3656" y="14820"/>
                    <a:pt x="3642" y="14818"/>
                  </a:cubicBezTo>
                  <a:close/>
                  <a:moveTo>
                    <a:pt x="3559" y="14372"/>
                  </a:moveTo>
                  <a:lnTo>
                    <a:pt x="3432" y="14630"/>
                  </a:lnTo>
                  <a:lnTo>
                    <a:pt x="3471" y="14650"/>
                  </a:lnTo>
                  <a:lnTo>
                    <a:pt x="3522" y="14545"/>
                  </a:lnTo>
                  <a:lnTo>
                    <a:pt x="3874" y="14718"/>
                  </a:lnTo>
                  <a:lnTo>
                    <a:pt x="3896" y="14673"/>
                  </a:lnTo>
                  <a:lnTo>
                    <a:pt x="3545" y="14500"/>
                  </a:lnTo>
                  <a:lnTo>
                    <a:pt x="3597" y="14394"/>
                  </a:lnTo>
                  <a:lnTo>
                    <a:pt x="3559" y="14372"/>
                  </a:lnTo>
                  <a:close/>
                  <a:moveTo>
                    <a:pt x="4091" y="14277"/>
                  </a:moveTo>
                  <a:lnTo>
                    <a:pt x="4050" y="14258"/>
                  </a:lnTo>
                  <a:lnTo>
                    <a:pt x="3966" y="14430"/>
                  </a:lnTo>
                  <a:lnTo>
                    <a:pt x="3823" y="14359"/>
                  </a:lnTo>
                  <a:lnTo>
                    <a:pt x="3888" y="14225"/>
                  </a:lnTo>
                  <a:lnTo>
                    <a:pt x="3848" y="14205"/>
                  </a:lnTo>
                  <a:lnTo>
                    <a:pt x="3782" y="14339"/>
                  </a:lnTo>
                  <a:lnTo>
                    <a:pt x="3654" y="14276"/>
                  </a:lnTo>
                  <a:lnTo>
                    <a:pt x="3733" y="14116"/>
                  </a:lnTo>
                  <a:lnTo>
                    <a:pt x="3697" y="14091"/>
                  </a:lnTo>
                  <a:lnTo>
                    <a:pt x="3592" y="14304"/>
                  </a:lnTo>
                  <a:lnTo>
                    <a:pt x="3983" y="14497"/>
                  </a:lnTo>
                  <a:lnTo>
                    <a:pt x="4091" y="14277"/>
                  </a:lnTo>
                  <a:close/>
                  <a:moveTo>
                    <a:pt x="4254" y="13946"/>
                  </a:moveTo>
                  <a:lnTo>
                    <a:pt x="4217" y="13951"/>
                  </a:lnTo>
                  <a:cubicBezTo>
                    <a:pt x="4201" y="13953"/>
                    <a:pt x="4183" y="13956"/>
                    <a:pt x="4164" y="13958"/>
                  </a:cubicBezTo>
                  <a:cubicBezTo>
                    <a:pt x="4145" y="13961"/>
                    <a:pt x="4128" y="13963"/>
                    <a:pt x="4111" y="13966"/>
                  </a:cubicBezTo>
                  <a:cubicBezTo>
                    <a:pt x="4095" y="13968"/>
                    <a:pt x="4083" y="13970"/>
                    <a:pt x="4077" y="13971"/>
                  </a:cubicBezTo>
                  <a:cubicBezTo>
                    <a:pt x="4067" y="13973"/>
                    <a:pt x="4056" y="13975"/>
                    <a:pt x="4044" y="13978"/>
                  </a:cubicBezTo>
                  <a:cubicBezTo>
                    <a:pt x="4032" y="13981"/>
                    <a:pt x="4022" y="13985"/>
                    <a:pt x="4013" y="13989"/>
                  </a:cubicBezTo>
                  <a:lnTo>
                    <a:pt x="4016" y="13983"/>
                  </a:lnTo>
                  <a:cubicBezTo>
                    <a:pt x="4024" y="13968"/>
                    <a:pt x="4028" y="13952"/>
                    <a:pt x="4029" y="13937"/>
                  </a:cubicBezTo>
                  <a:cubicBezTo>
                    <a:pt x="4030" y="13922"/>
                    <a:pt x="4029" y="13907"/>
                    <a:pt x="4024" y="13893"/>
                  </a:cubicBezTo>
                  <a:cubicBezTo>
                    <a:pt x="4019" y="13880"/>
                    <a:pt x="4011" y="13867"/>
                    <a:pt x="4000" y="13856"/>
                  </a:cubicBezTo>
                  <a:cubicBezTo>
                    <a:pt x="3989" y="13844"/>
                    <a:pt x="3976" y="13835"/>
                    <a:pt x="3960" y="13827"/>
                  </a:cubicBezTo>
                  <a:cubicBezTo>
                    <a:pt x="3950" y="13822"/>
                    <a:pt x="3940" y="13818"/>
                    <a:pt x="3930" y="13816"/>
                  </a:cubicBezTo>
                  <a:cubicBezTo>
                    <a:pt x="3920" y="13815"/>
                    <a:pt x="3911" y="13814"/>
                    <a:pt x="3902" y="13814"/>
                  </a:cubicBezTo>
                  <a:cubicBezTo>
                    <a:pt x="3894" y="13815"/>
                    <a:pt x="3886" y="13816"/>
                    <a:pt x="3878" y="13818"/>
                  </a:cubicBezTo>
                  <a:cubicBezTo>
                    <a:pt x="3871" y="13820"/>
                    <a:pt x="3865" y="13822"/>
                    <a:pt x="3859" y="13825"/>
                  </a:cubicBezTo>
                  <a:cubicBezTo>
                    <a:pt x="3853" y="13828"/>
                    <a:pt x="3847" y="13831"/>
                    <a:pt x="3841" y="13836"/>
                  </a:cubicBezTo>
                  <a:cubicBezTo>
                    <a:pt x="3835" y="13840"/>
                    <a:pt x="3829" y="13846"/>
                    <a:pt x="3823" y="13852"/>
                  </a:cubicBezTo>
                  <a:cubicBezTo>
                    <a:pt x="3817" y="13859"/>
                    <a:pt x="3811" y="13867"/>
                    <a:pt x="3804" y="13877"/>
                  </a:cubicBezTo>
                  <a:cubicBezTo>
                    <a:pt x="3798" y="13886"/>
                    <a:pt x="3792" y="13898"/>
                    <a:pt x="3785" y="13911"/>
                  </a:cubicBezTo>
                  <a:lnTo>
                    <a:pt x="3740" y="14002"/>
                  </a:lnTo>
                  <a:lnTo>
                    <a:pt x="4131" y="14195"/>
                  </a:lnTo>
                  <a:lnTo>
                    <a:pt x="4154" y="14149"/>
                  </a:lnTo>
                  <a:lnTo>
                    <a:pt x="3977" y="14062"/>
                  </a:lnTo>
                  <a:cubicBezTo>
                    <a:pt x="3982" y="14053"/>
                    <a:pt x="3988" y="14046"/>
                    <a:pt x="3994" y="14041"/>
                  </a:cubicBezTo>
                  <a:cubicBezTo>
                    <a:pt x="4001" y="14037"/>
                    <a:pt x="4010" y="14033"/>
                    <a:pt x="4024" y="14030"/>
                  </a:cubicBezTo>
                  <a:cubicBezTo>
                    <a:pt x="4047" y="14025"/>
                    <a:pt x="4069" y="14021"/>
                    <a:pt x="4090" y="14018"/>
                  </a:cubicBezTo>
                  <a:cubicBezTo>
                    <a:pt x="4111" y="14015"/>
                    <a:pt x="4130" y="14012"/>
                    <a:pt x="4147" y="14010"/>
                  </a:cubicBezTo>
                  <a:cubicBezTo>
                    <a:pt x="4164" y="14008"/>
                    <a:pt x="4180" y="14006"/>
                    <a:pt x="4193" y="14006"/>
                  </a:cubicBezTo>
                  <a:cubicBezTo>
                    <a:pt x="4206" y="14005"/>
                    <a:pt x="4217" y="14005"/>
                    <a:pt x="4225" y="14005"/>
                  </a:cubicBezTo>
                  <a:lnTo>
                    <a:pt x="4254" y="13946"/>
                  </a:lnTo>
                  <a:close/>
                  <a:moveTo>
                    <a:pt x="3967" y="13897"/>
                  </a:moveTo>
                  <a:cubicBezTo>
                    <a:pt x="3976" y="13906"/>
                    <a:pt x="3981" y="13915"/>
                    <a:pt x="3984" y="13924"/>
                  </a:cubicBezTo>
                  <a:cubicBezTo>
                    <a:pt x="3987" y="13935"/>
                    <a:pt x="3988" y="13947"/>
                    <a:pt x="3986" y="13960"/>
                  </a:cubicBezTo>
                  <a:cubicBezTo>
                    <a:pt x="3983" y="13972"/>
                    <a:pt x="3978" y="13987"/>
                    <a:pt x="3969" y="14005"/>
                  </a:cubicBezTo>
                  <a:lnTo>
                    <a:pt x="3948" y="14048"/>
                  </a:lnTo>
                  <a:lnTo>
                    <a:pt x="3802" y="13976"/>
                  </a:lnTo>
                  <a:lnTo>
                    <a:pt x="3825" y="13929"/>
                  </a:lnTo>
                  <a:cubicBezTo>
                    <a:pt x="3830" y="13919"/>
                    <a:pt x="3836" y="13910"/>
                    <a:pt x="3841" y="13903"/>
                  </a:cubicBezTo>
                  <a:cubicBezTo>
                    <a:pt x="3846" y="13896"/>
                    <a:pt x="3851" y="13890"/>
                    <a:pt x="3857" y="13884"/>
                  </a:cubicBezTo>
                  <a:cubicBezTo>
                    <a:pt x="3867" y="13876"/>
                    <a:pt x="3880" y="13870"/>
                    <a:pt x="3894" y="13869"/>
                  </a:cubicBezTo>
                  <a:cubicBezTo>
                    <a:pt x="3909" y="13867"/>
                    <a:pt x="3922" y="13869"/>
                    <a:pt x="3935" y="13875"/>
                  </a:cubicBezTo>
                  <a:cubicBezTo>
                    <a:pt x="3948" y="13882"/>
                    <a:pt x="3959" y="13889"/>
                    <a:pt x="3967" y="13897"/>
                  </a:cubicBezTo>
                  <a:close/>
                  <a:moveTo>
                    <a:pt x="4465" y="13735"/>
                  </a:moveTo>
                  <a:lnTo>
                    <a:pt x="3916" y="13465"/>
                  </a:lnTo>
                  <a:lnTo>
                    <a:pt x="3898" y="13502"/>
                  </a:lnTo>
                  <a:lnTo>
                    <a:pt x="4447" y="13773"/>
                  </a:lnTo>
                  <a:lnTo>
                    <a:pt x="4465" y="13735"/>
                  </a:lnTo>
                  <a:close/>
                  <a:moveTo>
                    <a:pt x="4311" y="12844"/>
                  </a:moveTo>
                  <a:lnTo>
                    <a:pt x="4288" y="12890"/>
                  </a:lnTo>
                  <a:lnTo>
                    <a:pt x="4491" y="13050"/>
                  </a:lnTo>
                  <a:cubicBezTo>
                    <a:pt x="4504" y="13060"/>
                    <a:pt x="4516" y="13070"/>
                    <a:pt x="4529" y="13080"/>
                  </a:cubicBezTo>
                  <a:cubicBezTo>
                    <a:pt x="4542" y="13090"/>
                    <a:pt x="4553" y="13099"/>
                    <a:pt x="4563" y="13106"/>
                  </a:cubicBezTo>
                  <a:cubicBezTo>
                    <a:pt x="4574" y="13113"/>
                    <a:pt x="4582" y="13120"/>
                    <a:pt x="4589" y="13125"/>
                  </a:cubicBezTo>
                  <a:cubicBezTo>
                    <a:pt x="4594" y="13128"/>
                    <a:pt x="4597" y="13131"/>
                    <a:pt x="4599" y="13132"/>
                  </a:cubicBezTo>
                  <a:cubicBezTo>
                    <a:pt x="4597" y="13131"/>
                    <a:pt x="4594" y="13130"/>
                    <a:pt x="4589" y="13129"/>
                  </a:cubicBezTo>
                  <a:cubicBezTo>
                    <a:pt x="4583" y="13127"/>
                    <a:pt x="4575" y="13125"/>
                    <a:pt x="4565" y="13122"/>
                  </a:cubicBezTo>
                  <a:cubicBezTo>
                    <a:pt x="4555" y="13119"/>
                    <a:pt x="4543" y="13116"/>
                    <a:pt x="4530" y="13112"/>
                  </a:cubicBezTo>
                  <a:cubicBezTo>
                    <a:pt x="4516" y="13109"/>
                    <a:pt x="4502" y="13105"/>
                    <a:pt x="4486" y="13101"/>
                  </a:cubicBezTo>
                  <a:lnTo>
                    <a:pt x="4216" y="13036"/>
                  </a:lnTo>
                  <a:lnTo>
                    <a:pt x="4190" y="13089"/>
                  </a:lnTo>
                  <a:lnTo>
                    <a:pt x="4399" y="13256"/>
                  </a:lnTo>
                  <a:cubicBezTo>
                    <a:pt x="4409" y="13263"/>
                    <a:pt x="4420" y="13272"/>
                    <a:pt x="4431" y="13281"/>
                  </a:cubicBezTo>
                  <a:cubicBezTo>
                    <a:pt x="4443" y="13290"/>
                    <a:pt x="4454" y="13298"/>
                    <a:pt x="4463" y="13305"/>
                  </a:cubicBezTo>
                  <a:cubicBezTo>
                    <a:pt x="4473" y="13313"/>
                    <a:pt x="4482" y="13319"/>
                    <a:pt x="4489" y="13325"/>
                  </a:cubicBezTo>
                  <a:cubicBezTo>
                    <a:pt x="4496" y="13330"/>
                    <a:pt x="4500" y="13333"/>
                    <a:pt x="4501" y="13333"/>
                  </a:cubicBezTo>
                  <a:cubicBezTo>
                    <a:pt x="4499" y="13333"/>
                    <a:pt x="4494" y="13331"/>
                    <a:pt x="4485" y="13329"/>
                  </a:cubicBezTo>
                  <a:cubicBezTo>
                    <a:pt x="4477" y="13326"/>
                    <a:pt x="4466" y="13323"/>
                    <a:pt x="4454" y="13319"/>
                  </a:cubicBezTo>
                  <a:cubicBezTo>
                    <a:pt x="4442" y="13315"/>
                    <a:pt x="4428" y="13311"/>
                    <a:pt x="4414" y="13307"/>
                  </a:cubicBezTo>
                  <a:cubicBezTo>
                    <a:pt x="4399" y="13303"/>
                    <a:pt x="4385" y="13299"/>
                    <a:pt x="4372" y="13296"/>
                  </a:cubicBezTo>
                  <a:lnTo>
                    <a:pt x="4119" y="13233"/>
                  </a:lnTo>
                  <a:lnTo>
                    <a:pt x="4094" y="13283"/>
                  </a:lnTo>
                  <a:lnTo>
                    <a:pt x="4531" y="13383"/>
                  </a:lnTo>
                  <a:lnTo>
                    <a:pt x="4560" y="13323"/>
                  </a:lnTo>
                  <a:lnTo>
                    <a:pt x="4363" y="13167"/>
                  </a:lnTo>
                  <a:cubicBezTo>
                    <a:pt x="4352" y="13158"/>
                    <a:pt x="4340" y="13149"/>
                    <a:pt x="4329" y="13140"/>
                  </a:cubicBezTo>
                  <a:cubicBezTo>
                    <a:pt x="4318" y="13132"/>
                    <a:pt x="4308" y="13124"/>
                    <a:pt x="4299" y="13118"/>
                  </a:cubicBezTo>
                  <a:cubicBezTo>
                    <a:pt x="4290" y="13111"/>
                    <a:pt x="4283" y="13106"/>
                    <a:pt x="4277" y="13102"/>
                  </a:cubicBezTo>
                  <a:cubicBezTo>
                    <a:pt x="4271" y="13098"/>
                    <a:pt x="4268" y="13095"/>
                    <a:pt x="4267" y="13094"/>
                  </a:cubicBezTo>
                  <a:cubicBezTo>
                    <a:pt x="4268" y="13095"/>
                    <a:pt x="4272" y="13096"/>
                    <a:pt x="4279" y="13098"/>
                  </a:cubicBezTo>
                  <a:cubicBezTo>
                    <a:pt x="4286" y="13100"/>
                    <a:pt x="4295" y="13103"/>
                    <a:pt x="4305" y="13106"/>
                  </a:cubicBezTo>
                  <a:cubicBezTo>
                    <a:pt x="4316" y="13109"/>
                    <a:pt x="4328" y="13112"/>
                    <a:pt x="4342" y="13116"/>
                  </a:cubicBezTo>
                  <a:cubicBezTo>
                    <a:pt x="4356" y="13120"/>
                    <a:pt x="4371" y="13124"/>
                    <a:pt x="4387" y="13128"/>
                  </a:cubicBezTo>
                  <a:lnTo>
                    <a:pt x="4628" y="13186"/>
                  </a:lnTo>
                  <a:lnTo>
                    <a:pt x="4658" y="13125"/>
                  </a:lnTo>
                  <a:lnTo>
                    <a:pt x="4311" y="12844"/>
                  </a:lnTo>
                  <a:close/>
                  <a:moveTo>
                    <a:pt x="4848" y="12738"/>
                  </a:moveTo>
                  <a:lnTo>
                    <a:pt x="4808" y="12718"/>
                  </a:lnTo>
                  <a:lnTo>
                    <a:pt x="4723" y="12890"/>
                  </a:lnTo>
                  <a:lnTo>
                    <a:pt x="4580" y="12820"/>
                  </a:lnTo>
                  <a:lnTo>
                    <a:pt x="4646" y="12686"/>
                  </a:lnTo>
                  <a:lnTo>
                    <a:pt x="4605" y="12666"/>
                  </a:lnTo>
                  <a:lnTo>
                    <a:pt x="4540" y="12800"/>
                  </a:lnTo>
                  <a:lnTo>
                    <a:pt x="4411" y="12737"/>
                  </a:lnTo>
                  <a:lnTo>
                    <a:pt x="4490" y="12577"/>
                  </a:lnTo>
                  <a:lnTo>
                    <a:pt x="4454" y="12551"/>
                  </a:lnTo>
                  <a:lnTo>
                    <a:pt x="4349" y="12765"/>
                  </a:lnTo>
                  <a:lnTo>
                    <a:pt x="4740" y="12957"/>
                  </a:lnTo>
                  <a:lnTo>
                    <a:pt x="4848" y="12738"/>
                  </a:lnTo>
                  <a:close/>
                  <a:moveTo>
                    <a:pt x="4864" y="12334"/>
                  </a:moveTo>
                  <a:cubicBezTo>
                    <a:pt x="4850" y="12332"/>
                    <a:pt x="4836" y="12333"/>
                    <a:pt x="4823" y="12337"/>
                  </a:cubicBezTo>
                  <a:cubicBezTo>
                    <a:pt x="4810" y="12340"/>
                    <a:pt x="4798" y="12346"/>
                    <a:pt x="4787" y="12353"/>
                  </a:cubicBezTo>
                  <a:cubicBezTo>
                    <a:pt x="4776" y="12360"/>
                    <a:pt x="4763" y="12372"/>
                    <a:pt x="4749" y="12386"/>
                  </a:cubicBezTo>
                  <a:lnTo>
                    <a:pt x="4713" y="12424"/>
                  </a:lnTo>
                  <a:cubicBezTo>
                    <a:pt x="4694" y="12444"/>
                    <a:pt x="4677" y="12456"/>
                    <a:pt x="4663" y="12462"/>
                  </a:cubicBezTo>
                  <a:cubicBezTo>
                    <a:pt x="4648" y="12467"/>
                    <a:pt x="4633" y="12466"/>
                    <a:pt x="4617" y="12458"/>
                  </a:cubicBezTo>
                  <a:cubicBezTo>
                    <a:pt x="4597" y="12448"/>
                    <a:pt x="4585" y="12433"/>
                    <a:pt x="4580" y="12414"/>
                  </a:cubicBezTo>
                  <a:cubicBezTo>
                    <a:pt x="4575" y="12395"/>
                    <a:pt x="4579" y="12373"/>
                    <a:pt x="4591" y="12348"/>
                  </a:cubicBezTo>
                  <a:cubicBezTo>
                    <a:pt x="4595" y="12340"/>
                    <a:pt x="4600" y="12332"/>
                    <a:pt x="4605" y="12325"/>
                  </a:cubicBezTo>
                  <a:cubicBezTo>
                    <a:pt x="4609" y="12319"/>
                    <a:pt x="4615" y="12312"/>
                    <a:pt x="4621" y="12306"/>
                  </a:cubicBezTo>
                  <a:cubicBezTo>
                    <a:pt x="4628" y="12300"/>
                    <a:pt x="4635" y="12294"/>
                    <a:pt x="4643" y="12288"/>
                  </a:cubicBezTo>
                  <a:cubicBezTo>
                    <a:pt x="4651" y="12282"/>
                    <a:pt x="4660" y="12276"/>
                    <a:pt x="4671" y="12269"/>
                  </a:cubicBezTo>
                  <a:lnTo>
                    <a:pt x="4648" y="12232"/>
                  </a:lnTo>
                  <a:cubicBezTo>
                    <a:pt x="4604" y="12257"/>
                    <a:pt x="4572" y="12290"/>
                    <a:pt x="4552" y="12332"/>
                  </a:cubicBezTo>
                  <a:cubicBezTo>
                    <a:pt x="4543" y="12351"/>
                    <a:pt x="4537" y="12369"/>
                    <a:pt x="4535" y="12388"/>
                  </a:cubicBezTo>
                  <a:cubicBezTo>
                    <a:pt x="4533" y="12406"/>
                    <a:pt x="4534" y="12423"/>
                    <a:pt x="4538" y="12439"/>
                  </a:cubicBezTo>
                  <a:cubicBezTo>
                    <a:pt x="4543" y="12455"/>
                    <a:pt x="4550" y="12469"/>
                    <a:pt x="4561" y="12482"/>
                  </a:cubicBezTo>
                  <a:cubicBezTo>
                    <a:pt x="4572" y="12495"/>
                    <a:pt x="4585" y="12505"/>
                    <a:pt x="4602" y="12513"/>
                  </a:cubicBezTo>
                  <a:cubicBezTo>
                    <a:pt x="4627" y="12526"/>
                    <a:pt x="4652" y="12528"/>
                    <a:pt x="4678" y="12520"/>
                  </a:cubicBezTo>
                  <a:cubicBezTo>
                    <a:pt x="4690" y="12517"/>
                    <a:pt x="4700" y="12511"/>
                    <a:pt x="4711" y="12503"/>
                  </a:cubicBezTo>
                  <a:cubicBezTo>
                    <a:pt x="4721" y="12495"/>
                    <a:pt x="4733" y="12483"/>
                    <a:pt x="4747" y="12468"/>
                  </a:cubicBezTo>
                  <a:lnTo>
                    <a:pt x="4778" y="12434"/>
                  </a:lnTo>
                  <a:cubicBezTo>
                    <a:pt x="4815" y="12395"/>
                    <a:pt x="4851" y="12383"/>
                    <a:pt x="4886" y="12400"/>
                  </a:cubicBezTo>
                  <a:cubicBezTo>
                    <a:pt x="4909" y="12412"/>
                    <a:pt x="4923" y="12430"/>
                    <a:pt x="4928" y="12456"/>
                  </a:cubicBezTo>
                  <a:cubicBezTo>
                    <a:pt x="4930" y="12467"/>
                    <a:pt x="4930" y="12478"/>
                    <a:pt x="4928" y="12488"/>
                  </a:cubicBezTo>
                  <a:cubicBezTo>
                    <a:pt x="4926" y="12499"/>
                    <a:pt x="4921" y="12511"/>
                    <a:pt x="4914" y="12526"/>
                  </a:cubicBezTo>
                  <a:cubicBezTo>
                    <a:pt x="4904" y="12546"/>
                    <a:pt x="4893" y="12563"/>
                    <a:pt x="4879" y="12577"/>
                  </a:cubicBezTo>
                  <a:cubicBezTo>
                    <a:pt x="4865" y="12592"/>
                    <a:pt x="4849" y="12604"/>
                    <a:pt x="4829" y="12615"/>
                  </a:cubicBezTo>
                  <a:lnTo>
                    <a:pt x="4855" y="12653"/>
                  </a:lnTo>
                  <a:cubicBezTo>
                    <a:pt x="4877" y="12640"/>
                    <a:pt x="4896" y="12624"/>
                    <a:pt x="4911" y="12607"/>
                  </a:cubicBezTo>
                  <a:cubicBezTo>
                    <a:pt x="4927" y="12589"/>
                    <a:pt x="4941" y="12569"/>
                    <a:pt x="4952" y="12545"/>
                  </a:cubicBezTo>
                  <a:cubicBezTo>
                    <a:pt x="4961" y="12527"/>
                    <a:pt x="4967" y="12510"/>
                    <a:pt x="4970" y="12494"/>
                  </a:cubicBezTo>
                  <a:cubicBezTo>
                    <a:pt x="4973" y="12479"/>
                    <a:pt x="4974" y="12462"/>
                    <a:pt x="4972" y="12445"/>
                  </a:cubicBezTo>
                  <a:cubicBezTo>
                    <a:pt x="4969" y="12423"/>
                    <a:pt x="4962" y="12402"/>
                    <a:pt x="4950" y="12385"/>
                  </a:cubicBezTo>
                  <a:cubicBezTo>
                    <a:pt x="4938" y="12367"/>
                    <a:pt x="4922" y="12354"/>
                    <a:pt x="4904" y="12345"/>
                  </a:cubicBezTo>
                  <a:cubicBezTo>
                    <a:pt x="4892" y="12339"/>
                    <a:pt x="4879" y="12335"/>
                    <a:pt x="4864" y="12334"/>
                  </a:cubicBezTo>
                  <a:close/>
                  <a:moveTo>
                    <a:pt x="4781" y="11887"/>
                  </a:moveTo>
                  <a:lnTo>
                    <a:pt x="4654" y="12146"/>
                  </a:lnTo>
                  <a:lnTo>
                    <a:pt x="4693" y="12165"/>
                  </a:lnTo>
                  <a:lnTo>
                    <a:pt x="4745" y="12060"/>
                  </a:lnTo>
                  <a:lnTo>
                    <a:pt x="5097" y="12233"/>
                  </a:lnTo>
                  <a:lnTo>
                    <a:pt x="5119" y="12188"/>
                  </a:lnTo>
                  <a:lnTo>
                    <a:pt x="4767" y="12015"/>
                  </a:lnTo>
                  <a:lnTo>
                    <a:pt x="4819" y="11909"/>
                  </a:lnTo>
                  <a:lnTo>
                    <a:pt x="4781" y="11887"/>
                  </a:lnTo>
                  <a:close/>
                  <a:moveTo>
                    <a:pt x="4916" y="11614"/>
                  </a:moveTo>
                  <a:lnTo>
                    <a:pt x="4814" y="11820"/>
                  </a:lnTo>
                  <a:lnTo>
                    <a:pt x="5205" y="12012"/>
                  </a:lnTo>
                  <a:lnTo>
                    <a:pt x="5229" y="11965"/>
                  </a:lnTo>
                  <a:lnTo>
                    <a:pt x="5043" y="11874"/>
                  </a:lnTo>
                  <a:lnTo>
                    <a:pt x="5104" y="11748"/>
                  </a:lnTo>
                  <a:lnTo>
                    <a:pt x="5066" y="11729"/>
                  </a:lnTo>
                  <a:lnTo>
                    <a:pt x="5005" y="11855"/>
                  </a:lnTo>
                  <a:lnTo>
                    <a:pt x="4876" y="11792"/>
                  </a:lnTo>
                  <a:lnTo>
                    <a:pt x="4951" y="11641"/>
                  </a:lnTo>
                  <a:lnTo>
                    <a:pt x="4916" y="11614"/>
                  </a:lnTo>
                  <a:close/>
                  <a:moveTo>
                    <a:pt x="5463" y="11489"/>
                  </a:moveTo>
                  <a:lnTo>
                    <a:pt x="5008" y="11426"/>
                  </a:lnTo>
                  <a:lnTo>
                    <a:pt x="4978" y="11487"/>
                  </a:lnTo>
                  <a:lnTo>
                    <a:pt x="5305" y="11810"/>
                  </a:lnTo>
                  <a:lnTo>
                    <a:pt x="5328" y="11762"/>
                  </a:lnTo>
                  <a:lnTo>
                    <a:pt x="5227" y="11666"/>
                  </a:lnTo>
                  <a:lnTo>
                    <a:pt x="5298" y="11520"/>
                  </a:lnTo>
                  <a:lnTo>
                    <a:pt x="5437" y="11542"/>
                  </a:lnTo>
                  <a:lnTo>
                    <a:pt x="5463" y="11489"/>
                  </a:lnTo>
                  <a:close/>
                  <a:moveTo>
                    <a:pt x="5254" y="11513"/>
                  </a:moveTo>
                  <a:lnTo>
                    <a:pt x="5195" y="11634"/>
                  </a:lnTo>
                  <a:lnTo>
                    <a:pt x="5033" y="11479"/>
                  </a:lnTo>
                  <a:lnTo>
                    <a:pt x="5254" y="11513"/>
                  </a:lnTo>
                  <a:close/>
                  <a:moveTo>
                    <a:pt x="4900" y="11457"/>
                  </a:moveTo>
                  <a:cubicBezTo>
                    <a:pt x="4892" y="11460"/>
                    <a:pt x="4885" y="11466"/>
                    <a:pt x="4881" y="11474"/>
                  </a:cubicBezTo>
                  <a:cubicBezTo>
                    <a:pt x="4877" y="11482"/>
                    <a:pt x="4877" y="11490"/>
                    <a:pt x="4880" y="11499"/>
                  </a:cubicBezTo>
                  <a:cubicBezTo>
                    <a:pt x="4883" y="11507"/>
                    <a:pt x="4888" y="11513"/>
                    <a:pt x="4896" y="11517"/>
                  </a:cubicBezTo>
                  <a:cubicBezTo>
                    <a:pt x="4905" y="11521"/>
                    <a:pt x="4913" y="11522"/>
                    <a:pt x="4922" y="11519"/>
                  </a:cubicBezTo>
                  <a:cubicBezTo>
                    <a:pt x="4930" y="11516"/>
                    <a:pt x="4937" y="11511"/>
                    <a:pt x="4941" y="11502"/>
                  </a:cubicBezTo>
                  <a:cubicBezTo>
                    <a:pt x="4945" y="11494"/>
                    <a:pt x="4945" y="11486"/>
                    <a:pt x="4942" y="11477"/>
                  </a:cubicBezTo>
                  <a:cubicBezTo>
                    <a:pt x="4939" y="11469"/>
                    <a:pt x="4933" y="11463"/>
                    <a:pt x="4925" y="11459"/>
                  </a:cubicBezTo>
                  <a:cubicBezTo>
                    <a:pt x="4917" y="11455"/>
                    <a:pt x="4909" y="11454"/>
                    <a:pt x="4900" y="11457"/>
                  </a:cubicBezTo>
                  <a:close/>
                  <a:moveTo>
                    <a:pt x="4958" y="11340"/>
                  </a:moveTo>
                  <a:cubicBezTo>
                    <a:pt x="4950" y="11342"/>
                    <a:pt x="4943" y="11348"/>
                    <a:pt x="4939" y="11356"/>
                  </a:cubicBezTo>
                  <a:cubicBezTo>
                    <a:pt x="4935" y="11364"/>
                    <a:pt x="4935" y="11373"/>
                    <a:pt x="4938" y="11381"/>
                  </a:cubicBezTo>
                  <a:cubicBezTo>
                    <a:pt x="4940" y="11390"/>
                    <a:pt x="4946" y="11396"/>
                    <a:pt x="4954" y="11400"/>
                  </a:cubicBezTo>
                  <a:cubicBezTo>
                    <a:pt x="4962" y="11404"/>
                    <a:pt x="4971" y="11405"/>
                    <a:pt x="4979" y="11402"/>
                  </a:cubicBezTo>
                  <a:cubicBezTo>
                    <a:pt x="4988" y="11399"/>
                    <a:pt x="4995" y="11393"/>
                    <a:pt x="4999" y="11385"/>
                  </a:cubicBezTo>
                  <a:cubicBezTo>
                    <a:pt x="5003" y="11377"/>
                    <a:pt x="5003" y="11368"/>
                    <a:pt x="5000" y="11360"/>
                  </a:cubicBezTo>
                  <a:cubicBezTo>
                    <a:pt x="4997" y="11352"/>
                    <a:pt x="4991" y="11345"/>
                    <a:pt x="4983" y="11341"/>
                  </a:cubicBezTo>
                  <a:cubicBezTo>
                    <a:pt x="4975" y="11337"/>
                    <a:pt x="4967" y="11337"/>
                    <a:pt x="4958" y="11340"/>
                  </a:cubicBezTo>
                  <a:close/>
                  <a:moveTo>
                    <a:pt x="5559" y="11195"/>
                  </a:moveTo>
                  <a:lnTo>
                    <a:pt x="5483" y="11349"/>
                  </a:lnTo>
                  <a:lnTo>
                    <a:pt x="5131" y="11176"/>
                  </a:lnTo>
                  <a:lnTo>
                    <a:pt x="5108" y="11223"/>
                  </a:lnTo>
                  <a:lnTo>
                    <a:pt x="5499" y="11415"/>
                  </a:lnTo>
                  <a:lnTo>
                    <a:pt x="5595" y="11220"/>
                  </a:lnTo>
                  <a:lnTo>
                    <a:pt x="5559" y="11195"/>
                  </a:lnTo>
                  <a:close/>
                  <a:moveTo>
                    <a:pt x="5658" y="11093"/>
                  </a:moveTo>
                  <a:lnTo>
                    <a:pt x="5267" y="10901"/>
                  </a:lnTo>
                  <a:lnTo>
                    <a:pt x="5244" y="10946"/>
                  </a:lnTo>
                  <a:lnTo>
                    <a:pt x="5635" y="11139"/>
                  </a:lnTo>
                  <a:lnTo>
                    <a:pt x="5658" y="11093"/>
                  </a:lnTo>
                  <a:close/>
                  <a:moveTo>
                    <a:pt x="5682" y="10672"/>
                  </a:moveTo>
                  <a:cubicBezTo>
                    <a:pt x="5667" y="10671"/>
                    <a:pt x="5653" y="10672"/>
                    <a:pt x="5640" y="10675"/>
                  </a:cubicBezTo>
                  <a:cubicBezTo>
                    <a:pt x="5627" y="10679"/>
                    <a:pt x="5615" y="10684"/>
                    <a:pt x="5604" y="10691"/>
                  </a:cubicBezTo>
                  <a:cubicBezTo>
                    <a:pt x="5593" y="10699"/>
                    <a:pt x="5581" y="10710"/>
                    <a:pt x="5567" y="10725"/>
                  </a:cubicBezTo>
                  <a:lnTo>
                    <a:pt x="5531" y="10763"/>
                  </a:lnTo>
                  <a:cubicBezTo>
                    <a:pt x="5512" y="10782"/>
                    <a:pt x="5495" y="10795"/>
                    <a:pt x="5480" y="10800"/>
                  </a:cubicBezTo>
                  <a:cubicBezTo>
                    <a:pt x="5466" y="10805"/>
                    <a:pt x="5451" y="10804"/>
                    <a:pt x="5435" y="10796"/>
                  </a:cubicBezTo>
                  <a:cubicBezTo>
                    <a:pt x="5415" y="10786"/>
                    <a:pt x="5402" y="10772"/>
                    <a:pt x="5398" y="10753"/>
                  </a:cubicBezTo>
                  <a:cubicBezTo>
                    <a:pt x="5393" y="10733"/>
                    <a:pt x="5397" y="10711"/>
                    <a:pt x="5409" y="10687"/>
                  </a:cubicBezTo>
                  <a:cubicBezTo>
                    <a:pt x="5413" y="10678"/>
                    <a:pt x="5417" y="10671"/>
                    <a:pt x="5422" y="10664"/>
                  </a:cubicBezTo>
                  <a:cubicBezTo>
                    <a:pt x="5427" y="10657"/>
                    <a:pt x="5433" y="10650"/>
                    <a:pt x="5439" y="10644"/>
                  </a:cubicBezTo>
                  <a:cubicBezTo>
                    <a:pt x="5445" y="10638"/>
                    <a:pt x="5452" y="10632"/>
                    <a:pt x="5461" y="10626"/>
                  </a:cubicBezTo>
                  <a:cubicBezTo>
                    <a:pt x="5469" y="10620"/>
                    <a:pt x="5478" y="10614"/>
                    <a:pt x="5489" y="10608"/>
                  </a:cubicBezTo>
                  <a:lnTo>
                    <a:pt x="5465" y="10571"/>
                  </a:lnTo>
                  <a:cubicBezTo>
                    <a:pt x="5422" y="10595"/>
                    <a:pt x="5390" y="10629"/>
                    <a:pt x="5370" y="10670"/>
                  </a:cubicBezTo>
                  <a:cubicBezTo>
                    <a:pt x="5360" y="10689"/>
                    <a:pt x="5355" y="10708"/>
                    <a:pt x="5352" y="10726"/>
                  </a:cubicBezTo>
                  <a:cubicBezTo>
                    <a:pt x="5350" y="10744"/>
                    <a:pt x="5351" y="10761"/>
                    <a:pt x="5356" y="10777"/>
                  </a:cubicBezTo>
                  <a:cubicBezTo>
                    <a:pt x="5360" y="10793"/>
                    <a:pt x="5368" y="10807"/>
                    <a:pt x="5379" y="10820"/>
                  </a:cubicBezTo>
                  <a:cubicBezTo>
                    <a:pt x="5389" y="10833"/>
                    <a:pt x="5403" y="10844"/>
                    <a:pt x="5420" y="10852"/>
                  </a:cubicBezTo>
                  <a:cubicBezTo>
                    <a:pt x="5445" y="10864"/>
                    <a:pt x="5470" y="10866"/>
                    <a:pt x="5496" y="10859"/>
                  </a:cubicBezTo>
                  <a:cubicBezTo>
                    <a:pt x="5507" y="10855"/>
                    <a:pt x="5518" y="10849"/>
                    <a:pt x="5528" y="10841"/>
                  </a:cubicBezTo>
                  <a:cubicBezTo>
                    <a:pt x="5538" y="10833"/>
                    <a:pt x="5550" y="10821"/>
                    <a:pt x="5564" y="10806"/>
                  </a:cubicBezTo>
                  <a:lnTo>
                    <a:pt x="5596" y="10773"/>
                  </a:lnTo>
                  <a:cubicBezTo>
                    <a:pt x="5633" y="10733"/>
                    <a:pt x="5669" y="10722"/>
                    <a:pt x="5703" y="10739"/>
                  </a:cubicBezTo>
                  <a:cubicBezTo>
                    <a:pt x="5726" y="10750"/>
                    <a:pt x="5740" y="10768"/>
                    <a:pt x="5745" y="10794"/>
                  </a:cubicBezTo>
                  <a:cubicBezTo>
                    <a:pt x="5748" y="10806"/>
                    <a:pt x="5748" y="10816"/>
                    <a:pt x="5746" y="10827"/>
                  </a:cubicBezTo>
                  <a:cubicBezTo>
                    <a:pt x="5744" y="10837"/>
                    <a:pt x="5739" y="10850"/>
                    <a:pt x="5732" y="10865"/>
                  </a:cubicBezTo>
                  <a:cubicBezTo>
                    <a:pt x="5722" y="10884"/>
                    <a:pt x="5710" y="10901"/>
                    <a:pt x="5697" y="10916"/>
                  </a:cubicBezTo>
                  <a:cubicBezTo>
                    <a:pt x="5683" y="10930"/>
                    <a:pt x="5666" y="10942"/>
                    <a:pt x="5647" y="10953"/>
                  </a:cubicBezTo>
                  <a:lnTo>
                    <a:pt x="5673" y="10991"/>
                  </a:lnTo>
                  <a:cubicBezTo>
                    <a:pt x="5695" y="10978"/>
                    <a:pt x="5713" y="10962"/>
                    <a:pt x="5729" y="10945"/>
                  </a:cubicBezTo>
                  <a:cubicBezTo>
                    <a:pt x="5745" y="10927"/>
                    <a:pt x="5758" y="10907"/>
                    <a:pt x="5770" y="10883"/>
                  </a:cubicBezTo>
                  <a:cubicBezTo>
                    <a:pt x="5779" y="10865"/>
                    <a:pt x="5785" y="10848"/>
                    <a:pt x="5788" y="10833"/>
                  </a:cubicBezTo>
                  <a:cubicBezTo>
                    <a:pt x="5791" y="10817"/>
                    <a:pt x="5791" y="10801"/>
                    <a:pt x="5789" y="10784"/>
                  </a:cubicBezTo>
                  <a:cubicBezTo>
                    <a:pt x="5787" y="10761"/>
                    <a:pt x="5780" y="10741"/>
                    <a:pt x="5767" y="10723"/>
                  </a:cubicBezTo>
                  <a:cubicBezTo>
                    <a:pt x="5755" y="10706"/>
                    <a:pt x="5740" y="10692"/>
                    <a:pt x="5722" y="10683"/>
                  </a:cubicBezTo>
                  <a:cubicBezTo>
                    <a:pt x="5710" y="10677"/>
                    <a:pt x="5696" y="10674"/>
                    <a:pt x="5682" y="10672"/>
                  </a:cubicBezTo>
                  <a:close/>
                  <a:moveTo>
                    <a:pt x="5933" y="10390"/>
                  </a:moveTo>
                  <a:cubicBezTo>
                    <a:pt x="5935" y="10407"/>
                    <a:pt x="5936" y="10422"/>
                    <a:pt x="5934" y="10436"/>
                  </a:cubicBezTo>
                  <a:cubicBezTo>
                    <a:pt x="5932" y="10450"/>
                    <a:pt x="5927" y="10464"/>
                    <a:pt x="5920" y="10478"/>
                  </a:cubicBezTo>
                  <a:cubicBezTo>
                    <a:pt x="5909" y="10501"/>
                    <a:pt x="5893" y="10519"/>
                    <a:pt x="5872" y="10531"/>
                  </a:cubicBezTo>
                  <a:cubicBezTo>
                    <a:pt x="5851" y="10544"/>
                    <a:pt x="5825" y="10550"/>
                    <a:pt x="5796" y="10547"/>
                  </a:cubicBezTo>
                  <a:cubicBezTo>
                    <a:pt x="5782" y="10546"/>
                    <a:pt x="5769" y="10544"/>
                    <a:pt x="5755" y="10540"/>
                  </a:cubicBezTo>
                  <a:cubicBezTo>
                    <a:pt x="5742" y="10535"/>
                    <a:pt x="5726" y="10529"/>
                    <a:pt x="5707" y="10519"/>
                  </a:cubicBezTo>
                  <a:cubicBezTo>
                    <a:pt x="5684" y="10508"/>
                    <a:pt x="5665" y="10497"/>
                    <a:pt x="5650" y="10486"/>
                  </a:cubicBezTo>
                  <a:cubicBezTo>
                    <a:pt x="5635" y="10475"/>
                    <a:pt x="5622" y="10464"/>
                    <a:pt x="5612" y="10452"/>
                  </a:cubicBezTo>
                  <a:cubicBezTo>
                    <a:pt x="5594" y="10431"/>
                    <a:pt x="5584" y="10410"/>
                    <a:pt x="5580" y="10389"/>
                  </a:cubicBezTo>
                  <a:cubicBezTo>
                    <a:pt x="5577" y="10367"/>
                    <a:pt x="5580" y="10345"/>
                    <a:pt x="5592" y="10322"/>
                  </a:cubicBezTo>
                  <a:cubicBezTo>
                    <a:pt x="5599" y="10308"/>
                    <a:pt x="5607" y="10296"/>
                    <a:pt x="5617" y="10286"/>
                  </a:cubicBezTo>
                  <a:cubicBezTo>
                    <a:pt x="5626" y="10276"/>
                    <a:pt x="5638" y="10268"/>
                    <a:pt x="5653" y="10260"/>
                  </a:cubicBezTo>
                  <a:lnTo>
                    <a:pt x="5635" y="10220"/>
                  </a:lnTo>
                  <a:cubicBezTo>
                    <a:pt x="5618" y="10229"/>
                    <a:pt x="5603" y="10240"/>
                    <a:pt x="5589" y="10254"/>
                  </a:cubicBezTo>
                  <a:cubicBezTo>
                    <a:pt x="5575" y="10268"/>
                    <a:pt x="5564" y="10284"/>
                    <a:pt x="5554" y="10303"/>
                  </a:cubicBezTo>
                  <a:cubicBezTo>
                    <a:pt x="5543" y="10327"/>
                    <a:pt x="5537" y="10351"/>
                    <a:pt x="5537" y="10376"/>
                  </a:cubicBezTo>
                  <a:cubicBezTo>
                    <a:pt x="5537" y="10401"/>
                    <a:pt x="5543" y="10426"/>
                    <a:pt x="5554" y="10449"/>
                  </a:cubicBezTo>
                  <a:cubicBezTo>
                    <a:pt x="5565" y="10473"/>
                    <a:pt x="5580" y="10495"/>
                    <a:pt x="5601" y="10515"/>
                  </a:cubicBezTo>
                  <a:cubicBezTo>
                    <a:pt x="5622" y="10535"/>
                    <a:pt x="5646" y="10552"/>
                    <a:pt x="5675" y="10567"/>
                  </a:cubicBezTo>
                  <a:cubicBezTo>
                    <a:pt x="5705" y="10581"/>
                    <a:pt x="5734" y="10591"/>
                    <a:pt x="5763" y="10596"/>
                  </a:cubicBezTo>
                  <a:cubicBezTo>
                    <a:pt x="5792" y="10602"/>
                    <a:pt x="5820" y="10600"/>
                    <a:pt x="5847" y="10593"/>
                  </a:cubicBezTo>
                  <a:cubicBezTo>
                    <a:pt x="5872" y="10586"/>
                    <a:pt x="5893" y="10575"/>
                    <a:pt x="5912" y="10560"/>
                  </a:cubicBezTo>
                  <a:cubicBezTo>
                    <a:pt x="5930" y="10544"/>
                    <a:pt x="5944" y="10526"/>
                    <a:pt x="5955" y="10505"/>
                  </a:cubicBezTo>
                  <a:cubicBezTo>
                    <a:pt x="5964" y="10485"/>
                    <a:pt x="5971" y="10465"/>
                    <a:pt x="5975" y="10444"/>
                  </a:cubicBezTo>
                  <a:cubicBezTo>
                    <a:pt x="5978" y="10422"/>
                    <a:pt x="5979" y="10401"/>
                    <a:pt x="5977" y="10380"/>
                  </a:cubicBezTo>
                  <a:lnTo>
                    <a:pt x="5933" y="10390"/>
                  </a:lnTo>
                  <a:close/>
                  <a:moveTo>
                    <a:pt x="6169" y="10055"/>
                  </a:moveTo>
                  <a:lnTo>
                    <a:pt x="5778" y="9862"/>
                  </a:lnTo>
                  <a:lnTo>
                    <a:pt x="5755" y="9909"/>
                  </a:lnTo>
                  <a:lnTo>
                    <a:pt x="5918" y="9989"/>
                  </a:lnTo>
                  <a:lnTo>
                    <a:pt x="5837" y="10154"/>
                  </a:lnTo>
                  <a:lnTo>
                    <a:pt x="5674" y="10074"/>
                  </a:lnTo>
                  <a:lnTo>
                    <a:pt x="5651" y="10119"/>
                  </a:lnTo>
                  <a:lnTo>
                    <a:pt x="6042" y="10311"/>
                  </a:lnTo>
                  <a:lnTo>
                    <a:pt x="6065" y="10266"/>
                  </a:lnTo>
                  <a:lnTo>
                    <a:pt x="5875" y="10173"/>
                  </a:lnTo>
                  <a:lnTo>
                    <a:pt x="5956" y="10008"/>
                  </a:lnTo>
                  <a:lnTo>
                    <a:pt x="6146" y="10101"/>
                  </a:lnTo>
                  <a:lnTo>
                    <a:pt x="6169" y="10055"/>
                  </a:lnTo>
                  <a:close/>
                  <a:moveTo>
                    <a:pt x="6333" y="9721"/>
                  </a:moveTo>
                  <a:lnTo>
                    <a:pt x="6292" y="9701"/>
                  </a:lnTo>
                  <a:lnTo>
                    <a:pt x="6208" y="9873"/>
                  </a:lnTo>
                  <a:lnTo>
                    <a:pt x="6065" y="9803"/>
                  </a:lnTo>
                  <a:lnTo>
                    <a:pt x="6131" y="9669"/>
                  </a:lnTo>
                  <a:lnTo>
                    <a:pt x="6090" y="9649"/>
                  </a:lnTo>
                  <a:lnTo>
                    <a:pt x="6024" y="9783"/>
                  </a:lnTo>
                  <a:lnTo>
                    <a:pt x="5896" y="9720"/>
                  </a:lnTo>
                  <a:lnTo>
                    <a:pt x="5975" y="9559"/>
                  </a:lnTo>
                  <a:lnTo>
                    <a:pt x="5939" y="9534"/>
                  </a:lnTo>
                  <a:lnTo>
                    <a:pt x="5834" y="9748"/>
                  </a:lnTo>
                  <a:lnTo>
                    <a:pt x="6225" y="9940"/>
                  </a:lnTo>
                  <a:lnTo>
                    <a:pt x="6333" y="9721"/>
                  </a:lnTo>
                  <a:close/>
                  <a:moveTo>
                    <a:pt x="6250" y="8903"/>
                  </a:moveTo>
                  <a:lnTo>
                    <a:pt x="6227" y="8950"/>
                  </a:lnTo>
                  <a:lnTo>
                    <a:pt x="6429" y="9110"/>
                  </a:lnTo>
                  <a:cubicBezTo>
                    <a:pt x="6442" y="9120"/>
                    <a:pt x="6455" y="9130"/>
                    <a:pt x="6468" y="9140"/>
                  </a:cubicBezTo>
                  <a:cubicBezTo>
                    <a:pt x="6481" y="9150"/>
                    <a:pt x="6492" y="9158"/>
                    <a:pt x="6502" y="9166"/>
                  </a:cubicBezTo>
                  <a:cubicBezTo>
                    <a:pt x="6513" y="9173"/>
                    <a:pt x="6521" y="9179"/>
                    <a:pt x="6527" y="9184"/>
                  </a:cubicBezTo>
                  <a:cubicBezTo>
                    <a:pt x="6533" y="9188"/>
                    <a:pt x="6536" y="9190"/>
                    <a:pt x="6537" y="9191"/>
                  </a:cubicBezTo>
                  <a:cubicBezTo>
                    <a:pt x="6536" y="9191"/>
                    <a:pt x="6533" y="9190"/>
                    <a:pt x="6528" y="9189"/>
                  </a:cubicBezTo>
                  <a:cubicBezTo>
                    <a:pt x="6522" y="9187"/>
                    <a:pt x="6514" y="9185"/>
                    <a:pt x="6504" y="9182"/>
                  </a:cubicBezTo>
                  <a:cubicBezTo>
                    <a:pt x="6493" y="9179"/>
                    <a:pt x="6482" y="9176"/>
                    <a:pt x="6468" y="9172"/>
                  </a:cubicBezTo>
                  <a:cubicBezTo>
                    <a:pt x="6455" y="9169"/>
                    <a:pt x="6440" y="9165"/>
                    <a:pt x="6424" y="9161"/>
                  </a:cubicBezTo>
                  <a:lnTo>
                    <a:pt x="6155" y="9095"/>
                  </a:lnTo>
                  <a:lnTo>
                    <a:pt x="6129" y="9148"/>
                  </a:lnTo>
                  <a:lnTo>
                    <a:pt x="6338" y="9315"/>
                  </a:lnTo>
                  <a:cubicBezTo>
                    <a:pt x="6348" y="9323"/>
                    <a:pt x="6358" y="9332"/>
                    <a:pt x="6370" y="9341"/>
                  </a:cubicBezTo>
                  <a:cubicBezTo>
                    <a:pt x="6382" y="9350"/>
                    <a:pt x="6392" y="9358"/>
                    <a:pt x="6402" y="9365"/>
                  </a:cubicBezTo>
                  <a:cubicBezTo>
                    <a:pt x="6412" y="9373"/>
                    <a:pt x="6421" y="9379"/>
                    <a:pt x="6428" y="9385"/>
                  </a:cubicBezTo>
                  <a:cubicBezTo>
                    <a:pt x="6435" y="9390"/>
                    <a:pt x="6439" y="9393"/>
                    <a:pt x="6440" y="9393"/>
                  </a:cubicBezTo>
                  <a:cubicBezTo>
                    <a:pt x="6438" y="9393"/>
                    <a:pt x="6433" y="9391"/>
                    <a:pt x="6424" y="9388"/>
                  </a:cubicBezTo>
                  <a:cubicBezTo>
                    <a:pt x="6416" y="9386"/>
                    <a:pt x="6405" y="9382"/>
                    <a:pt x="6393" y="9379"/>
                  </a:cubicBezTo>
                  <a:cubicBezTo>
                    <a:pt x="6381" y="9375"/>
                    <a:pt x="6367" y="9371"/>
                    <a:pt x="6353" y="9367"/>
                  </a:cubicBezTo>
                  <a:cubicBezTo>
                    <a:pt x="6338" y="9363"/>
                    <a:pt x="6324" y="9359"/>
                    <a:pt x="6311" y="9356"/>
                  </a:cubicBezTo>
                  <a:lnTo>
                    <a:pt x="6058" y="9293"/>
                  </a:lnTo>
                  <a:lnTo>
                    <a:pt x="6033" y="9343"/>
                  </a:lnTo>
                  <a:lnTo>
                    <a:pt x="6469" y="9443"/>
                  </a:lnTo>
                  <a:lnTo>
                    <a:pt x="6499" y="9383"/>
                  </a:lnTo>
                  <a:lnTo>
                    <a:pt x="6302" y="9226"/>
                  </a:lnTo>
                  <a:cubicBezTo>
                    <a:pt x="6291" y="9217"/>
                    <a:pt x="6279" y="9209"/>
                    <a:pt x="6268" y="9200"/>
                  </a:cubicBezTo>
                  <a:cubicBezTo>
                    <a:pt x="6257" y="9192"/>
                    <a:pt x="6247" y="9184"/>
                    <a:pt x="6238" y="9177"/>
                  </a:cubicBezTo>
                  <a:cubicBezTo>
                    <a:pt x="6229" y="9171"/>
                    <a:pt x="6221" y="9166"/>
                    <a:pt x="6216" y="9162"/>
                  </a:cubicBezTo>
                  <a:cubicBezTo>
                    <a:pt x="6210" y="9158"/>
                    <a:pt x="6206" y="9155"/>
                    <a:pt x="6205" y="9154"/>
                  </a:cubicBezTo>
                  <a:cubicBezTo>
                    <a:pt x="6207" y="9155"/>
                    <a:pt x="6211" y="9156"/>
                    <a:pt x="6218" y="9158"/>
                  </a:cubicBezTo>
                  <a:cubicBezTo>
                    <a:pt x="6225" y="9160"/>
                    <a:pt x="6233" y="9163"/>
                    <a:pt x="6244" y="9166"/>
                  </a:cubicBezTo>
                  <a:cubicBezTo>
                    <a:pt x="6255" y="9169"/>
                    <a:pt x="6267" y="9172"/>
                    <a:pt x="6281" y="9176"/>
                  </a:cubicBezTo>
                  <a:cubicBezTo>
                    <a:pt x="6295" y="9180"/>
                    <a:pt x="6310" y="9184"/>
                    <a:pt x="6325" y="9188"/>
                  </a:cubicBezTo>
                  <a:lnTo>
                    <a:pt x="6566" y="9246"/>
                  </a:lnTo>
                  <a:lnTo>
                    <a:pt x="6596" y="9185"/>
                  </a:lnTo>
                  <a:lnTo>
                    <a:pt x="6250" y="8903"/>
                  </a:lnTo>
                  <a:close/>
                  <a:moveTo>
                    <a:pt x="6701" y="8972"/>
                  </a:moveTo>
                  <a:lnTo>
                    <a:pt x="6311" y="8779"/>
                  </a:lnTo>
                  <a:lnTo>
                    <a:pt x="6288" y="8825"/>
                  </a:lnTo>
                  <a:lnTo>
                    <a:pt x="6679" y="9017"/>
                  </a:lnTo>
                  <a:lnTo>
                    <a:pt x="6701" y="8972"/>
                  </a:lnTo>
                  <a:close/>
                  <a:moveTo>
                    <a:pt x="6818" y="8637"/>
                  </a:moveTo>
                  <a:lnTo>
                    <a:pt x="6742" y="8791"/>
                  </a:lnTo>
                  <a:lnTo>
                    <a:pt x="6390" y="8618"/>
                  </a:lnTo>
                  <a:lnTo>
                    <a:pt x="6367" y="8665"/>
                  </a:lnTo>
                  <a:lnTo>
                    <a:pt x="6758" y="8857"/>
                  </a:lnTo>
                  <a:lnTo>
                    <a:pt x="6854" y="8662"/>
                  </a:lnTo>
                  <a:lnTo>
                    <a:pt x="6818" y="8637"/>
                  </a:lnTo>
                  <a:close/>
                  <a:moveTo>
                    <a:pt x="7020" y="8324"/>
                  </a:moveTo>
                  <a:lnTo>
                    <a:pt x="6629" y="8131"/>
                  </a:lnTo>
                  <a:lnTo>
                    <a:pt x="6606" y="8178"/>
                  </a:lnTo>
                  <a:lnTo>
                    <a:pt x="6770" y="8258"/>
                  </a:lnTo>
                  <a:lnTo>
                    <a:pt x="6689" y="8423"/>
                  </a:lnTo>
                  <a:lnTo>
                    <a:pt x="6525" y="8343"/>
                  </a:lnTo>
                  <a:lnTo>
                    <a:pt x="6503" y="8388"/>
                  </a:lnTo>
                  <a:lnTo>
                    <a:pt x="6894" y="8581"/>
                  </a:lnTo>
                  <a:lnTo>
                    <a:pt x="6916" y="8535"/>
                  </a:lnTo>
                  <a:lnTo>
                    <a:pt x="6727" y="8442"/>
                  </a:lnTo>
                  <a:lnTo>
                    <a:pt x="6808" y="8277"/>
                  </a:lnTo>
                  <a:lnTo>
                    <a:pt x="6997" y="8370"/>
                  </a:lnTo>
                  <a:lnTo>
                    <a:pt x="7020" y="8324"/>
                  </a:lnTo>
                  <a:close/>
                  <a:moveTo>
                    <a:pt x="7185" y="7990"/>
                  </a:moveTo>
                  <a:lnTo>
                    <a:pt x="7144" y="7970"/>
                  </a:lnTo>
                  <a:lnTo>
                    <a:pt x="7059" y="8142"/>
                  </a:lnTo>
                  <a:lnTo>
                    <a:pt x="6916" y="8072"/>
                  </a:lnTo>
                  <a:lnTo>
                    <a:pt x="6982" y="7938"/>
                  </a:lnTo>
                  <a:lnTo>
                    <a:pt x="6942" y="7918"/>
                  </a:lnTo>
                  <a:lnTo>
                    <a:pt x="6876" y="8052"/>
                  </a:lnTo>
                  <a:lnTo>
                    <a:pt x="6748" y="7989"/>
                  </a:lnTo>
                  <a:lnTo>
                    <a:pt x="6827" y="7828"/>
                  </a:lnTo>
                  <a:lnTo>
                    <a:pt x="6791" y="7803"/>
                  </a:lnTo>
                  <a:lnTo>
                    <a:pt x="6686" y="8017"/>
                  </a:lnTo>
                  <a:lnTo>
                    <a:pt x="7077" y="8209"/>
                  </a:lnTo>
                  <a:lnTo>
                    <a:pt x="7185" y="7990"/>
                  </a:lnTo>
                  <a:close/>
                  <a:moveTo>
                    <a:pt x="7285" y="7687"/>
                  </a:moveTo>
                  <a:lnTo>
                    <a:pt x="7209" y="7841"/>
                  </a:lnTo>
                  <a:lnTo>
                    <a:pt x="6857" y="7668"/>
                  </a:lnTo>
                  <a:lnTo>
                    <a:pt x="6834" y="7715"/>
                  </a:lnTo>
                  <a:lnTo>
                    <a:pt x="7225" y="7907"/>
                  </a:lnTo>
                  <a:lnTo>
                    <a:pt x="7321" y="7712"/>
                  </a:lnTo>
                  <a:lnTo>
                    <a:pt x="7285" y="7687"/>
                  </a:lnTo>
                  <a:close/>
                  <a:moveTo>
                    <a:pt x="7544" y="7259"/>
                  </a:moveTo>
                  <a:lnTo>
                    <a:pt x="7137" y="7101"/>
                  </a:lnTo>
                  <a:lnTo>
                    <a:pt x="7103" y="7170"/>
                  </a:lnTo>
                  <a:lnTo>
                    <a:pt x="7326" y="7371"/>
                  </a:lnTo>
                  <a:cubicBezTo>
                    <a:pt x="7340" y="7383"/>
                    <a:pt x="7352" y="7393"/>
                    <a:pt x="7364" y="7402"/>
                  </a:cubicBezTo>
                  <a:cubicBezTo>
                    <a:pt x="7375" y="7410"/>
                    <a:pt x="7381" y="7415"/>
                    <a:pt x="7383" y="7416"/>
                  </a:cubicBezTo>
                  <a:cubicBezTo>
                    <a:pt x="7380" y="7416"/>
                    <a:pt x="7373" y="7414"/>
                    <a:pt x="7359" y="7410"/>
                  </a:cubicBezTo>
                  <a:cubicBezTo>
                    <a:pt x="7345" y="7406"/>
                    <a:pt x="7328" y="7402"/>
                    <a:pt x="7307" y="7398"/>
                  </a:cubicBezTo>
                  <a:lnTo>
                    <a:pt x="7017" y="7344"/>
                  </a:lnTo>
                  <a:lnTo>
                    <a:pt x="6983" y="7412"/>
                  </a:lnTo>
                  <a:lnTo>
                    <a:pt x="7357" y="7639"/>
                  </a:lnTo>
                  <a:lnTo>
                    <a:pt x="7379" y="7594"/>
                  </a:lnTo>
                  <a:lnTo>
                    <a:pt x="7112" y="7435"/>
                  </a:lnTo>
                  <a:cubicBezTo>
                    <a:pt x="7107" y="7432"/>
                    <a:pt x="7100" y="7428"/>
                    <a:pt x="7093" y="7424"/>
                  </a:cubicBezTo>
                  <a:cubicBezTo>
                    <a:pt x="7085" y="7420"/>
                    <a:pt x="7078" y="7415"/>
                    <a:pt x="7070" y="7411"/>
                  </a:cubicBezTo>
                  <a:cubicBezTo>
                    <a:pt x="7063" y="7407"/>
                    <a:pt x="7056" y="7403"/>
                    <a:pt x="7051" y="7400"/>
                  </a:cubicBezTo>
                  <a:cubicBezTo>
                    <a:pt x="7046" y="7397"/>
                    <a:pt x="7043" y="7396"/>
                    <a:pt x="7041" y="7395"/>
                  </a:cubicBezTo>
                  <a:cubicBezTo>
                    <a:pt x="7046" y="7396"/>
                    <a:pt x="7055" y="7398"/>
                    <a:pt x="7069" y="7401"/>
                  </a:cubicBezTo>
                  <a:cubicBezTo>
                    <a:pt x="7084" y="7404"/>
                    <a:pt x="7102" y="7408"/>
                    <a:pt x="7124" y="7412"/>
                  </a:cubicBezTo>
                  <a:lnTo>
                    <a:pt x="7440" y="7471"/>
                  </a:lnTo>
                  <a:lnTo>
                    <a:pt x="7460" y="7431"/>
                  </a:lnTo>
                  <a:lnTo>
                    <a:pt x="7209" y="7204"/>
                  </a:lnTo>
                  <a:cubicBezTo>
                    <a:pt x="7204" y="7199"/>
                    <a:pt x="7198" y="7194"/>
                    <a:pt x="7192" y="7189"/>
                  </a:cubicBezTo>
                  <a:cubicBezTo>
                    <a:pt x="7187" y="7184"/>
                    <a:pt x="7181" y="7180"/>
                    <a:pt x="7176" y="7175"/>
                  </a:cubicBezTo>
                  <a:cubicBezTo>
                    <a:pt x="7170" y="7171"/>
                    <a:pt x="7166" y="7167"/>
                    <a:pt x="7162" y="7164"/>
                  </a:cubicBezTo>
                  <a:cubicBezTo>
                    <a:pt x="7158" y="7161"/>
                    <a:pt x="7156" y="7159"/>
                    <a:pt x="7156" y="7158"/>
                  </a:cubicBezTo>
                  <a:cubicBezTo>
                    <a:pt x="7156" y="7159"/>
                    <a:pt x="7159" y="7160"/>
                    <a:pt x="7164" y="7162"/>
                  </a:cubicBezTo>
                  <a:cubicBezTo>
                    <a:pt x="7168" y="7164"/>
                    <a:pt x="7174" y="7166"/>
                    <a:pt x="7181" y="7170"/>
                  </a:cubicBezTo>
                  <a:cubicBezTo>
                    <a:pt x="7188" y="7173"/>
                    <a:pt x="7195" y="7176"/>
                    <a:pt x="7202" y="7179"/>
                  </a:cubicBezTo>
                  <a:cubicBezTo>
                    <a:pt x="7210" y="7182"/>
                    <a:pt x="7217" y="7185"/>
                    <a:pt x="7223" y="7188"/>
                  </a:cubicBezTo>
                  <a:lnTo>
                    <a:pt x="7521" y="7306"/>
                  </a:lnTo>
                  <a:lnTo>
                    <a:pt x="7544" y="7259"/>
                  </a:lnTo>
                  <a:close/>
                  <a:moveTo>
                    <a:pt x="7564" y="6848"/>
                  </a:moveTo>
                  <a:cubicBezTo>
                    <a:pt x="7549" y="6846"/>
                    <a:pt x="7535" y="6847"/>
                    <a:pt x="7522" y="6851"/>
                  </a:cubicBezTo>
                  <a:cubicBezTo>
                    <a:pt x="7509" y="6854"/>
                    <a:pt x="7497" y="6859"/>
                    <a:pt x="7486" y="6867"/>
                  </a:cubicBezTo>
                  <a:cubicBezTo>
                    <a:pt x="7475" y="6874"/>
                    <a:pt x="7463" y="6885"/>
                    <a:pt x="7449" y="6900"/>
                  </a:cubicBezTo>
                  <a:lnTo>
                    <a:pt x="7413" y="6938"/>
                  </a:lnTo>
                  <a:cubicBezTo>
                    <a:pt x="7394" y="6958"/>
                    <a:pt x="7377" y="6970"/>
                    <a:pt x="7362" y="6975"/>
                  </a:cubicBezTo>
                  <a:cubicBezTo>
                    <a:pt x="7348" y="6981"/>
                    <a:pt x="7333" y="6980"/>
                    <a:pt x="7317" y="6972"/>
                  </a:cubicBezTo>
                  <a:cubicBezTo>
                    <a:pt x="7297" y="6962"/>
                    <a:pt x="7284" y="6947"/>
                    <a:pt x="7280" y="6928"/>
                  </a:cubicBezTo>
                  <a:cubicBezTo>
                    <a:pt x="7275" y="6909"/>
                    <a:pt x="7279" y="6887"/>
                    <a:pt x="7291" y="6862"/>
                  </a:cubicBezTo>
                  <a:cubicBezTo>
                    <a:pt x="7295" y="6854"/>
                    <a:pt x="7299" y="6846"/>
                    <a:pt x="7304" y="6839"/>
                  </a:cubicBezTo>
                  <a:cubicBezTo>
                    <a:pt x="7309" y="6832"/>
                    <a:pt x="7315" y="6826"/>
                    <a:pt x="7321" y="6820"/>
                  </a:cubicBezTo>
                  <a:cubicBezTo>
                    <a:pt x="7327" y="6814"/>
                    <a:pt x="7334" y="6808"/>
                    <a:pt x="7342" y="6802"/>
                  </a:cubicBezTo>
                  <a:cubicBezTo>
                    <a:pt x="7351" y="6796"/>
                    <a:pt x="7360" y="6790"/>
                    <a:pt x="7371" y="6783"/>
                  </a:cubicBezTo>
                  <a:lnTo>
                    <a:pt x="7347" y="6746"/>
                  </a:lnTo>
                  <a:cubicBezTo>
                    <a:pt x="7304" y="6771"/>
                    <a:pt x="7272" y="6804"/>
                    <a:pt x="7252" y="6845"/>
                  </a:cubicBezTo>
                  <a:cubicBezTo>
                    <a:pt x="7242" y="6864"/>
                    <a:pt x="7236" y="6883"/>
                    <a:pt x="7234" y="6901"/>
                  </a:cubicBezTo>
                  <a:cubicBezTo>
                    <a:pt x="7232" y="6920"/>
                    <a:pt x="7233" y="6937"/>
                    <a:pt x="7238" y="6953"/>
                  </a:cubicBezTo>
                  <a:cubicBezTo>
                    <a:pt x="7242" y="6968"/>
                    <a:pt x="7250" y="6983"/>
                    <a:pt x="7260" y="6996"/>
                  </a:cubicBezTo>
                  <a:cubicBezTo>
                    <a:pt x="7271" y="7008"/>
                    <a:pt x="7285" y="7019"/>
                    <a:pt x="7302" y="7027"/>
                  </a:cubicBezTo>
                  <a:cubicBezTo>
                    <a:pt x="7327" y="7040"/>
                    <a:pt x="7352" y="7042"/>
                    <a:pt x="7377" y="7034"/>
                  </a:cubicBezTo>
                  <a:cubicBezTo>
                    <a:pt x="7389" y="7030"/>
                    <a:pt x="7400" y="7025"/>
                    <a:pt x="7410" y="7017"/>
                  </a:cubicBezTo>
                  <a:cubicBezTo>
                    <a:pt x="7420" y="7009"/>
                    <a:pt x="7432" y="6997"/>
                    <a:pt x="7446" y="6982"/>
                  </a:cubicBezTo>
                  <a:lnTo>
                    <a:pt x="7478" y="6948"/>
                  </a:lnTo>
                  <a:cubicBezTo>
                    <a:pt x="7515" y="6908"/>
                    <a:pt x="7551" y="6897"/>
                    <a:pt x="7585" y="6914"/>
                  </a:cubicBezTo>
                  <a:cubicBezTo>
                    <a:pt x="7608" y="6925"/>
                    <a:pt x="7622" y="6944"/>
                    <a:pt x="7627" y="6969"/>
                  </a:cubicBezTo>
                  <a:cubicBezTo>
                    <a:pt x="7630" y="6981"/>
                    <a:pt x="7630" y="6992"/>
                    <a:pt x="7628" y="7002"/>
                  </a:cubicBezTo>
                  <a:cubicBezTo>
                    <a:pt x="7626" y="7013"/>
                    <a:pt x="7621" y="7025"/>
                    <a:pt x="7614" y="7040"/>
                  </a:cubicBezTo>
                  <a:cubicBezTo>
                    <a:pt x="7604" y="7060"/>
                    <a:pt x="7592" y="7077"/>
                    <a:pt x="7579" y="7091"/>
                  </a:cubicBezTo>
                  <a:cubicBezTo>
                    <a:pt x="7565" y="7105"/>
                    <a:pt x="7548" y="7118"/>
                    <a:pt x="7529" y="7128"/>
                  </a:cubicBezTo>
                  <a:lnTo>
                    <a:pt x="7555" y="7167"/>
                  </a:lnTo>
                  <a:cubicBezTo>
                    <a:pt x="7577" y="7153"/>
                    <a:pt x="7595" y="7138"/>
                    <a:pt x="7611" y="7120"/>
                  </a:cubicBezTo>
                  <a:cubicBezTo>
                    <a:pt x="7627" y="7103"/>
                    <a:pt x="7640" y="7082"/>
                    <a:pt x="7652" y="7059"/>
                  </a:cubicBezTo>
                  <a:cubicBezTo>
                    <a:pt x="7661" y="7041"/>
                    <a:pt x="7667" y="7024"/>
                    <a:pt x="7670" y="7008"/>
                  </a:cubicBezTo>
                  <a:cubicBezTo>
                    <a:pt x="7673" y="6993"/>
                    <a:pt x="7673" y="6976"/>
                    <a:pt x="7671" y="6959"/>
                  </a:cubicBezTo>
                  <a:cubicBezTo>
                    <a:pt x="7669" y="6936"/>
                    <a:pt x="7661" y="6916"/>
                    <a:pt x="7649" y="6899"/>
                  </a:cubicBezTo>
                  <a:cubicBezTo>
                    <a:pt x="7637" y="6881"/>
                    <a:pt x="7622" y="6868"/>
                    <a:pt x="7604" y="6859"/>
                  </a:cubicBezTo>
                  <a:cubicBezTo>
                    <a:pt x="7592" y="6853"/>
                    <a:pt x="7578" y="6849"/>
                    <a:pt x="7564" y="6848"/>
                  </a:cubicBezTo>
                  <a:close/>
                  <a:moveTo>
                    <a:pt x="7678" y="6658"/>
                  </a:moveTo>
                  <a:lnTo>
                    <a:pt x="7635" y="6636"/>
                  </a:lnTo>
                  <a:lnTo>
                    <a:pt x="7581" y="6745"/>
                  </a:lnTo>
                  <a:lnTo>
                    <a:pt x="7624" y="6766"/>
                  </a:lnTo>
                  <a:lnTo>
                    <a:pt x="7678" y="6658"/>
                  </a:lnTo>
                  <a:close/>
                  <a:moveTo>
                    <a:pt x="7594" y="6170"/>
                  </a:moveTo>
                  <a:lnTo>
                    <a:pt x="7572" y="6216"/>
                  </a:lnTo>
                  <a:lnTo>
                    <a:pt x="7844" y="6350"/>
                  </a:lnTo>
                  <a:cubicBezTo>
                    <a:pt x="7857" y="6357"/>
                    <a:pt x="7868" y="6363"/>
                    <a:pt x="7877" y="6370"/>
                  </a:cubicBezTo>
                  <a:cubicBezTo>
                    <a:pt x="7885" y="6376"/>
                    <a:pt x="7892" y="6384"/>
                    <a:pt x="7898" y="6395"/>
                  </a:cubicBezTo>
                  <a:cubicBezTo>
                    <a:pt x="7903" y="6405"/>
                    <a:pt x="7904" y="6417"/>
                    <a:pt x="7903" y="6431"/>
                  </a:cubicBezTo>
                  <a:cubicBezTo>
                    <a:pt x="7901" y="6445"/>
                    <a:pt x="7896" y="6460"/>
                    <a:pt x="7888" y="6476"/>
                  </a:cubicBezTo>
                  <a:cubicBezTo>
                    <a:pt x="7882" y="6488"/>
                    <a:pt x="7876" y="6498"/>
                    <a:pt x="7869" y="6506"/>
                  </a:cubicBezTo>
                  <a:cubicBezTo>
                    <a:pt x="7863" y="6513"/>
                    <a:pt x="7856" y="6519"/>
                    <a:pt x="7849" y="6524"/>
                  </a:cubicBezTo>
                  <a:cubicBezTo>
                    <a:pt x="7843" y="6528"/>
                    <a:pt x="7836" y="6531"/>
                    <a:pt x="7830" y="6532"/>
                  </a:cubicBezTo>
                  <a:cubicBezTo>
                    <a:pt x="7823" y="6533"/>
                    <a:pt x="7818" y="6534"/>
                    <a:pt x="7813" y="6534"/>
                  </a:cubicBezTo>
                  <a:cubicBezTo>
                    <a:pt x="7805" y="6533"/>
                    <a:pt x="7796" y="6531"/>
                    <a:pt x="7785" y="6527"/>
                  </a:cubicBezTo>
                  <a:cubicBezTo>
                    <a:pt x="7773" y="6522"/>
                    <a:pt x="7763" y="6518"/>
                    <a:pt x="7753" y="6513"/>
                  </a:cubicBezTo>
                  <a:lnTo>
                    <a:pt x="7490" y="6383"/>
                  </a:lnTo>
                  <a:lnTo>
                    <a:pt x="7467" y="6429"/>
                  </a:lnTo>
                  <a:lnTo>
                    <a:pt x="7747" y="6567"/>
                  </a:lnTo>
                  <a:cubicBezTo>
                    <a:pt x="7756" y="6572"/>
                    <a:pt x="7766" y="6576"/>
                    <a:pt x="7778" y="6580"/>
                  </a:cubicBezTo>
                  <a:cubicBezTo>
                    <a:pt x="7790" y="6585"/>
                    <a:pt x="7802" y="6587"/>
                    <a:pt x="7814" y="6586"/>
                  </a:cubicBezTo>
                  <a:cubicBezTo>
                    <a:pt x="7838" y="6585"/>
                    <a:pt x="7860" y="6578"/>
                    <a:pt x="7878" y="6564"/>
                  </a:cubicBezTo>
                  <a:cubicBezTo>
                    <a:pt x="7896" y="6550"/>
                    <a:pt x="7912" y="6528"/>
                    <a:pt x="7927" y="6498"/>
                  </a:cubicBezTo>
                  <a:cubicBezTo>
                    <a:pt x="7939" y="6474"/>
                    <a:pt x="7946" y="6453"/>
                    <a:pt x="7949" y="6434"/>
                  </a:cubicBezTo>
                  <a:cubicBezTo>
                    <a:pt x="7952" y="6416"/>
                    <a:pt x="7952" y="6398"/>
                    <a:pt x="7947" y="6381"/>
                  </a:cubicBezTo>
                  <a:cubicBezTo>
                    <a:pt x="7943" y="6364"/>
                    <a:pt x="7936" y="6351"/>
                    <a:pt x="7924" y="6340"/>
                  </a:cubicBezTo>
                  <a:cubicBezTo>
                    <a:pt x="7913" y="6330"/>
                    <a:pt x="7896" y="6319"/>
                    <a:pt x="7872" y="6307"/>
                  </a:cubicBezTo>
                  <a:lnTo>
                    <a:pt x="7594" y="6170"/>
                  </a:lnTo>
                  <a:close/>
                  <a:moveTo>
                    <a:pt x="8169" y="5990"/>
                  </a:moveTo>
                  <a:lnTo>
                    <a:pt x="7778" y="5798"/>
                  </a:lnTo>
                  <a:lnTo>
                    <a:pt x="7755" y="5844"/>
                  </a:lnTo>
                  <a:lnTo>
                    <a:pt x="7968" y="5947"/>
                  </a:lnTo>
                  <a:cubicBezTo>
                    <a:pt x="7982" y="5954"/>
                    <a:pt x="7997" y="5960"/>
                    <a:pt x="8011" y="5967"/>
                  </a:cubicBezTo>
                  <a:cubicBezTo>
                    <a:pt x="8025" y="5973"/>
                    <a:pt x="8038" y="5979"/>
                    <a:pt x="8050" y="5984"/>
                  </a:cubicBezTo>
                  <a:cubicBezTo>
                    <a:pt x="8061" y="5988"/>
                    <a:pt x="8071" y="5992"/>
                    <a:pt x="8078" y="5995"/>
                  </a:cubicBezTo>
                  <a:cubicBezTo>
                    <a:pt x="8086" y="5998"/>
                    <a:pt x="8090" y="6000"/>
                    <a:pt x="8090" y="6000"/>
                  </a:cubicBezTo>
                  <a:cubicBezTo>
                    <a:pt x="8089" y="6000"/>
                    <a:pt x="8085" y="6000"/>
                    <a:pt x="8079" y="5999"/>
                  </a:cubicBezTo>
                  <a:cubicBezTo>
                    <a:pt x="8073" y="5999"/>
                    <a:pt x="8065" y="5998"/>
                    <a:pt x="8056" y="5998"/>
                  </a:cubicBezTo>
                  <a:cubicBezTo>
                    <a:pt x="8047" y="5997"/>
                    <a:pt x="8036" y="5997"/>
                    <a:pt x="8025" y="5996"/>
                  </a:cubicBezTo>
                  <a:cubicBezTo>
                    <a:pt x="8013" y="5996"/>
                    <a:pt x="8002" y="5996"/>
                    <a:pt x="7990" y="5996"/>
                  </a:cubicBezTo>
                  <a:lnTo>
                    <a:pt x="7677" y="6003"/>
                  </a:lnTo>
                  <a:lnTo>
                    <a:pt x="7650" y="6057"/>
                  </a:lnTo>
                  <a:lnTo>
                    <a:pt x="8041" y="6250"/>
                  </a:lnTo>
                  <a:lnTo>
                    <a:pt x="8065" y="6201"/>
                  </a:lnTo>
                  <a:lnTo>
                    <a:pt x="7837" y="6092"/>
                  </a:lnTo>
                  <a:cubicBezTo>
                    <a:pt x="7825" y="6086"/>
                    <a:pt x="7814" y="6081"/>
                    <a:pt x="7802" y="6076"/>
                  </a:cubicBezTo>
                  <a:cubicBezTo>
                    <a:pt x="7790" y="6071"/>
                    <a:pt x="7780" y="6066"/>
                    <a:pt x="7770" y="6062"/>
                  </a:cubicBezTo>
                  <a:cubicBezTo>
                    <a:pt x="7760" y="6058"/>
                    <a:pt x="7751" y="6054"/>
                    <a:pt x="7744" y="6051"/>
                  </a:cubicBezTo>
                  <a:cubicBezTo>
                    <a:pt x="7737" y="6048"/>
                    <a:pt x="7731" y="6046"/>
                    <a:pt x="7728" y="6045"/>
                  </a:cubicBezTo>
                  <a:cubicBezTo>
                    <a:pt x="7732" y="6046"/>
                    <a:pt x="7738" y="6046"/>
                    <a:pt x="7745" y="6046"/>
                  </a:cubicBezTo>
                  <a:cubicBezTo>
                    <a:pt x="7753" y="6047"/>
                    <a:pt x="7761" y="6047"/>
                    <a:pt x="7772" y="6047"/>
                  </a:cubicBezTo>
                  <a:cubicBezTo>
                    <a:pt x="7782" y="6047"/>
                    <a:pt x="7793" y="6047"/>
                    <a:pt x="7805" y="6047"/>
                  </a:cubicBezTo>
                  <a:cubicBezTo>
                    <a:pt x="7817" y="6047"/>
                    <a:pt x="7830" y="6047"/>
                    <a:pt x="7844" y="6047"/>
                  </a:cubicBezTo>
                  <a:lnTo>
                    <a:pt x="8144" y="6039"/>
                  </a:lnTo>
                  <a:lnTo>
                    <a:pt x="8169" y="5990"/>
                  </a:lnTo>
                  <a:close/>
                  <a:moveTo>
                    <a:pt x="8247" y="5830"/>
                  </a:moveTo>
                  <a:lnTo>
                    <a:pt x="7856" y="5638"/>
                  </a:lnTo>
                  <a:lnTo>
                    <a:pt x="7834" y="5683"/>
                  </a:lnTo>
                  <a:lnTo>
                    <a:pt x="8225" y="5876"/>
                  </a:lnTo>
                  <a:lnTo>
                    <a:pt x="8247" y="5830"/>
                  </a:lnTo>
                  <a:close/>
                  <a:moveTo>
                    <a:pt x="8047" y="5250"/>
                  </a:moveTo>
                  <a:lnTo>
                    <a:pt x="8023" y="5298"/>
                  </a:lnTo>
                  <a:lnTo>
                    <a:pt x="8240" y="5509"/>
                  </a:lnTo>
                  <a:cubicBezTo>
                    <a:pt x="8258" y="5526"/>
                    <a:pt x="8273" y="5540"/>
                    <a:pt x="8285" y="5551"/>
                  </a:cubicBezTo>
                  <a:cubicBezTo>
                    <a:pt x="8297" y="5562"/>
                    <a:pt x="8305" y="5569"/>
                    <a:pt x="8309" y="5573"/>
                  </a:cubicBezTo>
                  <a:cubicBezTo>
                    <a:pt x="8307" y="5572"/>
                    <a:pt x="8302" y="5571"/>
                    <a:pt x="8295" y="5569"/>
                  </a:cubicBezTo>
                  <a:cubicBezTo>
                    <a:pt x="8288" y="5567"/>
                    <a:pt x="8280" y="5565"/>
                    <a:pt x="8271" y="5563"/>
                  </a:cubicBezTo>
                  <a:cubicBezTo>
                    <a:pt x="8261" y="5561"/>
                    <a:pt x="8252" y="5559"/>
                    <a:pt x="8242" y="5558"/>
                  </a:cubicBezTo>
                  <a:cubicBezTo>
                    <a:pt x="8231" y="5556"/>
                    <a:pt x="8221" y="5554"/>
                    <a:pt x="8211" y="5553"/>
                  </a:cubicBezTo>
                  <a:lnTo>
                    <a:pt x="7919" y="5511"/>
                  </a:lnTo>
                  <a:lnTo>
                    <a:pt x="7894" y="5562"/>
                  </a:lnTo>
                  <a:lnTo>
                    <a:pt x="8349" y="5623"/>
                  </a:lnTo>
                  <a:lnTo>
                    <a:pt x="8372" y="5577"/>
                  </a:lnTo>
                  <a:lnTo>
                    <a:pt x="8047" y="5250"/>
                  </a:lnTo>
                  <a:close/>
                  <a:moveTo>
                    <a:pt x="8583" y="5148"/>
                  </a:moveTo>
                  <a:lnTo>
                    <a:pt x="8543" y="5128"/>
                  </a:lnTo>
                  <a:lnTo>
                    <a:pt x="8458" y="5300"/>
                  </a:lnTo>
                  <a:lnTo>
                    <a:pt x="8315" y="5230"/>
                  </a:lnTo>
                  <a:lnTo>
                    <a:pt x="8381" y="5096"/>
                  </a:lnTo>
                  <a:lnTo>
                    <a:pt x="8340" y="5076"/>
                  </a:lnTo>
                  <a:lnTo>
                    <a:pt x="8274" y="5210"/>
                  </a:lnTo>
                  <a:lnTo>
                    <a:pt x="8146" y="5147"/>
                  </a:lnTo>
                  <a:lnTo>
                    <a:pt x="8225" y="4986"/>
                  </a:lnTo>
                  <a:lnTo>
                    <a:pt x="8189" y="4961"/>
                  </a:lnTo>
                  <a:lnTo>
                    <a:pt x="8084" y="5175"/>
                  </a:lnTo>
                  <a:lnTo>
                    <a:pt x="8475" y="5367"/>
                  </a:lnTo>
                  <a:lnTo>
                    <a:pt x="8583" y="5148"/>
                  </a:lnTo>
                  <a:close/>
                  <a:moveTo>
                    <a:pt x="8746" y="4817"/>
                  </a:moveTo>
                  <a:lnTo>
                    <a:pt x="8710" y="4821"/>
                  </a:lnTo>
                  <a:cubicBezTo>
                    <a:pt x="8693" y="4824"/>
                    <a:pt x="8675" y="4826"/>
                    <a:pt x="8657" y="4829"/>
                  </a:cubicBezTo>
                  <a:cubicBezTo>
                    <a:pt x="8638" y="4831"/>
                    <a:pt x="8620" y="4834"/>
                    <a:pt x="8604" y="4836"/>
                  </a:cubicBezTo>
                  <a:cubicBezTo>
                    <a:pt x="8587" y="4838"/>
                    <a:pt x="8576" y="4840"/>
                    <a:pt x="8569" y="4841"/>
                  </a:cubicBezTo>
                  <a:cubicBezTo>
                    <a:pt x="8559" y="4843"/>
                    <a:pt x="8548" y="4846"/>
                    <a:pt x="8536" y="4849"/>
                  </a:cubicBezTo>
                  <a:cubicBezTo>
                    <a:pt x="8524" y="4852"/>
                    <a:pt x="8514" y="4855"/>
                    <a:pt x="8506" y="4859"/>
                  </a:cubicBezTo>
                  <a:lnTo>
                    <a:pt x="8508" y="4853"/>
                  </a:lnTo>
                  <a:cubicBezTo>
                    <a:pt x="8516" y="4838"/>
                    <a:pt x="8521" y="4822"/>
                    <a:pt x="8522" y="4807"/>
                  </a:cubicBezTo>
                  <a:cubicBezTo>
                    <a:pt x="8523" y="4792"/>
                    <a:pt x="8521" y="4777"/>
                    <a:pt x="8516" y="4764"/>
                  </a:cubicBezTo>
                  <a:cubicBezTo>
                    <a:pt x="8511" y="4750"/>
                    <a:pt x="8503" y="4738"/>
                    <a:pt x="8493" y="4726"/>
                  </a:cubicBezTo>
                  <a:cubicBezTo>
                    <a:pt x="8482" y="4715"/>
                    <a:pt x="8468" y="4705"/>
                    <a:pt x="8452" y="4697"/>
                  </a:cubicBezTo>
                  <a:cubicBezTo>
                    <a:pt x="8442" y="4692"/>
                    <a:pt x="8432" y="4689"/>
                    <a:pt x="8422" y="4687"/>
                  </a:cubicBezTo>
                  <a:cubicBezTo>
                    <a:pt x="8413" y="4685"/>
                    <a:pt x="8403" y="4684"/>
                    <a:pt x="8395" y="4685"/>
                  </a:cubicBezTo>
                  <a:cubicBezTo>
                    <a:pt x="8386" y="4685"/>
                    <a:pt x="8378" y="4686"/>
                    <a:pt x="8371" y="4688"/>
                  </a:cubicBezTo>
                  <a:cubicBezTo>
                    <a:pt x="8363" y="4690"/>
                    <a:pt x="8357" y="4693"/>
                    <a:pt x="8351" y="4695"/>
                  </a:cubicBezTo>
                  <a:cubicBezTo>
                    <a:pt x="8345" y="4698"/>
                    <a:pt x="8339" y="4702"/>
                    <a:pt x="8333" y="4706"/>
                  </a:cubicBezTo>
                  <a:cubicBezTo>
                    <a:pt x="8327" y="4710"/>
                    <a:pt x="8321" y="4716"/>
                    <a:pt x="8315" y="4723"/>
                  </a:cubicBezTo>
                  <a:cubicBezTo>
                    <a:pt x="8309" y="4729"/>
                    <a:pt x="8303" y="4737"/>
                    <a:pt x="8297" y="4747"/>
                  </a:cubicBezTo>
                  <a:cubicBezTo>
                    <a:pt x="8291" y="4757"/>
                    <a:pt x="8284" y="4768"/>
                    <a:pt x="8278" y="4782"/>
                  </a:cubicBezTo>
                  <a:lnTo>
                    <a:pt x="8233" y="4873"/>
                  </a:lnTo>
                  <a:lnTo>
                    <a:pt x="8624" y="5065"/>
                  </a:lnTo>
                  <a:lnTo>
                    <a:pt x="8646" y="5020"/>
                  </a:lnTo>
                  <a:lnTo>
                    <a:pt x="8469" y="4933"/>
                  </a:lnTo>
                  <a:cubicBezTo>
                    <a:pt x="8475" y="4923"/>
                    <a:pt x="8480" y="4916"/>
                    <a:pt x="8487" y="4911"/>
                  </a:cubicBezTo>
                  <a:cubicBezTo>
                    <a:pt x="8493" y="4907"/>
                    <a:pt x="8503" y="4903"/>
                    <a:pt x="8516" y="4901"/>
                  </a:cubicBezTo>
                  <a:cubicBezTo>
                    <a:pt x="8539" y="4896"/>
                    <a:pt x="8561" y="4892"/>
                    <a:pt x="8582" y="4888"/>
                  </a:cubicBezTo>
                  <a:cubicBezTo>
                    <a:pt x="8603" y="4885"/>
                    <a:pt x="8622" y="4882"/>
                    <a:pt x="8639" y="4880"/>
                  </a:cubicBezTo>
                  <a:cubicBezTo>
                    <a:pt x="8657" y="4878"/>
                    <a:pt x="8672" y="4877"/>
                    <a:pt x="8685" y="4876"/>
                  </a:cubicBezTo>
                  <a:cubicBezTo>
                    <a:pt x="8699" y="4875"/>
                    <a:pt x="8709" y="4875"/>
                    <a:pt x="8717" y="4875"/>
                  </a:cubicBezTo>
                  <a:lnTo>
                    <a:pt x="8746" y="4817"/>
                  </a:lnTo>
                  <a:close/>
                  <a:moveTo>
                    <a:pt x="8460" y="4768"/>
                  </a:moveTo>
                  <a:cubicBezTo>
                    <a:pt x="8468" y="4776"/>
                    <a:pt x="8474" y="4785"/>
                    <a:pt x="8477" y="4795"/>
                  </a:cubicBezTo>
                  <a:cubicBezTo>
                    <a:pt x="8480" y="4806"/>
                    <a:pt x="8480" y="4817"/>
                    <a:pt x="8478" y="4830"/>
                  </a:cubicBezTo>
                  <a:cubicBezTo>
                    <a:pt x="8476" y="4843"/>
                    <a:pt x="8470" y="4858"/>
                    <a:pt x="8462" y="4875"/>
                  </a:cubicBezTo>
                  <a:lnTo>
                    <a:pt x="8440" y="4918"/>
                  </a:lnTo>
                  <a:lnTo>
                    <a:pt x="8295" y="4847"/>
                  </a:lnTo>
                  <a:lnTo>
                    <a:pt x="8318" y="4800"/>
                  </a:lnTo>
                  <a:cubicBezTo>
                    <a:pt x="8323" y="4789"/>
                    <a:pt x="8328" y="4780"/>
                    <a:pt x="8333" y="4773"/>
                  </a:cubicBezTo>
                  <a:cubicBezTo>
                    <a:pt x="8338" y="4766"/>
                    <a:pt x="8344" y="4760"/>
                    <a:pt x="8350" y="4755"/>
                  </a:cubicBezTo>
                  <a:cubicBezTo>
                    <a:pt x="8360" y="4746"/>
                    <a:pt x="8372" y="4741"/>
                    <a:pt x="8386" y="4739"/>
                  </a:cubicBezTo>
                  <a:cubicBezTo>
                    <a:pt x="8401" y="4737"/>
                    <a:pt x="8415" y="4739"/>
                    <a:pt x="8428" y="4746"/>
                  </a:cubicBezTo>
                  <a:cubicBezTo>
                    <a:pt x="8441" y="4752"/>
                    <a:pt x="8451" y="4759"/>
                    <a:pt x="8460" y="4768"/>
                  </a:cubicBezTo>
                  <a:close/>
                  <a:moveTo>
                    <a:pt x="8757" y="4423"/>
                  </a:moveTo>
                  <a:cubicBezTo>
                    <a:pt x="8742" y="4421"/>
                    <a:pt x="8728" y="4422"/>
                    <a:pt x="8715" y="4426"/>
                  </a:cubicBezTo>
                  <a:cubicBezTo>
                    <a:pt x="8702" y="4429"/>
                    <a:pt x="8690" y="4435"/>
                    <a:pt x="8679" y="4442"/>
                  </a:cubicBezTo>
                  <a:cubicBezTo>
                    <a:pt x="8668" y="4449"/>
                    <a:pt x="8656" y="4460"/>
                    <a:pt x="8642" y="4475"/>
                  </a:cubicBezTo>
                  <a:lnTo>
                    <a:pt x="8606" y="4513"/>
                  </a:lnTo>
                  <a:cubicBezTo>
                    <a:pt x="8587" y="4533"/>
                    <a:pt x="8570" y="4545"/>
                    <a:pt x="8556" y="4550"/>
                  </a:cubicBezTo>
                  <a:cubicBezTo>
                    <a:pt x="8541" y="4556"/>
                    <a:pt x="8526" y="4555"/>
                    <a:pt x="8510" y="4547"/>
                  </a:cubicBezTo>
                  <a:cubicBezTo>
                    <a:pt x="8490" y="4537"/>
                    <a:pt x="8477" y="4522"/>
                    <a:pt x="8473" y="4503"/>
                  </a:cubicBezTo>
                  <a:cubicBezTo>
                    <a:pt x="8468" y="4484"/>
                    <a:pt x="8472" y="4462"/>
                    <a:pt x="8484" y="4437"/>
                  </a:cubicBezTo>
                  <a:cubicBezTo>
                    <a:pt x="8488" y="4429"/>
                    <a:pt x="8493" y="4421"/>
                    <a:pt x="8497" y="4414"/>
                  </a:cubicBezTo>
                  <a:cubicBezTo>
                    <a:pt x="8502" y="4407"/>
                    <a:pt x="8508" y="4401"/>
                    <a:pt x="8514" y="4395"/>
                  </a:cubicBezTo>
                  <a:cubicBezTo>
                    <a:pt x="8520" y="4389"/>
                    <a:pt x="8528" y="4383"/>
                    <a:pt x="8536" y="4377"/>
                  </a:cubicBezTo>
                  <a:cubicBezTo>
                    <a:pt x="8544" y="4371"/>
                    <a:pt x="8553" y="4365"/>
                    <a:pt x="8564" y="4358"/>
                  </a:cubicBezTo>
                  <a:lnTo>
                    <a:pt x="8540" y="4321"/>
                  </a:lnTo>
                  <a:cubicBezTo>
                    <a:pt x="8497" y="4346"/>
                    <a:pt x="8465" y="4379"/>
                    <a:pt x="8445" y="4421"/>
                  </a:cubicBezTo>
                  <a:cubicBezTo>
                    <a:pt x="8435" y="4440"/>
                    <a:pt x="8430" y="4458"/>
                    <a:pt x="8427" y="4476"/>
                  </a:cubicBezTo>
                  <a:cubicBezTo>
                    <a:pt x="8425" y="4495"/>
                    <a:pt x="8426" y="4512"/>
                    <a:pt x="8431" y="4528"/>
                  </a:cubicBezTo>
                  <a:cubicBezTo>
                    <a:pt x="8435" y="4544"/>
                    <a:pt x="8443" y="4558"/>
                    <a:pt x="8454" y="4571"/>
                  </a:cubicBezTo>
                  <a:cubicBezTo>
                    <a:pt x="8464" y="4584"/>
                    <a:pt x="8478" y="4594"/>
                    <a:pt x="8495" y="4602"/>
                  </a:cubicBezTo>
                  <a:cubicBezTo>
                    <a:pt x="8520" y="4615"/>
                    <a:pt x="8545" y="4617"/>
                    <a:pt x="8571" y="4609"/>
                  </a:cubicBezTo>
                  <a:cubicBezTo>
                    <a:pt x="8582" y="4606"/>
                    <a:pt x="8593" y="4600"/>
                    <a:pt x="8603" y="4592"/>
                  </a:cubicBezTo>
                  <a:cubicBezTo>
                    <a:pt x="8613" y="4584"/>
                    <a:pt x="8625" y="4572"/>
                    <a:pt x="8640" y="4557"/>
                  </a:cubicBezTo>
                  <a:lnTo>
                    <a:pt x="8671" y="4523"/>
                  </a:lnTo>
                  <a:cubicBezTo>
                    <a:pt x="8708" y="4484"/>
                    <a:pt x="8744" y="4472"/>
                    <a:pt x="8778" y="4489"/>
                  </a:cubicBezTo>
                  <a:cubicBezTo>
                    <a:pt x="8801" y="4501"/>
                    <a:pt x="8816" y="4519"/>
                    <a:pt x="8820" y="4545"/>
                  </a:cubicBezTo>
                  <a:cubicBezTo>
                    <a:pt x="8823" y="4556"/>
                    <a:pt x="8823" y="4567"/>
                    <a:pt x="8821" y="4577"/>
                  </a:cubicBezTo>
                  <a:cubicBezTo>
                    <a:pt x="8819" y="4588"/>
                    <a:pt x="8814" y="4600"/>
                    <a:pt x="8807" y="4615"/>
                  </a:cubicBezTo>
                  <a:cubicBezTo>
                    <a:pt x="8797" y="4635"/>
                    <a:pt x="8786" y="4652"/>
                    <a:pt x="8772" y="4666"/>
                  </a:cubicBezTo>
                  <a:cubicBezTo>
                    <a:pt x="8758" y="4680"/>
                    <a:pt x="8742" y="4693"/>
                    <a:pt x="8722" y="4703"/>
                  </a:cubicBezTo>
                  <a:lnTo>
                    <a:pt x="8748" y="4742"/>
                  </a:lnTo>
                  <a:cubicBezTo>
                    <a:pt x="8770" y="4728"/>
                    <a:pt x="8788" y="4713"/>
                    <a:pt x="8804" y="4695"/>
                  </a:cubicBezTo>
                  <a:cubicBezTo>
                    <a:pt x="8820" y="4678"/>
                    <a:pt x="8833" y="4657"/>
                    <a:pt x="8845" y="4634"/>
                  </a:cubicBezTo>
                  <a:cubicBezTo>
                    <a:pt x="8854" y="4616"/>
                    <a:pt x="8860" y="4599"/>
                    <a:pt x="8863" y="4583"/>
                  </a:cubicBezTo>
                  <a:cubicBezTo>
                    <a:pt x="8866" y="4568"/>
                    <a:pt x="8866" y="4551"/>
                    <a:pt x="8864" y="4534"/>
                  </a:cubicBezTo>
                  <a:cubicBezTo>
                    <a:pt x="8862" y="4511"/>
                    <a:pt x="8855" y="4491"/>
                    <a:pt x="8843" y="4474"/>
                  </a:cubicBezTo>
                  <a:cubicBezTo>
                    <a:pt x="8830" y="4456"/>
                    <a:pt x="8815" y="4443"/>
                    <a:pt x="8797" y="4434"/>
                  </a:cubicBezTo>
                  <a:cubicBezTo>
                    <a:pt x="8785" y="4428"/>
                    <a:pt x="8771" y="4424"/>
                    <a:pt x="8757" y="4423"/>
                  </a:cubicBezTo>
                  <a:close/>
                  <a:moveTo>
                    <a:pt x="8974" y="4352"/>
                  </a:moveTo>
                  <a:lnTo>
                    <a:pt x="8584" y="4160"/>
                  </a:lnTo>
                  <a:lnTo>
                    <a:pt x="8561" y="4206"/>
                  </a:lnTo>
                  <a:lnTo>
                    <a:pt x="8952" y="4398"/>
                  </a:lnTo>
                  <a:lnTo>
                    <a:pt x="8974" y="4352"/>
                  </a:lnTo>
                  <a:close/>
                  <a:moveTo>
                    <a:pt x="8730" y="3674"/>
                  </a:moveTo>
                  <a:cubicBezTo>
                    <a:pt x="8721" y="3677"/>
                    <a:pt x="8715" y="3683"/>
                    <a:pt x="8711" y="3691"/>
                  </a:cubicBezTo>
                  <a:cubicBezTo>
                    <a:pt x="8707" y="3699"/>
                    <a:pt x="8706" y="3707"/>
                    <a:pt x="8709" y="3716"/>
                  </a:cubicBezTo>
                  <a:cubicBezTo>
                    <a:pt x="8712" y="3724"/>
                    <a:pt x="8718" y="3731"/>
                    <a:pt x="8726" y="3735"/>
                  </a:cubicBezTo>
                  <a:cubicBezTo>
                    <a:pt x="8734" y="3739"/>
                    <a:pt x="8743" y="3739"/>
                    <a:pt x="8751" y="3736"/>
                  </a:cubicBezTo>
                  <a:cubicBezTo>
                    <a:pt x="8760" y="3734"/>
                    <a:pt x="8766" y="3728"/>
                    <a:pt x="8770" y="3720"/>
                  </a:cubicBezTo>
                  <a:cubicBezTo>
                    <a:pt x="8775" y="3711"/>
                    <a:pt x="8775" y="3703"/>
                    <a:pt x="8772" y="3695"/>
                  </a:cubicBezTo>
                  <a:cubicBezTo>
                    <a:pt x="8769" y="3686"/>
                    <a:pt x="8763" y="3680"/>
                    <a:pt x="8755" y="3676"/>
                  </a:cubicBezTo>
                  <a:cubicBezTo>
                    <a:pt x="8747" y="3672"/>
                    <a:pt x="8738" y="3671"/>
                    <a:pt x="8730" y="3674"/>
                  </a:cubicBezTo>
                  <a:close/>
                  <a:moveTo>
                    <a:pt x="8788" y="3557"/>
                  </a:moveTo>
                  <a:cubicBezTo>
                    <a:pt x="8779" y="3560"/>
                    <a:pt x="8773" y="3565"/>
                    <a:pt x="8769" y="3574"/>
                  </a:cubicBezTo>
                  <a:cubicBezTo>
                    <a:pt x="8765" y="3582"/>
                    <a:pt x="8764" y="3590"/>
                    <a:pt x="8767" y="3598"/>
                  </a:cubicBezTo>
                  <a:cubicBezTo>
                    <a:pt x="8770" y="3607"/>
                    <a:pt x="8775" y="3613"/>
                    <a:pt x="8783" y="3617"/>
                  </a:cubicBezTo>
                  <a:cubicBezTo>
                    <a:pt x="8792" y="3621"/>
                    <a:pt x="8800" y="3622"/>
                    <a:pt x="8809" y="3619"/>
                  </a:cubicBezTo>
                  <a:cubicBezTo>
                    <a:pt x="8818" y="3616"/>
                    <a:pt x="8824" y="3611"/>
                    <a:pt x="8828" y="3602"/>
                  </a:cubicBezTo>
                  <a:cubicBezTo>
                    <a:pt x="8832" y="3594"/>
                    <a:pt x="8833" y="3586"/>
                    <a:pt x="8830" y="3577"/>
                  </a:cubicBezTo>
                  <a:cubicBezTo>
                    <a:pt x="8826" y="3569"/>
                    <a:pt x="8821" y="3563"/>
                    <a:pt x="8812" y="3558"/>
                  </a:cubicBezTo>
                  <a:cubicBezTo>
                    <a:pt x="8804" y="3555"/>
                    <a:pt x="8796" y="3554"/>
                    <a:pt x="8788" y="3557"/>
                  </a:cubicBezTo>
                  <a:close/>
                  <a:moveTo>
                    <a:pt x="3128" y="17960"/>
                  </a:moveTo>
                  <a:lnTo>
                    <a:pt x="2720" y="17801"/>
                  </a:lnTo>
                  <a:lnTo>
                    <a:pt x="2687" y="17870"/>
                  </a:lnTo>
                  <a:lnTo>
                    <a:pt x="2910" y="18072"/>
                  </a:lnTo>
                  <a:cubicBezTo>
                    <a:pt x="2924" y="18084"/>
                    <a:pt x="2936" y="18094"/>
                    <a:pt x="2947" y="18102"/>
                  </a:cubicBezTo>
                  <a:cubicBezTo>
                    <a:pt x="2959" y="18111"/>
                    <a:pt x="2965" y="18116"/>
                    <a:pt x="2966" y="18117"/>
                  </a:cubicBezTo>
                  <a:cubicBezTo>
                    <a:pt x="2964" y="18116"/>
                    <a:pt x="2956" y="18114"/>
                    <a:pt x="2943" y="18111"/>
                  </a:cubicBezTo>
                  <a:cubicBezTo>
                    <a:pt x="2929" y="18107"/>
                    <a:pt x="2912" y="18103"/>
                    <a:pt x="2891" y="18099"/>
                  </a:cubicBezTo>
                  <a:lnTo>
                    <a:pt x="2601" y="18045"/>
                  </a:lnTo>
                  <a:lnTo>
                    <a:pt x="2567" y="18113"/>
                  </a:lnTo>
                  <a:lnTo>
                    <a:pt x="2800" y="18254"/>
                  </a:lnTo>
                  <a:lnTo>
                    <a:pt x="2895" y="18254"/>
                  </a:lnTo>
                  <a:lnTo>
                    <a:pt x="2696" y="18136"/>
                  </a:lnTo>
                  <a:cubicBezTo>
                    <a:pt x="2690" y="18133"/>
                    <a:pt x="2684" y="18129"/>
                    <a:pt x="2676" y="18125"/>
                  </a:cubicBezTo>
                  <a:cubicBezTo>
                    <a:pt x="2669" y="18120"/>
                    <a:pt x="2661" y="18116"/>
                    <a:pt x="2654" y="18112"/>
                  </a:cubicBezTo>
                  <a:cubicBezTo>
                    <a:pt x="2647" y="18108"/>
                    <a:pt x="2640" y="18104"/>
                    <a:pt x="2635" y="18101"/>
                  </a:cubicBezTo>
                  <a:cubicBezTo>
                    <a:pt x="2630" y="18098"/>
                    <a:pt x="2627" y="18096"/>
                    <a:pt x="2625" y="18096"/>
                  </a:cubicBezTo>
                  <a:cubicBezTo>
                    <a:pt x="2630" y="18097"/>
                    <a:pt x="2639" y="18099"/>
                    <a:pt x="2653" y="18101"/>
                  </a:cubicBezTo>
                  <a:cubicBezTo>
                    <a:pt x="2668" y="18105"/>
                    <a:pt x="2686" y="18108"/>
                    <a:pt x="2708" y="18112"/>
                  </a:cubicBezTo>
                  <a:lnTo>
                    <a:pt x="3024" y="18171"/>
                  </a:lnTo>
                  <a:lnTo>
                    <a:pt x="3043" y="18132"/>
                  </a:lnTo>
                  <a:lnTo>
                    <a:pt x="2793" y="17904"/>
                  </a:lnTo>
                  <a:cubicBezTo>
                    <a:pt x="2788" y="17900"/>
                    <a:pt x="2782" y="17895"/>
                    <a:pt x="2776" y="17890"/>
                  </a:cubicBezTo>
                  <a:cubicBezTo>
                    <a:pt x="2770" y="17885"/>
                    <a:pt x="2765" y="17880"/>
                    <a:pt x="2760" y="17876"/>
                  </a:cubicBezTo>
                  <a:cubicBezTo>
                    <a:pt x="2754" y="17871"/>
                    <a:pt x="2750" y="17868"/>
                    <a:pt x="2746" y="17865"/>
                  </a:cubicBezTo>
                  <a:cubicBezTo>
                    <a:pt x="2742" y="17862"/>
                    <a:pt x="2740" y="17860"/>
                    <a:pt x="2740" y="17859"/>
                  </a:cubicBezTo>
                  <a:cubicBezTo>
                    <a:pt x="2740" y="17859"/>
                    <a:pt x="2743" y="17860"/>
                    <a:pt x="2748" y="17863"/>
                  </a:cubicBezTo>
                  <a:cubicBezTo>
                    <a:pt x="2752" y="17865"/>
                    <a:pt x="2758" y="17867"/>
                    <a:pt x="2765" y="17870"/>
                  </a:cubicBezTo>
                  <a:cubicBezTo>
                    <a:pt x="2772" y="17873"/>
                    <a:pt x="2779" y="17876"/>
                    <a:pt x="2786" y="17880"/>
                  </a:cubicBezTo>
                  <a:cubicBezTo>
                    <a:pt x="2794" y="17883"/>
                    <a:pt x="2801" y="17886"/>
                    <a:pt x="2807" y="17889"/>
                  </a:cubicBezTo>
                  <a:lnTo>
                    <a:pt x="3105" y="18007"/>
                  </a:lnTo>
                  <a:lnTo>
                    <a:pt x="3128" y="17960"/>
                  </a:lnTo>
                  <a:close/>
                  <a:moveTo>
                    <a:pt x="9002" y="6041"/>
                  </a:moveTo>
                  <a:lnTo>
                    <a:pt x="9002" y="5883"/>
                  </a:lnTo>
                  <a:lnTo>
                    <a:pt x="9000" y="5880"/>
                  </a:lnTo>
                  <a:cubicBezTo>
                    <a:pt x="8988" y="5863"/>
                    <a:pt x="8972" y="5849"/>
                    <a:pt x="8954" y="5840"/>
                  </a:cubicBezTo>
                  <a:cubicBezTo>
                    <a:pt x="8942" y="5834"/>
                    <a:pt x="8929" y="5831"/>
                    <a:pt x="8914" y="5829"/>
                  </a:cubicBezTo>
                  <a:cubicBezTo>
                    <a:pt x="8899" y="5828"/>
                    <a:pt x="8886" y="5829"/>
                    <a:pt x="8873" y="5832"/>
                  </a:cubicBezTo>
                  <a:cubicBezTo>
                    <a:pt x="8860" y="5836"/>
                    <a:pt x="8848" y="5841"/>
                    <a:pt x="8837" y="5848"/>
                  </a:cubicBezTo>
                  <a:cubicBezTo>
                    <a:pt x="8826" y="5856"/>
                    <a:pt x="8813" y="5867"/>
                    <a:pt x="8799" y="5882"/>
                  </a:cubicBezTo>
                  <a:lnTo>
                    <a:pt x="8763" y="5920"/>
                  </a:lnTo>
                  <a:cubicBezTo>
                    <a:pt x="8744" y="5939"/>
                    <a:pt x="8727" y="5951"/>
                    <a:pt x="8713" y="5957"/>
                  </a:cubicBezTo>
                  <a:cubicBezTo>
                    <a:pt x="8698" y="5962"/>
                    <a:pt x="8683" y="5961"/>
                    <a:pt x="8667" y="5953"/>
                  </a:cubicBezTo>
                  <a:cubicBezTo>
                    <a:pt x="8647" y="5943"/>
                    <a:pt x="8635" y="5929"/>
                    <a:pt x="8630" y="5909"/>
                  </a:cubicBezTo>
                  <a:cubicBezTo>
                    <a:pt x="8625" y="5890"/>
                    <a:pt x="8629" y="5868"/>
                    <a:pt x="8641" y="5843"/>
                  </a:cubicBezTo>
                  <a:cubicBezTo>
                    <a:pt x="8645" y="5835"/>
                    <a:pt x="8650" y="5827"/>
                    <a:pt x="8655" y="5821"/>
                  </a:cubicBezTo>
                  <a:cubicBezTo>
                    <a:pt x="8659" y="5814"/>
                    <a:pt x="8665" y="5807"/>
                    <a:pt x="8671" y="5801"/>
                  </a:cubicBezTo>
                  <a:cubicBezTo>
                    <a:pt x="8678" y="5795"/>
                    <a:pt x="8685" y="5789"/>
                    <a:pt x="8693" y="5783"/>
                  </a:cubicBezTo>
                  <a:cubicBezTo>
                    <a:pt x="8701" y="5777"/>
                    <a:pt x="8710" y="5771"/>
                    <a:pt x="8721" y="5765"/>
                  </a:cubicBezTo>
                  <a:lnTo>
                    <a:pt x="8698" y="5728"/>
                  </a:lnTo>
                  <a:cubicBezTo>
                    <a:pt x="8654" y="5752"/>
                    <a:pt x="8622" y="5786"/>
                    <a:pt x="8602" y="5827"/>
                  </a:cubicBezTo>
                  <a:cubicBezTo>
                    <a:pt x="8593" y="5846"/>
                    <a:pt x="8587" y="5865"/>
                    <a:pt x="8585" y="5883"/>
                  </a:cubicBezTo>
                  <a:cubicBezTo>
                    <a:pt x="8583" y="5901"/>
                    <a:pt x="8584" y="5918"/>
                    <a:pt x="8588" y="5934"/>
                  </a:cubicBezTo>
                  <a:cubicBezTo>
                    <a:pt x="8593" y="5950"/>
                    <a:pt x="8600" y="5964"/>
                    <a:pt x="8611" y="5977"/>
                  </a:cubicBezTo>
                  <a:cubicBezTo>
                    <a:pt x="8622" y="5990"/>
                    <a:pt x="8635" y="6000"/>
                    <a:pt x="8652" y="6009"/>
                  </a:cubicBezTo>
                  <a:cubicBezTo>
                    <a:pt x="8677" y="6021"/>
                    <a:pt x="8702" y="6023"/>
                    <a:pt x="8728" y="6016"/>
                  </a:cubicBezTo>
                  <a:cubicBezTo>
                    <a:pt x="8740" y="6012"/>
                    <a:pt x="8750" y="6006"/>
                    <a:pt x="8761" y="5998"/>
                  </a:cubicBezTo>
                  <a:cubicBezTo>
                    <a:pt x="8771" y="5990"/>
                    <a:pt x="8783" y="5978"/>
                    <a:pt x="8797" y="5963"/>
                  </a:cubicBezTo>
                  <a:lnTo>
                    <a:pt x="8828" y="5930"/>
                  </a:lnTo>
                  <a:cubicBezTo>
                    <a:pt x="8865" y="5890"/>
                    <a:pt x="8901" y="5879"/>
                    <a:pt x="8936" y="5896"/>
                  </a:cubicBezTo>
                  <a:cubicBezTo>
                    <a:pt x="8959" y="5907"/>
                    <a:pt x="8973" y="5925"/>
                    <a:pt x="8978" y="5951"/>
                  </a:cubicBezTo>
                  <a:cubicBezTo>
                    <a:pt x="8980" y="5962"/>
                    <a:pt x="8980" y="5973"/>
                    <a:pt x="8978" y="5984"/>
                  </a:cubicBezTo>
                  <a:cubicBezTo>
                    <a:pt x="8976" y="5994"/>
                    <a:pt x="8971" y="6007"/>
                    <a:pt x="8964" y="6021"/>
                  </a:cubicBezTo>
                  <a:cubicBezTo>
                    <a:pt x="8954" y="6041"/>
                    <a:pt x="8943" y="6058"/>
                    <a:pt x="8929" y="6072"/>
                  </a:cubicBezTo>
                  <a:cubicBezTo>
                    <a:pt x="8915" y="6087"/>
                    <a:pt x="8899" y="6099"/>
                    <a:pt x="8879" y="6110"/>
                  </a:cubicBezTo>
                  <a:lnTo>
                    <a:pt x="8905" y="6148"/>
                  </a:lnTo>
                  <a:cubicBezTo>
                    <a:pt x="8927" y="6135"/>
                    <a:pt x="8946" y="6119"/>
                    <a:pt x="8961" y="6102"/>
                  </a:cubicBezTo>
                  <a:cubicBezTo>
                    <a:pt x="8977" y="6084"/>
                    <a:pt x="8990" y="6064"/>
                    <a:pt x="9002" y="6041"/>
                  </a:cubicBezTo>
                  <a:close/>
                  <a:moveTo>
                    <a:pt x="9002" y="5754"/>
                  </a:moveTo>
                  <a:lnTo>
                    <a:pt x="9002" y="5700"/>
                  </a:lnTo>
                  <a:cubicBezTo>
                    <a:pt x="8997" y="5699"/>
                    <a:pt x="8993" y="5698"/>
                    <a:pt x="8988" y="5696"/>
                  </a:cubicBezTo>
                  <a:cubicBezTo>
                    <a:pt x="8975" y="5692"/>
                    <a:pt x="8958" y="5686"/>
                    <a:pt x="8939" y="5676"/>
                  </a:cubicBezTo>
                  <a:cubicBezTo>
                    <a:pt x="8916" y="5665"/>
                    <a:pt x="8897" y="5654"/>
                    <a:pt x="8882" y="5643"/>
                  </a:cubicBezTo>
                  <a:cubicBezTo>
                    <a:pt x="8867" y="5632"/>
                    <a:pt x="8854" y="5621"/>
                    <a:pt x="8844" y="5609"/>
                  </a:cubicBezTo>
                  <a:cubicBezTo>
                    <a:pt x="8826" y="5588"/>
                    <a:pt x="8816" y="5567"/>
                    <a:pt x="8813" y="5546"/>
                  </a:cubicBezTo>
                  <a:cubicBezTo>
                    <a:pt x="8809" y="5524"/>
                    <a:pt x="8813" y="5502"/>
                    <a:pt x="8824" y="5479"/>
                  </a:cubicBezTo>
                  <a:cubicBezTo>
                    <a:pt x="8831" y="5465"/>
                    <a:pt x="8839" y="5453"/>
                    <a:pt x="8849" y="5443"/>
                  </a:cubicBezTo>
                  <a:cubicBezTo>
                    <a:pt x="8858" y="5433"/>
                    <a:pt x="8870" y="5425"/>
                    <a:pt x="8885" y="5417"/>
                  </a:cubicBezTo>
                  <a:lnTo>
                    <a:pt x="8867" y="5377"/>
                  </a:lnTo>
                  <a:cubicBezTo>
                    <a:pt x="8850" y="5386"/>
                    <a:pt x="8835" y="5397"/>
                    <a:pt x="8821" y="5411"/>
                  </a:cubicBezTo>
                  <a:cubicBezTo>
                    <a:pt x="8808" y="5425"/>
                    <a:pt x="8796" y="5441"/>
                    <a:pt x="8787" y="5460"/>
                  </a:cubicBezTo>
                  <a:cubicBezTo>
                    <a:pt x="8775" y="5484"/>
                    <a:pt x="8769" y="5508"/>
                    <a:pt x="8770" y="5533"/>
                  </a:cubicBezTo>
                  <a:cubicBezTo>
                    <a:pt x="8770" y="5558"/>
                    <a:pt x="8775" y="5583"/>
                    <a:pt x="8786" y="5606"/>
                  </a:cubicBezTo>
                  <a:cubicBezTo>
                    <a:pt x="8797" y="5630"/>
                    <a:pt x="8813" y="5651"/>
                    <a:pt x="8833" y="5672"/>
                  </a:cubicBezTo>
                  <a:cubicBezTo>
                    <a:pt x="8854" y="5692"/>
                    <a:pt x="8879" y="5709"/>
                    <a:pt x="8908" y="5724"/>
                  </a:cubicBezTo>
                  <a:cubicBezTo>
                    <a:pt x="8937" y="5738"/>
                    <a:pt x="8966" y="5748"/>
                    <a:pt x="8995" y="5753"/>
                  </a:cubicBezTo>
                  <a:cubicBezTo>
                    <a:pt x="8997" y="5754"/>
                    <a:pt x="9000" y="5754"/>
                    <a:pt x="9002" y="5754"/>
                  </a:cubicBezTo>
                  <a:close/>
                  <a:moveTo>
                    <a:pt x="2912" y="17412"/>
                  </a:moveTo>
                  <a:lnTo>
                    <a:pt x="2890" y="17458"/>
                  </a:lnTo>
                  <a:lnTo>
                    <a:pt x="3162" y="17592"/>
                  </a:lnTo>
                  <a:cubicBezTo>
                    <a:pt x="3175" y="17598"/>
                    <a:pt x="3186" y="17605"/>
                    <a:pt x="3195" y="17611"/>
                  </a:cubicBezTo>
                  <a:cubicBezTo>
                    <a:pt x="3203" y="17617"/>
                    <a:pt x="3210" y="17626"/>
                    <a:pt x="3216" y="17637"/>
                  </a:cubicBezTo>
                  <a:cubicBezTo>
                    <a:pt x="3221" y="17647"/>
                    <a:pt x="3222" y="17658"/>
                    <a:pt x="3221" y="17672"/>
                  </a:cubicBezTo>
                  <a:cubicBezTo>
                    <a:pt x="3219" y="17686"/>
                    <a:pt x="3214" y="17701"/>
                    <a:pt x="3206" y="17718"/>
                  </a:cubicBezTo>
                  <a:cubicBezTo>
                    <a:pt x="3200" y="17730"/>
                    <a:pt x="3194" y="17740"/>
                    <a:pt x="3187" y="17747"/>
                  </a:cubicBezTo>
                  <a:cubicBezTo>
                    <a:pt x="3181" y="17755"/>
                    <a:pt x="3174" y="17761"/>
                    <a:pt x="3167" y="17765"/>
                  </a:cubicBezTo>
                  <a:cubicBezTo>
                    <a:pt x="3160" y="17769"/>
                    <a:pt x="3154" y="17772"/>
                    <a:pt x="3148" y="17773"/>
                  </a:cubicBezTo>
                  <a:cubicBezTo>
                    <a:pt x="3141" y="17775"/>
                    <a:pt x="3136" y="17775"/>
                    <a:pt x="3130" y="17775"/>
                  </a:cubicBezTo>
                  <a:cubicBezTo>
                    <a:pt x="3123" y="17775"/>
                    <a:pt x="3114" y="17772"/>
                    <a:pt x="3102" y="17768"/>
                  </a:cubicBezTo>
                  <a:cubicBezTo>
                    <a:pt x="3091" y="17764"/>
                    <a:pt x="3081" y="17759"/>
                    <a:pt x="3071" y="17754"/>
                  </a:cubicBezTo>
                  <a:lnTo>
                    <a:pt x="2807" y="17625"/>
                  </a:lnTo>
                  <a:lnTo>
                    <a:pt x="2785" y="17671"/>
                  </a:lnTo>
                  <a:lnTo>
                    <a:pt x="3065" y="17809"/>
                  </a:lnTo>
                  <a:cubicBezTo>
                    <a:pt x="3074" y="17813"/>
                    <a:pt x="3084" y="17817"/>
                    <a:pt x="3096" y="17822"/>
                  </a:cubicBezTo>
                  <a:cubicBezTo>
                    <a:pt x="3108" y="17826"/>
                    <a:pt x="3119" y="17828"/>
                    <a:pt x="3132" y="17827"/>
                  </a:cubicBezTo>
                  <a:cubicBezTo>
                    <a:pt x="3156" y="17826"/>
                    <a:pt x="3177" y="17819"/>
                    <a:pt x="3196" y="17805"/>
                  </a:cubicBezTo>
                  <a:cubicBezTo>
                    <a:pt x="3213" y="17792"/>
                    <a:pt x="3230" y="17770"/>
                    <a:pt x="3245" y="17739"/>
                  </a:cubicBezTo>
                  <a:cubicBezTo>
                    <a:pt x="3257" y="17715"/>
                    <a:pt x="3264" y="17694"/>
                    <a:pt x="3267" y="17676"/>
                  </a:cubicBezTo>
                  <a:cubicBezTo>
                    <a:pt x="3270" y="17657"/>
                    <a:pt x="3269" y="17639"/>
                    <a:pt x="3265" y="17622"/>
                  </a:cubicBezTo>
                  <a:cubicBezTo>
                    <a:pt x="3261" y="17605"/>
                    <a:pt x="3254" y="17592"/>
                    <a:pt x="3242" y="17581"/>
                  </a:cubicBezTo>
                  <a:cubicBezTo>
                    <a:pt x="3231" y="17571"/>
                    <a:pt x="3214" y="17560"/>
                    <a:pt x="3190" y="17548"/>
                  </a:cubicBezTo>
                  <a:lnTo>
                    <a:pt x="2912" y="17412"/>
                  </a:lnTo>
                  <a:close/>
                  <a:moveTo>
                    <a:pt x="2755" y="17542"/>
                  </a:moveTo>
                  <a:cubicBezTo>
                    <a:pt x="2747" y="17545"/>
                    <a:pt x="2740" y="17551"/>
                    <a:pt x="2736" y="17559"/>
                  </a:cubicBezTo>
                  <a:cubicBezTo>
                    <a:pt x="2732" y="17567"/>
                    <a:pt x="2732" y="17575"/>
                    <a:pt x="2735" y="17584"/>
                  </a:cubicBezTo>
                  <a:cubicBezTo>
                    <a:pt x="2738" y="17592"/>
                    <a:pt x="2743" y="17599"/>
                    <a:pt x="2751" y="17603"/>
                  </a:cubicBezTo>
                  <a:cubicBezTo>
                    <a:pt x="2759" y="17607"/>
                    <a:pt x="2768" y="17607"/>
                    <a:pt x="2777" y="17605"/>
                  </a:cubicBezTo>
                  <a:cubicBezTo>
                    <a:pt x="2785" y="17602"/>
                    <a:pt x="2792" y="17596"/>
                    <a:pt x="2796" y="17588"/>
                  </a:cubicBezTo>
                  <a:cubicBezTo>
                    <a:pt x="2800" y="17579"/>
                    <a:pt x="2800" y="17571"/>
                    <a:pt x="2797" y="17563"/>
                  </a:cubicBezTo>
                  <a:cubicBezTo>
                    <a:pt x="2794" y="17554"/>
                    <a:pt x="2788" y="17548"/>
                    <a:pt x="2780" y="17544"/>
                  </a:cubicBezTo>
                  <a:cubicBezTo>
                    <a:pt x="2772" y="17540"/>
                    <a:pt x="2764" y="17539"/>
                    <a:pt x="2755" y="17542"/>
                  </a:cubicBezTo>
                  <a:close/>
                  <a:moveTo>
                    <a:pt x="2813" y="17426"/>
                  </a:moveTo>
                  <a:cubicBezTo>
                    <a:pt x="2804" y="17428"/>
                    <a:pt x="2798" y="17434"/>
                    <a:pt x="2794" y="17442"/>
                  </a:cubicBezTo>
                  <a:cubicBezTo>
                    <a:pt x="2790" y="17450"/>
                    <a:pt x="2789" y="17459"/>
                    <a:pt x="2792" y="17467"/>
                  </a:cubicBezTo>
                  <a:cubicBezTo>
                    <a:pt x="2795" y="17476"/>
                    <a:pt x="2801" y="17482"/>
                    <a:pt x="2809" y="17486"/>
                  </a:cubicBezTo>
                  <a:cubicBezTo>
                    <a:pt x="2817" y="17490"/>
                    <a:pt x="2825" y="17491"/>
                    <a:pt x="2834" y="17488"/>
                  </a:cubicBezTo>
                  <a:cubicBezTo>
                    <a:pt x="2843" y="17485"/>
                    <a:pt x="2849" y="17479"/>
                    <a:pt x="2853" y="17471"/>
                  </a:cubicBezTo>
                  <a:cubicBezTo>
                    <a:pt x="2857" y="17463"/>
                    <a:pt x="2858" y="17454"/>
                    <a:pt x="2855" y="17446"/>
                  </a:cubicBezTo>
                  <a:cubicBezTo>
                    <a:pt x="2852" y="17437"/>
                    <a:pt x="2846" y="17431"/>
                    <a:pt x="2837" y="17427"/>
                  </a:cubicBezTo>
                  <a:cubicBezTo>
                    <a:pt x="2829" y="17423"/>
                    <a:pt x="2821" y="17423"/>
                    <a:pt x="2813" y="17426"/>
                  </a:cubicBezTo>
                  <a:close/>
                  <a:moveTo>
                    <a:pt x="3486" y="17231"/>
                  </a:moveTo>
                  <a:lnTo>
                    <a:pt x="3096" y="17039"/>
                  </a:lnTo>
                  <a:lnTo>
                    <a:pt x="3073" y="17085"/>
                  </a:lnTo>
                  <a:lnTo>
                    <a:pt x="3286" y="17188"/>
                  </a:lnTo>
                  <a:cubicBezTo>
                    <a:pt x="3300" y="17195"/>
                    <a:pt x="3314" y="17202"/>
                    <a:pt x="3329" y="17208"/>
                  </a:cubicBezTo>
                  <a:cubicBezTo>
                    <a:pt x="3343" y="17214"/>
                    <a:pt x="3356" y="17220"/>
                    <a:pt x="3368" y="17225"/>
                  </a:cubicBezTo>
                  <a:cubicBezTo>
                    <a:pt x="3379" y="17230"/>
                    <a:pt x="3389" y="17234"/>
                    <a:pt x="3396" y="17237"/>
                  </a:cubicBezTo>
                  <a:cubicBezTo>
                    <a:pt x="3404" y="17240"/>
                    <a:pt x="3407" y="17241"/>
                    <a:pt x="3408" y="17241"/>
                  </a:cubicBezTo>
                  <a:cubicBezTo>
                    <a:pt x="3407" y="17241"/>
                    <a:pt x="3403" y="17241"/>
                    <a:pt x="3397" y="17241"/>
                  </a:cubicBezTo>
                  <a:cubicBezTo>
                    <a:pt x="3390" y="17240"/>
                    <a:pt x="3383" y="17240"/>
                    <a:pt x="3374" y="17239"/>
                  </a:cubicBezTo>
                  <a:cubicBezTo>
                    <a:pt x="3364" y="17239"/>
                    <a:pt x="3354" y="17238"/>
                    <a:pt x="3343" y="17238"/>
                  </a:cubicBezTo>
                  <a:cubicBezTo>
                    <a:pt x="3331" y="17237"/>
                    <a:pt x="3319" y="17237"/>
                    <a:pt x="3308" y="17238"/>
                  </a:cubicBezTo>
                  <a:lnTo>
                    <a:pt x="2994" y="17245"/>
                  </a:lnTo>
                  <a:lnTo>
                    <a:pt x="2968" y="17299"/>
                  </a:lnTo>
                  <a:lnTo>
                    <a:pt x="3359" y="17491"/>
                  </a:lnTo>
                  <a:lnTo>
                    <a:pt x="3382" y="17443"/>
                  </a:lnTo>
                  <a:lnTo>
                    <a:pt x="3155" y="17333"/>
                  </a:lnTo>
                  <a:cubicBezTo>
                    <a:pt x="3143" y="17328"/>
                    <a:pt x="3132" y="17322"/>
                    <a:pt x="3120" y="17317"/>
                  </a:cubicBezTo>
                  <a:cubicBezTo>
                    <a:pt x="3108" y="17312"/>
                    <a:pt x="3097" y="17308"/>
                    <a:pt x="3087" y="17304"/>
                  </a:cubicBezTo>
                  <a:cubicBezTo>
                    <a:pt x="3078" y="17299"/>
                    <a:pt x="3069" y="17296"/>
                    <a:pt x="3061" y="17293"/>
                  </a:cubicBezTo>
                  <a:cubicBezTo>
                    <a:pt x="3054" y="17290"/>
                    <a:pt x="3049" y="17288"/>
                    <a:pt x="3046" y="17286"/>
                  </a:cubicBezTo>
                  <a:cubicBezTo>
                    <a:pt x="3050" y="17287"/>
                    <a:pt x="3056" y="17287"/>
                    <a:pt x="3063" y="17288"/>
                  </a:cubicBezTo>
                  <a:cubicBezTo>
                    <a:pt x="3070" y="17288"/>
                    <a:pt x="3079" y="17288"/>
                    <a:pt x="3089" y="17288"/>
                  </a:cubicBezTo>
                  <a:cubicBezTo>
                    <a:pt x="3100" y="17288"/>
                    <a:pt x="3111" y="17288"/>
                    <a:pt x="3123" y="17288"/>
                  </a:cubicBezTo>
                  <a:cubicBezTo>
                    <a:pt x="3135" y="17289"/>
                    <a:pt x="3148" y="17288"/>
                    <a:pt x="3161" y="17288"/>
                  </a:cubicBezTo>
                  <a:lnTo>
                    <a:pt x="3462" y="17280"/>
                  </a:lnTo>
                  <a:lnTo>
                    <a:pt x="3486" y="17231"/>
                  </a:lnTo>
                  <a:close/>
                  <a:moveTo>
                    <a:pt x="3511" y="16810"/>
                  </a:moveTo>
                  <a:cubicBezTo>
                    <a:pt x="3496" y="16809"/>
                    <a:pt x="3482" y="16810"/>
                    <a:pt x="3469" y="16813"/>
                  </a:cubicBezTo>
                  <a:cubicBezTo>
                    <a:pt x="3456" y="16817"/>
                    <a:pt x="3444" y="16822"/>
                    <a:pt x="3433" y="16830"/>
                  </a:cubicBezTo>
                  <a:cubicBezTo>
                    <a:pt x="3422" y="16837"/>
                    <a:pt x="3410" y="16848"/>
                    <a:pt x="3396" y="16863"/>
                  </a:cubicBezTo>
                  <a:lnTo>
                    <a:pt x="3360" y="16901"/>
                  </a:lnTo>
                  <a:cubicBezTo>
                    <a:pt x="3340" y="16920"/>
                    <a:pt x="3324" y="16933"/>
                    <a:pt x="3309" y="16938"/>
                  </a:cubicBezTo>
                  <a:cubicBezTo>
                    <a:pt x="3295" y="16944"/>
                    <a:pt x="3280" y="16942"/>
                    <a:pt x="3264" y="16935"/>
                  </a:cubicBezTo>
                  <a:cubicBezTo>
                    <a:pt x="3244" y="16925"/>
                    <a:pt x="3231" y="16910"/>
                    <a:pt x="3227" y="16891"/>
                  </a:cubicBezTo>
                  <a:cubicBezTo>
                    <a:pt x="3222" y="16872"/>
                    <a:pt x="3226" y="16850"/>
                    <a:pt x="3238" y="16825"/>
                  </a:cubicBezTo>
                  <a:cubicBezTo>
                    <a:pt x="3242" y="16817"/>
                    <a:pt x="3246" y="16809"/>
                    <a:pt x="3251" y="16802"/>
                  </a:cubicBezTo>
                  <a:cubicBezTo>
                    <a:pt x="3256" y="16795"/>
                    <a:pt x="3261" y="16789"/>
                    <a:pt x="3268" y="16783"/>
                  </a:cubicBezTo>
                  <a:cubicBezTo>
                    <a:pt x="3274" y="16777"/>
                    <a:pt x="3281" y="16771"/>
                    <a:pt x="3289" y="16765"/>
                  </a:cubicBezTo>
                  <a:cubicBezTo>
                    <a:pt x="3297" y="16759"/>
                    <a:pt x="3307" y="16752"/>
                    <a:pt x="3318" y="16746"/>
                  </a:cubicBezTo>
                  <a:lnTo>
                    <a:pt x="3294" y="16709"/>
                  </a:lnTo>
                  <a:cubicBezTo>
                    <a:pt x="3251" y="16734"/>
                    <a:pt x="3219" y="16767"/>
                    <a:pt x="3198" y="16808"/>
                  </a:cubicBezTo>
                  <a:cubicBezTo>
                    <a:pt x="3189" y="16827"/>
                    <a:pt x="3183" y="16846"/>
                    <a:pt x="3181" y="16864"/>
                  </a:cubicBezTo>
                  <a:cubicBezTo>
                    <a:pt x="3179" y="16883"/>
                    <a:pt x="3180" y="16900"/>
                    <a:pt x="3185" y="16915"/>
                  </a:cubicBezTo>
                  <a:cubicBezTo>
                    <a:pt x="3189" y="16931"/>
                    <a:pt x="3197" y="16946"/>
                    <a:pt x="3207" y="16959"/>
                  </a:cubicBezTo>
                  <a:cubicBezTo>
                    <a:pt x="3218" y="16971"/>
                    <a:pt x="3232" y="16982"/>
                    <a:pt x="3248" y="16990"/>
                  </a:cubicBezTo>
                  <a:cubicBezTo>
                    <a:pt x="3274" y="17002"/>
                    <a:pt x="3299" y="17005"/>
                    <a:pt x="3324" y="16997"/>
                  </a:cubicBezTo>
                  <a:cubicBezTo>
                    <a:pt x="3336" y="16993"/>
                    <a:pt x="3347" y="16987"/>
                    <a:pt x="3357" y="16979"/>
                  </a:cubicBezTo>
                  <a:cubicBezTo>
                    <a:pt x="3367" y="16971"/>
                    <a:pt x="3379" y="16960"/>
                    <a:pt x="3393" y="16945"/>
                  </a:cubicBezTo>
                  <a:lnTo>
                    <a:pt x="3425" y="16911"/>
                  </a:lnTo>
                  <a:cubicBezTo>
                    <a:pt x="3462" y="16871"/>
                    <a:pt x="3497" y="16860"/>
                    <a:pt x="3532" y="16877"/>
                  </a:cubicBezTo>
                  <a:cubicBezTo>
                    <a:pt x="3555" y="16888"/>
                    <a:pt x="3569" y="16907"/>
                    <a:pt x="3574" y="16932"/>
                  </a:cubicBezTo>
                  <a:cubicBezTo>
                    <a:pt x="3576" y="16944"/>
                    <a:pt x="3577" y="16955"/>
                    <a:pt x="3575" y="16965"/>
                  </a:cubicBezTo>
                  <a:cubicBezTo>
                    <a:pt x="3573" y="16975"/>
                    <a:pt x="3568" y="16988"/>
                    <a:pt x="3561" y="17003"/>
                  </a:cubicBezTo>
                  <a:cubicBezTo>
                    <a:pt x="3551" y="17023"/>
                    <a:pt x="3539" y="17040"/>
                    <a:pt x="3526" y="17054"/>
                  </a:cubicBezTo>
                  <a:cubicBezTo>
                    <a:pt x="3512" y="17068"/>
                    <a:pt x="3495" y="17081"/>
                    <a:pt x="3475" y="17091"/>
                  </a:cubicBezTo>
                  <a:lnTo>
                    <a:pt x="3502" y="17130"/>
                  </a:lnTo>
                  <a:cubicBezTo>
                    <a:pt x="3524" y="17116"/>
                    <a:pt x="3542" y="17101"/>
                    <a:pt x="3558" y="17083"/>
                  </a:cubicBezTo>
                  <a:cubicBezTo>
                    <a:pt x="3574" y="17066"/>
                    <a:pt x="3587" y="17045"/>
                    <a:pt x="3599" y="17022"/>
                  </a:cubicBezTo>
                  <a:cubicBezTo>
                    <a:pt x="3608" y="17003"/>
                    <a:pt x="3614" y="16987"/>
                    <a:pt x="3617" y="16971"/>
                  </a:cubicBezTo>
                  <a:cubicBezTo>
                    <a:pt x="3620" y="16955"/>
                    <a:pt x="3620" y="16939"/>
                    <a:pt x="3618" y="16922"/>
                  </a:cubicBezTo>
                  <a:cubicBezTo>
                    <a:pt x="3616" y="16899"/>
                    <a:pt x="3608" y="16879"/>
                    <a:pt x="3596" y="16861"/>
                  </a:cubicBezTo>
                  <a:cubicBezTo>
                    <a:pt x="3584" y="16844"/>
                    <a:pt x="3569" y="16831"/>
                    <a:pt x="3551" y="16822"/>
                  </a:cubicBezTo>
                  <a:cubicBezTo>
                    <a:pt x="3539" y="16816"/>
                    <a:pt x="3525" y="16812"/>
                    <a:pt x="3511" y="16810"/>
                  </a:cubicBezTo>
                  <a:close/>
                  <a:moveTo>
                    <a:pt x="3428" y="16364"/>
                  </a:moveTo>
                  <a:lnTo>
                    <a:pt x="3301" y="16622"/>
                  </a:lnTo>
                  <a:lnTo>
                    <a:pt x="3340" y="16642"/>
                  </a:lnTo>
                  <a:lnTo>
                    <a:pt x="3391" y="16537"/>
                  </a:lnTo>
                  <a:lnTo>
                    <a:pt x="3743" y="16710"/>
                  </a:lnTo>
                  <a:lnTo>
                    <a:pt x="3765" y="16665"/>
                  </a:lnTo>
                  <a:lnTo>
                    <a:pt x="3414" y="16492"/>
                  </a:lnTo>
                  <a:lnTo>
                    <a:pt x="3466" y="16386"/>
                  </a:lnTo>
                  <a:lnTo>
                    <a:pt x="3428" y="16364"/>
                  </a:lnTo>
                  <a:close/>
                  <a:moveTo>
                    <a:pt x="3960" y="16269"/>
                  </a:moveTo>
                  <a:lnTo>
                    <a:pt x="3919" y="16250"/>
                  </a:lnTo>
                  <a:lnTo>
                    <a:pt x="3835" y="16422"/>
                  </a:lnTo>
                  <a:lnTo>
                    <a:pt x="3692" y="16351"/>
                  </a:lnTo>
                  <a:lnTo>
                    <a:pt x="3757" y="16217"/>
                  </a:lnTo>
                  <a:lnTo>
                    <a:pt x="3717" y="16197"/>
                  </a:lnTo>
                  <a:lnTo>
                    <a:pt x="3651" y="16331"/>
                  </a:lnTo>
                  <a:lnTo>
                    <a:pt x="3523" y="16268"/>
                  </a:lnTo>
                  <a:lnTo>
                    <a:pt x="3602" y="16108"/>
                  </a:lnTo>
                  <a:lnTo>
                    <a:pt x="3566" y="16083"/>
                  </a:lnTo>
                  <a:lnTo>
                    <a:pt x="3461" y="16297"/>
                  </a:lnTo>
                  <a:lnTo>
                    <a:pt x="3852" y="16489"/>
                  </a:lnTo>
                  <a:lnTo>
                    <a:pt x="3960" y="16269"/>
                  </a:lnTo>
                  <a:close/>
                  <a:moveTo>
                    <a:pt x="4123" y="15938"/>
                  </a:moveTo>
                  <a:lnTo>
                    <a:pt x="4086" y="15943"/>
                  </a:lnTo>
                  <a:cubicBezTo>
                    <a:pt x="4070" y="15945"/>
                    <a:pt x="4052" y="15948"/>
                    <a:pt x="4033" y="15950"/>
                  </a:cubicBezTo>
                  <a:cubicBezTo>
                    <a:pt x="4015" y="15953"/>
                    <a:pt x="3997" y="15955"/>
                    <a:pt x="3980" y="15958"/>
                  </a:cubicBezTo>
                  <a:cubicBezTo>
                    <a:pt x="3964" y="15960"/>
                    <a:pt x="3952" y="15962"/>
                    <a:pt x="3946" y="15963"/>
                  </a:cubicBezTo>
                  <a:cubicBezTo>
                    <a:pt x="3936" y="15965"/>
                    <a:pt x="3925" y="15967"/>
                    <a:pt x="3913" y="15970"/>
                  </a:cubicBezTo>
                  <a:cubicBezTo>
                    <a:pt x="3901" y="15974"/>
                    <a:pt x="3891" y="15977"/>
                    <a:pt x="3882" y="15981"/>
                  </a:cubicBezTo>
                  <a:lnTo>
                    <a:pt x="3885" y="15975"/>
                  </a:lnTo>
                  <a:cubicBezTo>
                    <a:pt x="3893" y="15960"/>
                    <a:pt x="3897" y="15944"/>
                    <a:pt x="3898" y="15929"/>
                  </a:cubicBezTo>
                  <a:cubicBezTo>
                    <a:pt x="3899" y="15914"/>
                    <a:pt x="3898" y="15899"/>
                    <a:pt x="3893" y="15885"/>
                  </a:cubicBezTo>
                  <a:cubicBezTo>
                    <a:pt x="3888" y="15872"/>
                    <a:pt x="3880" y="15859"/>
                    <a:pt x="3869" y="15848"/>
                  </a:cubicBezTo>
                  <a:cubicBezTo>
                    <a:pt x="3858" y="15836"/>
                    <a:pt x="3845" y="15827"/>
                    <a:pt x="3829" y="15819"/>
                  </a:cubicBezTo>
                  <a:cubicBezTo>
                    <a:pt x="3819" y="15814"/>
                    <a:pt x="3809" y="15810"/>
                    <a:pt x="3799" y="15809"/>
                  </a:cubicBezTo>
                  <a:cubicBezTo>
                    <a:pt x="3789" y="15807"/>
                    <a:pt x="3780" y="15806"/>
                    <a:pt x="3771" y="15806"/>
                  </a:cubicBezTo>
                  <a:cubicBezTo>
                    <a:pt x="3763" y="15807"/>
                    <a:pt x="3755" y="15808"/>
                    <a:pt x="3747" y="15810"/>
                  </a:cubicBezTo>
                  <a:cubicBezTo>
                    <a:pt x="3740" y="15812"/>
                    <a:pt x="3734" y="15814"/>
                    <a:pt x="3728" y="15817"/>
                  </a:cubicBezTo>
                  <a:cubicBezTo>
                    <a:pt x="3722" y="15820"/>
                    <a:pt x="3716" y="15823"/>
                    <a:pt x="3710" y="15828"/>
                  </a:cubicBezTo>
                  <a:cubicBezTo>
                    <a:pt x="3704" y="15832"/>
                    <a:pt x="3698" y="15838"/>
                    <a:pt x="3692" y="15844"/>
                  </a:cubicBezTo>
                  <a:cubicBezTo>
                    <a:pt x="3686" y="15851"/>
                    <a:pt x="3680" y="15859"/>
                    <a:pt x="3673" y="15869"/>
                  </a:cubicBezTo>
                  <a:cubicBezTo>
                    <a:pt x="3667" y="15879"/>
                    <a:pt x="3661" y="15890"/>
                    <a:pt x="3654" y="15903"/>
                  </a:cubicBezTo>
                  <a:lnTo>
                    <a:pt x="3610" y="15995"/>
                  </a:lnTo>
                  <a:lnTo>
                    <a:pt x="4000" y="16187"/>
                  </a:lnTo>
                  <a:lnTo>
                    <a:pt x="4023" y="16141"/>
                  </a:lnTo>
                  <a:lnTo>
                    <a:pt x="3846" y="16054"/>
                  </a:lnTo>
                  <a:cubicBezTo>
                    <a:pt x="3851" y="16045"/>
                    <a:pt x="3857" y="16038"/>
                    <a:pt x="3863" y="16033"/>
                  </a:cubicBezTo>
                  <a:cubicBezTo>
                    <a:pt x="3870" y="16029"/>
                    <a:pt x="3880" y="16025"/>
                    <a:pt x="3893" y="16022"/>
                  </a:cubicBezTo>
                  <a:cubicBezTo>
                    <a:pt x="3916" y="16018"/>
                    <a:pt x="3938" y="16013"/>
                    <a:pt x="3959" y="16010"/>
                  </a:cubicBezTo>
                  <a:cubicBezTo>
                    <a:pt x="3980" y="16007"/>
                    <a:pt x="3999" y="16004"/>
                    <a:pt x="4016" y="16002"/>
                  </a:cubicBezTo>
                  <a:cubicBezTo>
                    <a:pt x="4033" y="16000"/>
                    <a:pt x="4049" y="15998"/>
                    <a:pt x="4062" y="15998"/>
                  </a:cubicBezTo>
                  <a:cubicBezTo>
                    <a:pt x="4075" y="15997"/>
                    <a:pt x="4086" y="15997"/>
                    <a:pt x="4094" y="15997"/>
                  </a:cubicBezTo>
                  <a:lnTo>
                    <a:pt x="4123" y="15938"/>
                  </a:lnTo>
                  <a:close/>
                  <a:moveTo>
                    <a:pt x="3836" y="15890"/>
                  </a:moveTo>
                  <a:cubicBezTo>
                    <a:pt x="3845" y="15898"/>
                    <a:pt x="3850" y="15907"/>
                    <a:pt x="3853" y="15916"/>
                  </a:cubicBezTo>
                  <a:cubicBezTo>
                    <a:pt x="3856" y="15927"/>
                    <a:pt x="3857" y="15939"/>
                    <a:pt x="3855" y="15952"/>
                  </a:cubicBezTo>
                  <a:cubicBezTo>
                    <a:pt x="3852" y="15964"/>
                    <a:pt x="3847" y="15979"/>
                    <a:pt x="3838" y="15997"/>
                  </a:cubicBezTo>
                  <a:lnTo>
                    <a:pt x="3817" y="16040"/>
                  </a:lnTo>
                  <a:lnTo>
                    <a:pt x="3671" y="15968"/>
                  </a:lnTo>
                  <a:lnTo>
                    <a:pt x="3694" y="15922"/>
                  </a:lnTo>
                  <a:cubicBezTo>
                    <a:pt x="3699" y="15911"/>
                    <a:pt x="3705" y="15902"/>
                    <a:pt x="3710" y="15895"/>
                  </a:cubicBezTo>
                  <a:cubicBezTo>
                    <a:pt x="3715" y="15888"/>
                    <a:pt x="3721" y="15882"/>
                    <a:pt x="3726" y="15876"/>
                  </a:cubicBezTo>
                  <a:cubicBezTo>
                    <a:pt x="3736" y="15868"/>
                    <a:pt x="3749" y="15862"/>
                    <a:pt x="3763" y="15861"/>
                  </a:cubicBezTo>
                  <a:cubicBezTo>
                    <a:pt x="3778" y="15859"/>
                    <a:pt x="3791" y="15861"/>
                    <a:pt x="3804" y="15867"/>
                  </a:cubicBezTo>
                  <a:cubicBezTo>
                    <a:pt x="3817" y="15874"/>
                    <a:pt x="3828" y="15881"/>
                    <a:pt x="3836" y="15890"/>
                  </a:cubicBezTo>
                  <a:close/>
                  <a:moveTo>
                    <a:pt x="4335" y="15727"/>
                  </a:moveTo>
                  <a:lnTo>
                    <a:pt x="3785" y="15457"/>
                  </a:lnTo>
                  <a:lnTo>
                    <a:pt x="3767" y="15494"/>
                  </a:lnTo>
                  <a:lnTo>
                    <a:pt x="4316" y="15765"/>
                  </a:lnTo>
                  <a:lnTo>
                    <a:pt x="4335" y="15727"/>
                  </a:lnTo>
                  <a:close/>
                  <a:moveTo>
                    <a:pt x="4109" y="14979"/>
                  </a:moveTo>
                  <a:lnTo>
                    <a:pt x="4086" y="15025"/>
                  </a:lnTo>
                  <a:lnTo>
                    <a:pt x="4359" y="15159"/>
                  </a:lnTo>
                  <a:cubicBezTo>
                    <a:pt x="4372" y="15166"/>
                    <a:pt x="4383" y="15172"/>
                    <a:pt x="4391" y="15179"/>
                  </a:cubicBezTo>
                  <a:cubicBezTo>
                    <a:pt x="4400" y="15185"/>
                    <a:pt x="4407" y="15193"/>
                    <a:pt x="4412" y="15204"/>
                  </a:cubicBezTo>
                  <a:cubicBezTo>
                    <a:pt x="4417" y="15214"/>
                    <a:pt x="4419" y="15226"/>
                    <a:pt x="4417" y="15240"/>
                  </a:cubicBezTo>
                  <a:cubicBezTo>
                    <a:pt x="4416" y="15254"/>
                    <a:pt x="4411" y="15269"/>
                    <a:pt x="4403" y="15285"/>
                  </a:cubicBezTo>
                  <a:cubicBezTo>
                    <a:pt x="4397" y="15297"/>
                    <a:pt x="4391" y="15307"/>
                    <a:pt x="4384" y="15315"/>
                  </a:cubicBezTo>
                  <a:cubicBezTo>
                    <a:pt x="4378" y="15322"/>
                    <a:pt x="4371" y="15328"/>
                    <a:pt x="4364" y="15333"/>
                  </a:cubicBezTo>
                  <a:cubicBezTo>
                    <a:pt x="4357" y="15337"/>
                    <a:pt x="4351" y="15340"/>
                    <a:pt x="4344" y="15341"/>
                  </a:cubicBezTo>
                  <a:cubicBezTo>
                    <a:pt x="4338" y="15342"/>
                    <a:pt x="4332" y="15343"/>
                    <a:pt x="4327" y="15343"/>
                  </a:cubicBezTo>
                  <a:cubicBezTo>
                    <a:pt x="4320" y="15342"/>
                    <a:pt x="4311" y="15340"/>
                    <a:pt x="4299" y="15336"/>
                  </a:cubicBezTo>
                  <a:cubicBezTo>
                    <a:pt x="4288" y="15331"/>
                    <a:pt x="4277" y="15327"/>
                    <a:pt x="4267" y="15322"/>
                  </a:cubicBezTo>
                  <a:lnTo>
                    <a:pt x="4004" y="15192"/>
                  </a:lnTo>
                  <a:lnTo>
                    <a:pt x="3982" y="15238"/>
                  </a:lnTo>
                  <a:lnTo>
                    <a:pt x="4262" y="15376"/>
                  </a:lnTo>
                  <a:cubicBezTo>
                    <a:pt x="4271" y="15381"/>
                    <a:pt x="4281" y="15385"/>
                    <a:pt x="4293" y="15389"/>
                  </a:cubicBezTo>
                  <a:cubicBezTo>
                    <a:pt x="4304" y="15394"/>
                    <a:pt x="4316" y="15396"/>
                    <a:pt x="4328" y="15395"/>
                  </a:cubicBezTo>
                  <a:cubicBezTo>
                    <a:pt x="4353" y="15394"/>
                    <a:pt x="4374" y="15387"/>
                    <a:pt x="4392" y="15373"/>
                  </a:cubicBezTo>
                  <a:cubicBezTo>
                    <a:pt x="4410" y="15359"/>
                    <a:pt x="4427" y="15337"/>
                    <a:pt x="4442" y="15307"/>
                  </a:cubicBezTo>
                  <a:cubicBezTo>
                    <a:pt x="4454" y="15283"/>
                    <a:pt x="4461" y="15262"/>
                    <a:pt x="4464" y="15243"/>
                  </a:cubicBezTo>
                  <a:cubicBezTo>
                    <a:pt x="4467" y="15225"/>
                    <a:pt x="4466" y="15207"/>
                    <a:pt x="4462" y="15190"/>
                  </a:cubicBezTo>
                  <a:cubicBezTo>
                    <a:pt x="4458" y="15173"/>
                    <a:pt x="4450" y="15160"/>
                    <a:pt x="4439" y="15149"/>
                  </a:cubicBezTo>
                  <a:cubicBezTo>
                    <a:pt x="4428" y="15139"/>
                    <a:pt x="4411" y="15128"/>
                    <a:pt x="4387" y="15116"/>
                  </a:cubicBezTo>
                  <a:lnTo>
                    <a:pt x="4109" y="14979"/>
                  </a:lnTo>
                  <a:close/>
                  <a:moveTo>
                    <a:pt x="4683" y="14799"/>
                  </a:moveTo>
                  <a:lnTo>
                    <a:pt x="4292" y="14607"/>
                  </a:lnTo>
                  <a:lnTo>
                    <a:pt x="4270" y="14653"/>
                  </a:lnTo>
                  <a:lnTo>
                    <a:pt x="4483" y="14756"/>
                  </a:lnTo>
                  <a:cubicBezTo>
                    <a:pt x="4497" y="14763"/>
                    <a:pt x="4511" y="14769"/>
                    <a:pt x="4526" y="14776"/>
                  </a:cubicBezTo>
                  <a:cubicBezTo>
                    <a:pt x="4540" y="14782"/>
                    <a:pt x="4553" y="14788"/>
                    <a:pt x="4564" y="14792"/>
                  </a:cubicBezTo>
                  <a:cubicBezTo>
                    <a:pt x="4576" y="14797"/>
                    <a:pt x="4585" y="14801"/>
                    <a:pt x="4593" y="14804"/>
                  </a:cubicBezTo>
                  <a:cubicBezTo>
                    <a:pt x="4600" y="14807"/>
                    <a:pt x="4604" y="14809"/>
                    <a:pt x="4605" y="14809"/>
                  </a:cubicBezTo>
                  <a:cubicBezTo>
                    <a:pt x="4603" y="14809"/>
                    <a:pt x="4600" y="14809"/>
                    <a:pt x="4593" y="14808"/>
                  </a:cubicBezTo>
                  <a:cubicBezTo>
                    <a:pt x="4587" y="14808"/>
                    <a:pt x="4580" y="14807"/>
                    <a:pt x="4570" y="14807"/>
                  </a:cubicBezTo>
                  <a:cubicBezTo>
                    <a:pt x="4561" y="14806"/>
                    <a:pt x="4551" y="14806"/>
                    <a:pt x="4539" y="14805"/>
                  </a:cubicBezTo>
                  <a:cubicBezTo>
                    <a:pt x="4528" y="14805"/>
                    <a:pt x="4516" y="14805"/>
                    <a:pt x="4505" y="14805"/>
                  </a:cubicBezTo>
                  <a:lnTo>
                    <a:pt x="4191" y="14812"/>
                  </a:lnTo>
                  <a:lnTo>
                    <a:pt x="4165" y="14866"/>
                  </a:lnTo>
                  <a:lnTo>
                    <a:pt x="4555" y="15059"/>
                  </a:lnTo>
                  <a:lnTo>
                    <a:pt x="4579" y="15010"/>
                  </a:lnTo>
                  <a:lnTo>
                    <a:pt x="4351" y="14901"/>
                  </a:lnTo>
                  <a:cubicBezTo>
                    <a:pt x="4340" y="14895"/>
                    <a:pt x="4328" y="14890"/>
                    <a:pt x="4317" y="14885"/>
                  </a:cubicBezTo>
                  <a:cubicBezTo>
                    <a:pt x="4305" y="14880"/>
                    <a:pt x="4294" y="14875"/>
                    <a:pt x="4284" y="14871"/>
                  </a:cubicBezTo>
                  <a:cubicBezTo>
                    <a:pt x="4274" y="14867"/>
                    <a:pt x="4266" y="14863"/>
                    <a:pt x="4258" y="14860"/>
                  </a:cubicBezTo>
                  <a:cubicBezTo>
                    <a:pt x="4251" y="14857"/>
                    <a:pt x="4246" y="14855"/>
                    <a:pt x="4243" y="14854"/>
                  </a:cubicBezTo>
                  <a:cubicBezTo>
                    <a:pt x="4247" y="14855"/>
                    <a:pt x="4253" y="14855"/>
                    <a:pt x="4260" y="14855"/>
                  </a:cubicBezTo>
                  <a:cubicBezTo>
                    <a:pt x="4267" y="14856"/>
                    <a:pt x="4276" y="14856"/>
                    <a:pt x="4286" y="14856"/>
                  </a:cubicBezTo>
                  <a:cubicBezTo>
                    <a:pt x="4296" y="14856"/>
                    <a:pt x="4308" y="14856"/>
                    <a:pt x="4320" y="14856"/>
                  </a:cubicBezTo>
                  <a:cubicBezTo>
                    <a:pt x="4332" y="14856"/>
                    <a:pt x="4345" y="14856"/>
                    <a:pt x="4358" y="14856"/>
                  </a:cubicBezTo>
                  <a:lnTo>
                    <a:pt x="4659" y="14848"/>
                  </a:lnTo>
                  <a:lnTo>
                    <a:pt x="4683" y="14799"/>
                  </a:lnTo>
                  <a:close/>
                  <a:moveTo>
                    <a:pt x="4762" y="14639"/>
                  </a:moveTo>
                  <a:lnTo>
                    <a:pt x="4371" y="14447"/>
                  </a:lnTo>
                  <a:lnTo>
                    <a:pt x="4349" y="14492"/>
                  </a:lnTo>
                  <a:lnTo>
                    <a:pt x="4740" y="14685"/>
                  </a:lnTo>
                  <a:lnTo>
                    <a:pt x="4762" y="14639"/>
                  </a:lnTo>
                  <a:close/>
                  <a:moveTo>
                    <a:pt x="4562" y="14059"/>
                  </a:moveTo>
                  <a:lnTo>
                    <a:pt x="4538" y="14107"/>
                  </a:lnTo>
                  <a:lnTo>
                    <a:pt x="4755" y="14318"/>
                  </a:lnTo>
                  <a:cubicBezTo>
                    <a:pt x="4772" y="14335"/>
                    <a:pt x="4787" y="14349"/>
                    <a:pt x="4799" y="14360"/>
                  </a:cubicBezTo>
                  <a:cubicBezTo>
                    <a:pt x="4812" y="14371"/>
                    <a:pt x="4820" y="14378"/>
                    <a:pt x="4824" y="14382"/>
                  </a:cubicBezTo>
                  <a:cubicBezTo>
                    <a:pt x="4821" y="14381"/>
                    <a:pt x="4816" y="14379"/>
                    <a:pt x="4810" y="14378"/>
                  </a:cubicBezTo>
                  <a:cubicBezTo>
                    <a:pt x="4803" y="14376"/>
                    <a:pt x="4795" y="14374"/>
                    <a:pt x="4785" y="14372"/>
                  </a:cubicBezTo>
                  <a:cubicBezTo>
                    <a:pt x="4776" y="14370"/>
                    <a:pt x="4766" y="14368"/>
                    <a:pt x="4756" y="14367"/>
                  </a:cubicBezTo>
                  <a:cubicBezTo>
                    <a:pt x="4746" y="14365"/>
                    <a:pt x="4736" y="14363"/>
                    <a:pt x="4726" y="14362"/>
                  </a:cubicBezTo>
                  <a:lnTo>
                    <a:pt x="4433" y="14320"/>
                  </a:lnTo>
                  <a:lnTo>
                    <a:pt x="4408" y="14371"/>
                  </a:lnTo>
                  <a:lnTo>
                    <a:pt x="4864" y="14432"/>
                  </a:lnTo>
                  <a:lnTo>
                    <a:pt x="4887" y="14386"/>
                  </a:lnTo>
                  <a:lnTo>
                    <a:pt x="4562" y="14059"/>
                  </a:lnTo>
                  <a:close/>
                  <a:moveTo>
                    <a:pt x="5098" y="13957"/>
                  </a:moveTo>
                  <a:lnTo>
                    <a:pt x="5057" y="13937"/>
                  </a:lnTo>
                  <a:lnTo>
                    <a:pt x="4973" y="14109"/>
                  </a:lnTo>
                  <a:lnTo>
                    <a:pt x="4830" y="14039"/>
                  </a:lnTo>
                  <a:lnTo>
                    <a:pt x="4895" y="13905"/>
                  </a:lnTo>
                  <a:lnTo>
                    <a:pt x="4855" y="13885"/>
                  </a:lnTo>
                  <a:lnTo>
                    <a:pt x="4789" y="14019"/>
                  </a:lnTo>
                  <a:lnTo>
                    <a:pt x="4661" y="13956"/>
                  </a:lnTo>
                  <a:lnTo>
                    <a:pt x="4740" y="13795"/>
                  </a:lnTo>
                  <a:lnTo>
                    <a:pt x="4704" y="13770"/>
                  </a:lnTo>
                  <a:lnTo>
                    <a:pt x="4599" y="13984"/>
                  </a:lnTo>
                  <a:lnTo>
                    <a:pt x="4990" y="14176"/>
                  </a:lnTo>
                  <a:lnTo>
                    <a:pt x="5098" y="13957"/>
                  </a:lnTo>
                  <a:close/>
                  <a:moveTo>
                    <a:pt x="5261" y="13626"/>
                  </a:moveTo>
                  <a:lnTo>
                    <a:pt x="5224" y="13630"/>
                  </a:lnTo>
                  <a:cubicBezTo>
                    <a:pt x="5208" y="13633"/>
                    <a:pt x="5190" y="13635"/>
                    <a:pt x="5171" y="13638"/>
                  </a:cubicBezTo>
                  <a:cubicBezTo>
                    <a:pt x="5153" y="13640"/>
                    <a:pt x="5135" y="13643"/>
                    <a:pt x="5118" y="13645"/>
                  </a:cubicBezTo>
                  <a:cubicBezTo>
                    <a:pt x="5102" y="13647"/>
                    <a:pt x="5090" y="13649"/>
                    <a:pt x="5084" y="13650"/>
                  </a:cubicBezTo>
                  <a:cubicBezTo>
                    <a:pt x="5074" y="13652"/>
                    <a:pt x="5063" y="13655"/>
                    <a:pt x="5051" y="13658"/>
                  </a:cubicBezTo>
                  <a:cubicBezTo>
                    <a:pt x="5039" y="13661"/>
                    <a:pt x="5029" y="13664"/>
                    <a:pt x="5020" y="13668"/>
                  </a:cubicBezTo>
                  <a:lnTo>
                    <a:pt x="5023" y="13662"/>
                  </a:lnTo>
                  <a:cubicBezTo>
                    <a:pt x="5031" y="13647"/>
                    <a:pt x="5035" y="13631"/>
                    <a:pt x="5036" y="13616"/>
                  </a:cubicBezTo>
                  <a:cubicBezTo>
                    <a:pt x="5037" y="13601"/>
                    <a:pt x="5036" y="13586"/>
                    <a:pt x="5031" y="13573"/>
                  </a:cubicBezTo>
                  <a:cubicBezTo>
                    <a:pt x="5026" y="13559"/>
                    <a:pt x="5018" y="13546"/>
                    <a:pt x="5007" y="13535"/>
                  </a:cubicBezTo>
                  <a:cubicBezTo>
                    <a:pt x="4996" y="13524"/>
                    <a:pt x="4983" y="13514"/>
                    <a:pt x="4967" y="13506"/>
                  </a:cubicBezTo>
                  <a:cubicBezTo>
                    <a:pt x="4957" y="13501"/>
                    <a:pt x="4947" y="13498"/>
                    <a:pt x="4937" y="13496"/>
                  </a:cubicBezTo>
                  <a:cubicBezTo>
                    <a:pt x="4927" y="13494"/>
                    <a:pt x="4918" y="13493"/>
                    <a:pt x="4909" y="13494"/>
                  </a:cubicBezTo>
                  <a:cubicBezTo>
                    <a:pt x="4901" y="13494"/>
                    <a:pt x="4893" y="13495"/>
                    <a:pt x="4886" y="13497"/>
                  </a:cubicBezTo>
                  <a:cubicBezTo>
                    <a:pt x="4878" y="13499"/>
                    <a:pt x="4872" y="13501"/>
                    <a:pt x="4866" y="13504"/>
                  </a:cubicBezTo>
                  <a:cubicBezTo>
                    <a:pt x="4860" y="13507"/>
                    <a:pt x="4854" y="13511"/>
                    <a:pt x="4848" y="13515"/>
                  </a:cubicBezTo>
                  <a:cubicBezTo>
                    <a:pt x="4842" y="13519"/>
                    <a:pt x="4836" y="13525"/>
                    <a:pt x="4830" y="13532"/>
                  </a:cubicBezTo>
                  <a:cubicBezTo>
                    <a:pt x="4824" y="13538"/>
                    <a:pt x="4818" y="13546"/>
                    <a:pt x="4811" y="13556"/>
                  </a:cubicBezTo>
                  <a:cubicBezTo>
                    <a:pt x="4805" y="13566"/>
                    <a:pt x="4799" y="13577"/>
                    <a:pt x="4792" y="13591"/>
                  </a:cubicBezTo>
                  <a:lnTo>
                    <a:pt x="4748" y="13682"/>
                  </a:lnTo>
                  <a:lnTo>
                    <a:pt x="5138" y="13874"/>
                  </a:lnTo>
                  <a:lnTo>
                    <a:pt x="5161" y="13829"/>
                  </a:lnTo>
                  <a:lnTo>
                    <a:pt x="4984" y="13742"/>
                  </a:lnTo>
                  <a:cubicBezTo>
                    <a:pt x="4989" y="13732"/>
                    <a:pt x="4995" y="13725"/>
                    <a:pt x="5001" y="13720"/>
                  </a:cubicBezTo>
                  <a:cubicBezTo>
                    <a:pt x="5008" y="13716"/>
                    <a:pt x="5018" y="13712"/>
                    <a:pt x="5031" y="13709"/>
                  </a:cubicBezTo>
                  <a:cubicBezTo>
                    <a:pt x="5054" y="13705"/>
                    <a:pt x="5076" y="13701"/>
                    <a:pt x="5097" y="13697"/>
                  </a:cubicBezTo>
                  <a:cubicBezTo>
                    <a:pt x="5118" y="13694"/>
                    <a:pt x="5137" y="13691"/>
                    <a:pt x="5154" y="13689"/>
                  </a:cubicBezTo>
                  <a:cubicBezTo>
                    <a:pt x="5171" y="13687"/>
                    <a:pt x="5187" y="13686"/>
                    <a:pt x="5200" y="13685"/>
                  </a:cubicBezTo>
                  <a:cubicBezTo>
                    <a:pt x="5213" y="13684"/>
                    <a:pt x="5224" y="13684"/>
                    <a:pt x="5232" y="13684"/>
                  </a:cubicBezTo>
                  <a:lnTo>
                    <a:pt x="5261" y="13626"/>
                  </a:lnTo>
                  <a:close/>
                  <a:moveTo>
                    <a:pt x="4974" y="13577"/>
                  </a:moveTo>
                  <a:cubicBezTo>
                    <a:pt x="4983" y="13585"/>
                    <a:pt x="4988" y="13594"/>
                    <a:pt x="4991" y="13604"/>
                  </a:cubicBezTo>
                  <a:cubicBezTo>
                    <a:pt x="4994" y="13615"/>
                    <a:pt x="4995" y="13626"/>
                    <a:pt x="4993" y="13639"/>
                  </a:cubicBezTo>
                  <a:cubicBezTo>
                    <a:pt x="4990" y="13651"/>
                    <a:pt x="4985" y="13667"/>
                    <a:pt x="4976" y="13684"/>
                  </a:cubicBezTo>
                  <a:lnTo>
                    <a:pt x="4955" y="13727"/>
                  </a:lnTo>
                  <a:lnTo>
                    <a:pt x="4809" y="13656"/>
                  </a:lnTo>
                  <a:lnTo>
                    <a:pt x="4832" y="13609"/>
                  </a:lnTo>
                  <a:cubicBezTo>
                    <a:pt x="4838" y="13598"/>
                    <a:pt x="4843" y="13589"/>
                    <a:pt x="4848" y="13582"/>
                  </a:cubicBezTo>
                  <a:cubicBezTo>
                    <a:pt x="4853" y="13575"/>
                    <a:pt x="4859" y="13569"/>
                    <a:pt x="4864" y="13564"/>
                  </a:cubicBezTo>
                  <a:cubicBezTo>
                    <a:pt x="4874" y="13555"/>
                    <a:pt x="4887" y="13550"/>
                    <a:pt x="4901" y="13548"/>
                  </a:cubicBezTo>
                  <a:cubicBezTo>
                    <a:pt x="4916" y="13546"/>
                    <a:pt x="4929" y="13548"/>
                    <a:pt x="4942" y="13555"/>
                  </a:cubicBezTo>
                  <a:cubicBezTo>
                    <a:pt x="4955" y="13561"/>
                    <a:pt x="4966" y="13568"/>
                    <a:pt x="4974" y="13577"/>
                  </a:cubicBezTo>
                  <a:close/>
                  <a:moveTo>
                    <a:pt x="5272" y="13232"/>
                  </a:moveTo>
                  <a:cubicBezTo>
                    <a:pt x="5257" y="13230"/>
                    <a:pt x="5243" y="13231"/>
                    <a:pt x="5230" y="13235"/>
                  </a:cubicBezTo>
                  <a:cubicBezTo>
                    <a:pt x="5217" y="13238"/>
                    <a:pt x="5205" y="13244"/>
                    <a:pt x="5194" y="13251"/>
                  </a:cubicBezTo>
                  <a:cubicBezTo>
                    <a:pt x="5183" y="13258"/>
                    <a:pt x="5171" y="13269"/>
                    <a:pt x="5157" y="13284"/>
                  </a:cubicBezTo>
                  <a:lnTo>
                    <a:pt x="5120" y="13322"/>
                  </a:lnTo>
                  <a:cubicBezTo>
                    <a:pt x="5101" y="13342"/>
                    <a:pt x="5085" y="13354"/>
                    <a:pt x="5070" y="13359"/>
                  </a:cubicBezTo>
                  <a:cubicBezTo>
                    <a:pt x="5056" y="13365"/>
                    <a:pt x="5041" y="13364"/>
                    <a:pt x="5025" y="13356"/>
                  </a:cubicBezTo>
                  <a:cubicBezTo>
                    <a:pt x="5005" y="13346"/>
                    <a:pt x="4992" y="13331"/>
                    <a:pt x="4988" y="13312"/>
                  </a:cubicBezTo>
                  <a:cubicBezTo>
                    <a:pt x="4983" y="13293"/>
                    <a:pt x="4987" y="13271"/>
                    <a:pt x="4999" y="13246"/>
                  </a:cubicBezTo>
                  <a:cubicBezTo>
                    <a:pt x="5003" y="13238"/>
                    <a:pt x="5007" y="13230"/>
                    <a:pt x="5012" y="13223"/>
                  </a:cubicBezTo>
                  <a:cubicBezTo>
                    <a:pt x="5017" y="13216"/>
                    <a:pt x="5022" y="13210"/>
                    <a:pt x="5029" y="13204"/>
                  </a:cubicBezTo>
                  <a:cubicBezTo>
                    <a:pt x="5035" y="13198"/>
                    <a:pt x="5042" y="13192"/>
                    <a:pt x="5050" y="13186"/>
                  </a:cubicBezTo>
                  <a:cubicBezTo>
                    <a:pt x="5058" y="13180"/>
                    <a:pt x="5068" y="13174"/>
                    <a:pt x="5079" y="13167"/>
                  </a:cubicBezTo>
                  <a:lnTo>
                    <a:pt x="5055" y="13130"/>
                  </a:lnTo>
                  <a:cubicBezTo>
                    <a:pt x="5012" y="13155"/>
                    <a:pt x="4980" y="13188"/>
                    <a:pt x="4959" y="13230"/>
                  </a:cubicBezTo>
                  <a:cubicBezTo>
                    <a:pt x="4950" y="13249"/>
                    <a:pt x="4944" y="13267"/>
                    <a:pt x="4942" y="13285"/>
                  </a:cubicBezTo>
                  <a:cubicBezTo>
                    <a:pt x="4940" y="13304"/>
                    <a:pt x="4941" y="13321"/>
                    <a:pt x="4946" y="13337"/>
                  </a:cubicBezTo>
                  <a:cubicBezTo>
                    <a:pt x="4950" y="13353"/>
                    <a:pt x="4958" y="13367"/>
                    <a:pt x="4968" y="13380"/>
                  </a:cubicBezTo>
                  <a:cubicBezTo>
                    <a:pt x="4979" y="13393"/>
                    <a:pt x="4993" y="13403"/>
                    <a:pt x="5009" y="13411"/>
                  </a:cubicBezTo>
                  <a:cubicBezTo>
                    <a:pt x="5035" y="13424"/>
                    <a:pt x="5060" y="13426"/>
                    <a:pt x="5085" y="13418"/>
                  </a:cubicBezTo>
                  <a:cubicBezTo>
                    <a:pt x="5097" y="13415"/>
                    <a:pt x="5108" y="13409"/>
                    <a:pt x="5118" y="13401"/>
                  </a:cubicBezTo>
                  <a:cubicBezTo>
                    <a:pt x="5128" y="13393"/>
                    <a:pt x="5140" y="13381"/>
                    <a:pt x="5154" y="13366"/>
                  </a:cubicBezTo>
                  <a:lnTo>
                    <a:pt x="5186" y="13332"/>
                  </a:lnTo>
                  <a:cubicBezTo>
                    <a:pt x="5223" y="13293"/>
                    <a:pt x="5258" y="13281"/>
                    <a:pt x="5293" y="13298"/>
                  </a:cubicBezTo>
                  <a:cubicBezTo>
                    <a:pt x="5316" y="13310"/>
                    <a:pt x="5330" y="13328"/>
                    <a:pt x="5335" y="13354"/>
                  </a:cubicBezTo>
                  <a:cubicBezTo>
                    <a:pt x="5337" y="13365"/>
                    <a:pt x="5338" y="13376"/>
                    <a:pt x="5336" y="13386"/>
                  </a:cubicBezTo>
                  <a:cubicBezTo>
                    <a:pt x="5334" y="13397"/>
                    <a:pt x="5329" y="13409"/>
                    <a:pt x="5322" y="13424"/>
                  </a:cubicBezTo>
                  <a:cubicBezTo>
                    <a:pt x="5312" y="13444"/>
                    <a:pt x="5300" y="13461"/>
                    <a:pt x="5287" y="13475"/>
                  </a:cubicBezTo>
                  <a:cubicBezTo>
                    <a:pt x="5273" y="13489"/>
                    <a:pt x="5256" y="13502"/>
                    <a:pt x="5236" y="13512"/>
                  </a:cubicBezTo>
                  <a:lnTo>
                    <a:pt x="5263" y="13551"/>
                  </a:lnTo>
                  <a:cubicBezTo>
                    <a:pt x="5284" y="13537"/>
                    <a:pt x="5303" y="13522"/>
                    <a:pt x="5319" y="13504"/>
                  </a:cubicBezTo>
                  <a:cubicBezTo>
                    <a:pt x="5335" y="13487"/>
                    <a:pt x="5348" y="13466"/>
                    <a:pt x="5360" y="13443"/>
                  </a:cubicBezTo>
                  <a:cubicBezTo>
                    <a:pt x="5369" y="13425"/>
                    <a:pt x="5375" y="13408"/>
                    <a:pt x="5378" y="13392"/>
                  </a:cubicBezTo>
                  <a:cubicBezTo>
                    <a:pt x="5381" y="13377"/>
                    <a:pt x="5381" y="13360"/>
                    <a:pt x="5379" y="13343"/>
                  </a:cubicBezTo>
                  <a:cubicBezTo>
                    <a:pt x="5377" y="13320"/>
                    <a:pt x="5369" y="13300"/>
                    <a:pt x="5357" y="13283"/>
                  </a:cubicBezTo>
                  <a:cubicBezTo>
                    <a:pt x="5345" y="13265"/>
                    <a:pt x="5330" y="13252"/>
                    <a:pt x="5312" y="13243"/>
                  </a:cubicBezTo>
                  <a:cubicBezTo>
                    <a:pt x="5300" y="13237"/>
                    <a:pt x="5286" y="13233"/>
                    <a:pt x="5272" y="13232"/>
                  </a:cubicBezTo>
                  <a:close/>
                  <a:moveTo>
                    <a:pt x="5489" y="13161"/>
                  </a:moveTo>
                  <a:lnTo>
                    <a:pt x="5098" y="12969"/>
                  </a:lnTo>
                  <a:lnTo>
                    <a:pt x="5076" y="13015"/>
                  </a:lnTo>
                  <a:lnTo>
                    <a:pt x="5467" y="13207"/>
                  </a:lnTo>
                  <a:lnTo>
                    <a:pt x="5489" y="13161"/>
                  </a:lnTo>
                  <a:close/>
                  <a:moveTo>
                    <a:pt x="5264" y="12632"/>
                  </a:moveTo>
                  <a:lnTo>
                    <a:pt x="5137" y="12891"/>
                  </a:lnTo>
                  <a:lnTo>
                    <a:pt x="5176" y="12910"/>
                  </a:lnTo>
                  <a:lnTo>
                    <a:pt x="5228" y="12805"/>
                  </a:lnTo>
                  <a:lnTo>
                    <a:pt x="5579" y="12978"/>
                  </a:lnTo>
                  <a:lnTo>
                    <a:pt x="5601" y="12933"/>
                  </a:lnTo>
                  <a:lnTo>
                    <a:pt x="5250" y="12760"/>
                  </a:lnTo>
                  <a:lnTo>
                    <a:pt x="5302" y="12654"/>
                  </a:lnTo>
                  <a:lnTo>
                    <a:pt x="5264" y="12632"/>
                  </a:lnTo>
                  <a:close/>
                  <a:moveTo>
                    <a:pt x="5432" y="12291"/>
                  </a:moveTo>
                  <a:lnTo>
                    <a:pt x="5405" y="12345"/>
                  </a:lnTo>
                  <a:lnTo>
                    <a:pt x="5518" y="12494"/>
                  </a:lnTo>
                  <a:cubicBezTo>
                    <a:pt x="5525" y="12504"/>
                    <a:pt x="5532" y="12513"/>
                    <a:pt x="5538" y="12521"/>
                  </a:cubicBezTo>
                  <a:cubicBezTo>
                    <a:pt x="5545" y="12529"/>
                    <a:pt x="5549" y="12534"/>
                    <a:pt x="5551" y="12536"/>
                  </a:cubicBezTo>
                  <a:cubicBezTo>
                    <a:pt x="5542" y="12536"/>
                    <a:pt x="5533" y="12536"/>
                    <a:pt x="5524" y="12535"/>
                  </a:cubicBezTo>
                  <a:cubicBezTo>
                    <a:pt x="5516" y="12535"/>
                    <a:pt x="5507" y="12535"/>
                    <a:pt x="5497" y="12535"/>
                  </a:cubicBezTo>
                  <a:lnTo>
                    <a:pt x="5312" y="12535"/>
                  </a:lnTo>
                  <a:lnTo>
                    <a:pt x="5283" y="12593"/>
                  </a:lnTo>
                  <a:lnTo>
                    <a:pt x="5581" y="12583"/>
                  </a:lnTo>
                  <a:lnTo>
                    <a:pt x="5736" y="12659"/>
                  </a:lnTo>
                  <a:lnTo>
                    <a:pt x="5760" y="12611"/>
                  </a:lnTo>
                  <a:lnTo>
                    <a:pt x="5608" y="12536"/>
                  </a:lnTo>
                  <a:lnTo>
                    <a:pt x="5432" y="12291"/>
                  </a:lnTo>
                  <a:close/>
                  <a:moveTo>
                    <a:pt x="5791" y="11862"/>
                  </a:moveTo>
                  <a:cubicBezTo>
                    <a:pt x="5765" y="11857"/>
                    <a:pt x="5740" y="11855"/>
                    <a:pt x="5715" y="11859"/>
                  </a:cubicBezTo>
                  <a:cubicBezTo>
                    <a:pt x="5706" y="11860"/>
                    <a:pt x="5696" y="11862"/>
                    <a:pt x="5685" y="11866"/>
                  </a:cubicBezTo>
                  <a:cubicBezTo>
                    <a:pt x="5674" y="11869"/>
                    <a:pt x="5663" y="11874"/>
                    <a:pt x="5652" y="11881"/>
                  </a:cubicBezTo>
                  <a:cubicBezTo>
                    <a:pt x="5641" y="11888"/>
                    <a:pt x="5630" y="11897"/>
                    <a:pt x="5619" y="11908"/>
                  </a:cubicBezTo>
                  <a:cubicBezTo>
                    <a:pt x="5609" y="11919"/>
                    <a:pt x="5599" y="11933"/>
                    <a:pt x="5591" y="11950"/>
                  </a:cubicBezTo>
                  <a:cubicBezTo>
                    <a:pt x="5579" y="11974"/>
                    <a:pt x="5573" y="11998"/>
                    <a:pt x="5573" y="12022"/>
                  </a:cubicBezTo>
                  <a:cubicBezTo>
                    <a:pt x="5573" y="12046"/>
                    <a:pt x="5578" y="12069"/>
                    <a:pt x="5589" y="12091"/>
                  </a:cubicBezTo>
                  <a:cubicBezTo>
                    <a:pt x="5600" y="12112"/>
                    <a:pt x="5616" y="12133"/>
                    <a:pt x="5637" y="12152"/>
                  </a:cubicBezTo>
                  <a:cubicBezTo>
                    <a:pt x="5658" y="12172"/>
                    <a:pt x="5684" y="12189"/>
                    <a:pt x="5715" y="12204"/>
                  </a:cubicBezTo>
                  <a:cubicBezTo>
                    <a:pt x="5783" y="12238"/>
                    <a:pt x="5842" y="12248"/>
                    <a:pt x="5893" y="12234"/>
                  </a:cubicBezTo>
                  <a:cubicBezTo>
                    <a:pt x="5915" y="12228"/>
                    <a:pt x="5935" y="12218"/>
                    <a:pt x="5953" y="12204"/>
                  </a:cubicBezTo>
                  <a:cubicBezTo>
                    <a:pt x="5971" y="12190"/>
                    <a:pt x="5986" y="12171"/>
                    <a:pt x="5997" y="12147"/>
                  </a:cubicBezTo>
                  <a:cubicBezTo>
                    <a:pt x="6007" y="12127"/>
                    <a:pt x="6013" y="12107"/>
                    <a:pt x="6015" y="12089"/>
                  </a:cubicBezTo>
                  <a:cubicBezTo>
                    <a:pt x="6017" y="12070"/>
                    <a:pt x="6015" y="12051"/>
                    <a:pt x="6008" y="12030"/>
                  </a:cubicBezTo>
                  <a:cubicBezTo>
                    <a:pt x="6000" y="12001"/>
                    <a:pt x="5985" y="11976"/>
                    <a:pt x="5965" y="11954"/>
                  </a:cubicBezTo>
                  <a:cubicBezTo>
                    <a:pt x="5944" y="11933"/>
                    <a:pt x="5915" y="11913"/>
                    <a:pt x="5878" y="11894"/>
                  </a:cubicBezTo>
                  <a:cubicBezTo>
                    <a:pt x="5846" y="11879"/>
                    <a:pt x="5817" y="11868"/>
                    <a:pt x="5791" y="11862"/>
                  </a:cubicBezTo>
                  <a:close/>
                  <a:moveTo>
                    <a:pt x="5900" y="11973"/>
                  </a:moveTo>
                  <a:cubicBezTo>
                    <a:pt x="5912" y="11980"/>
                    <a:pt x="5922" y="11987"/>
                    <a:pt x="5930" y="11994"/>
                  </a:cubicBezTo>
                  <a:cubicBezTo>
                    <a:pt x="5939" y="12001"/>
                    <a:pt x="5946" y="12008"/>
                    <a:pt x="5951" y="12015"/>
                  </a:cubicBezTo>
                  <a:cubicBezTo>
                    <a:pt x="5957" y="12022"/>
                    <a:pt x="5961" y="12030"/>
                    <a:pt x="5965" y="12038"/>
                  </a:cubicBezTo>
                  <a:cubicBezTo>
                    <a:pt x="5972" y="12052"/>
                    <a:pt x="5975" y="12066"/>
                    <a:pt x="5975" y="12081"/>
                  </a:cubicBezTo>
                  <a:cubicBezTo>
                    <a:pt x="5974" y="12096"/>
                    <a:pt x="5970" y="12111"/>
                    <a:pt x="5963" y="12127"/>
                  </a:cubicBezTo>
                  <a:cubicBezTo>
                    <a:pt x="5959" y="12135"/>
                    <a:pt x="5954" y="12143"/>
                    <a:pt x="5947" y="12150"/>
                  </a:cubicBezTo>
                  <a:cubicBezTo>
                    <a:pt x="5941" y="12158"/>
                    <a:pt x="5934" y="12164"/>
                    <a:pt x="5927" y="12170"/>
                  </a:cubicBezTo>
                  <a:cubicBezTo>
                    <a:pt x="5920" y="12175"/>
                    <a:pt x="5912" y="12180"/>
                    <a:pt x="5904" y="12184"/>
                  </a:cubicBezTo>
                  <a:cubicBezTo>
                    <a:pt x="5896" y="12187"/>
                    <a:pt x="5888" y="12189"/>
                    <a:pt x="5879" y="12190"/>
                  </a:cubicBezTo>
                  <a:cubicBezTo>
                    <a:pt x="5862" y="12191"/>
                    <a:pt x="5841" y="12188"/>
                    <a:pt x="5815" y="12181"/>
                  </a:cubicBezTo>
                  <a:cubicBezTo>
                    <a:pt x="5788" y="12173"/>
                    <a:pt x="5761" y="12162"/>
                    <a:pt x="5731" y="12148"/>
                  </a:cubicBezTo>
                  <a:cubicBezTo>
                    <a:pt x="5707" y="12136"/>
                    <a:pt x="5687" y="12124"/>
                    <a:pt x="5671" y="12112"/>
                  </a:cubicBezTo>
                  <a:cubicBezTo>
                    <a:pt x="5655" y="12101"/>
                    <a:pt x="5643" y="12088"/>
                    <a:pt x="5633" y="12075"/>
                  </a:cubicBezTo>
                  <a:cubicBezTo>
                    <a:pt x="5623" y="12060"/>
                    <a:pt x="5617" y="12044"/>
                    <a:pt x="5616" y="12025"/>
                  </a:cubicBezTo>
                  <a:cubicBezTo>
                    <a:pt x="5616" y="12006"/>
                    <a:pt x="5620" y="11987"/>
                    <a:pt x="5629" y="11969"/>
                  </a:cubicBezTo>
                  <a:cubicBezTo>
                    <a:pt x="5640" y="11946"/>
                    <a:pt x="5654" y="11930"/>
                    <a:pt x="5672" y="11921"/>
                  </a:cubicBezTo>
                  <a:cubicBezTo>
                    <a:pt x="5690" y="11912"/>
                    <a:pt x="5707" y="11908"/>
                    <a:pt x="5725" y="11908"/>
                  </a:cubicBezTo>
                  <a:cubicBezTo>
                    <a:pt x="5742" y="11908"/>
                    <a:pt x="5761" y="11912"/>
                    <a:pt x="5783" y="11919"/>
                  </a:cubicBezTo>
                  <a:cubicBezTo>
                    <a:pt x="5804" y="11925"/>
                    <a:pt x="5830" y="11936"/>
                    <a:pt x="5859" y="11950"/>
                  </a:cubicBezTo>
                  <a:cubicBezTo>
                    <a:pt x="5875" y="11958"/>
                    <a:pt x="5888" y="11966"/>
                    <a:pt x="5900" y="11973"/>
                  </a:cubicBezTo>
                  <a:close/>
                  <a:moveTo>
                    <a:pt x="5825" y="11492"/>
                  </a:moveTo>
                  <a:lnTo>
                    <a:pt x="5724" y="11697"/>
                  </a:lnTo>
                  <a:lnTo>
                    <a:pt x="6115" y="11890"/>
                  </a:lnTo>
                  <a:lnTo>
                    <a:pt x="6138" y="11842"/>
                  </a:lnTo>
                  <a:lnTo>
                    <a:pt x="5952" y="11751"/>
                  </a:lnTo>
                  <a:lnTo>
                    <a:pt x="6014" y="11625"/>
                  </a:lnTo>
                  <a:lnTo>
                    <a:pt x="5976" y="11607"/>
                  </a:lnTo>
                  <a:lnTo>
                    <a:pt x="5914" y="11732"/>
                  </a:lnTo>
                  <a:lnTo>
                    <a:pt x="5786" y="11669"/>
                  </a:lnTo>
                  <a:lnTo>
                    <a:pt x="5860" y="11518"/>
                  </a:lnTo>
                  <a:lnTo>
                    <a:pt x="5825" y="11492"/>
                  </a:lnTo>
                  <a:close/>
                  <a:moveTo>
                    <a:pt x="6491" y="11125"/>
                  </a:moveTo>
                  <a:lnTo>
                    <a:pt x="6084" y="10966"/>
                  </a:lnTo>
                  <a:lnTo>
                    <a:pt x="6050" y="11035"/>
                  </a:lnTo>
                  <a:lnTo>
                    <a:pt x="6273" y="11236"/>
                  </a:lnTo>
                  <a:cubicBezTo>
                    <a:pt x="6287" y="11248"/>
                    <a:pt x="6299" y="11259"/>
                    <a:pt x="6311" y="11267"/>
                  </a:cubicBezTo>
                  <a:cubicBezTo>
                    <a:pt x="6322" y="11276"/>
                    <a:pt x="6328" y="11281"/>
                    <a:pt x="6330" y="11282"/>
                  </a:cubicBezTo>
                  <a:cubicBezTo>
                    <a:pt x="6328" y="11281"/>
                    <a:pt x="6320" y="11279"/>
                    <a:pt x="6306" y="11275"/>
                  </a:cubicBezTo>
                  <a:cubicBezTo>
                    <a:pt x="6292" y="11272"/>
                    <a:pt x="6275" y="11268"/>
                    <a:pt x="6254" y="11264"/>
                  </a:cubicBezTo>
                  <a:lnTo>
                    <a:pt x="5964" y="11209"/>
                  </a:lnTo>
                  <a:lnTo>
                    <a:pt x="5930" y="11278"/>
                  </a:lnTo>
                  <a:lnTo>
                    <a:pt x="6304" y="11504"/>
                  </a:lnTo>
                  <a:lnTo>
                    <a:pt x="6327" y="11459"/>
                  </a:lnTo>
                  <a:lnTo>
                    <a:pt x="6059" y="11301"/>
                  </a:lnTo>
                  <a:cubicBezTo>
                    <a:pt x="6054" y="11298"/>
                    <a:pt x="6047" y="11294"/>
                    <a:pt x="6040" y="11290"/>
                  </a:cubicBezTo>
                  <a:cubicBezTo>
                    <a:pt x="6032" y="11285"/>
                    <a:pt x="6025" y="11281"/>
                    <a:pt x="6017" y="11277"/>
                  </a:cubicBezTo>
                  <a:cubicBezTo>
                    <a:pt x="6010" y="11273"/>
                    <a:pt x="6003" y="11269"/>
                    <a:pt x="5998" y="11266"/>
                  </a:cubicBezTo>
                  <a:cubicBezTo>
                    <a:pt x="5993" y="11263"/>
                    <a:pt x="5990" y="11261"/>
                    <a:pt x="5989" y="11260"/>
                  </a:cubicBezTo>
                  <a:cubicBezTo>
                    <a:pt x="5993" y="11262"/>
                    <a:pt x="6002" y="11264"/>
                    <a:pt x="6016" y="11266"/>
                  </a:cubicBezTo>
                  <a:cubicBezTo>
                    <a:pt x="6031" y="11269"/>
                    <a:pt x="6050" y="11273"/>
                    <a:pt x="6072" y="11277"/>
                  </a:cubicBezTo>
                  <a:lnTo>
                    <a:pt x="6387" y="11336"/>
                  </a:lnTo>
                  <a:lnTo>
                    <a:pt x="6407" y="11296"/>
                  </a:lnTo>
                  <a:lnTo>
                    <a:pt x="6156" y="11069"/>
                  </a:lnTo>
                  <a:cubicBezTo>
                    <a:pt x="6151" y="11065"/>
                    <a:pt x="6145" y="11060"/>
                    <a:pt x="6140" y="11055"/>
                  </a:cubicBezTo>
                  <a:cubicBezTo>
                    <a:pt x="6134" y="11050"/>
                    <a:pt x="6128" y="11045"/>
                    <a:pt x="6123" y="11041"/>
                  </a:cubicBezTo>
                  <a:cubicBezTo>
                    <a:pt x="6118" y="11036"/>
                    <a:pt x="6113" y="11032"/>
                    <a:pt x="6109" y="11029"/>
                  </a:cubicBezTo>
                  <a:cubicBezTo>
                    <a:pt x="6106" y="11026"/>
                    <a:pt x="6103" y="11024"/>
                    <a:pt x="6103" y="11024"/>
                  </a:cubicBezTo>
                  <a:cubicBezTo>
                    <a:pt x="6104" y="11024"/>
                    <a:pt x="6106" y="11025"/>
                    <a:pt x="6111" y="11027"/>
                  </a:cubicBezTo>
                  <a:cubicBezTo>
                    <a:pt x="6116" y="11029"/>
                    <a:pt x="6121" y="11032"/>
                    <a:pt x="6128" y="11035"/>
                  </a:cubicBezTo>
                  <a:cubicBezTo>
                    <a:pt x="6135" y="11038"/>
                    <a:pt x="6142" y="11041"/>
                    <a:pt x="6150" y="11045"/>
                  </a:cubicBezTo>
                  <a:cubicBezTo>
                    <a:pt x="6157" y="11048"/>
                    <a:pt x="6164" y="11051"/>
                    <a:pt x="6170" y="11053"/>
                  </a:cubicBezTo>
                  <a:lnTo>
                    <a:pt x="6468" y="11172"/>
                  </a:lnTo>
                  <a:lnTo>
                    <a:pt x="6491" y="11125"/>
                  </a:lnTo>
                  <a:close/>
                  <a:moveTo>
                    <a:pt x="6276" y="10576"/>
                  </a:moveTo>
                  <a:lnTo>
                    <a:pt x="6253" y="10623"/>
                  </a:lnTo>
                  <a:lnTo>
                    <a:pt x="6525" y="10757"/>
                  </a:lnTo>
                  <a:cubicBezTo>
                    <a:pt x="6538" y="10763"/>
                    <a:pt x="6549" y="10770"/>
                    <a:pt x="6558" y="10776"/>
                  </a:cubicBezTo>
                  <a:cubicBezTo>
                    <a:pt x="6566" y="10782"/>
                    <a:pt x="6573" y="10791"/>
                    <a:pt x="6579" y="10801"/>
                  </a:cubicBezTo>
                  <a:cubicBezTo>
                    <a:pt x="6584" y="10811"/>
                    <a:pt x="6586" y="10823"/>
                    <a:pt x="6584" y="10837"/>
                  </a:cubicBezTo>
                  <a:cubicBezTo>
                    <a:pt x="6582" y="10851"/>
                    <a:pt x="6577" y="10866"/>
                    <a:pt x="6569" y="10882"/>
                  </a:cubicBezTo>
                  <a:cubicBezTo>
                    <a:pt x="6563" y="10894"/>
                    <a:pt x="6557" y="10904"/>
                    <a:pt x="6551" y="10912"/>
                  </a:cubicBezTo>
                  <a:cubicBezTo>
                    <a:pt x="6544" y="10920"/>
                    <a:pt x="6537" y="10926"/>
                    <a:pt x="6531" y="10930"/>
                  </a:cubicBezTo>
                  <a:cubicBezTo>
                    <a:pt x="6524" y="10934"/>
                    <a:pt x="6517" y="10937"/>
                    <a:pt x="6511" y="10938"/>
                  </a:cubicBezTo>
                  <a:cubicBezTo>
                    <a:pt x="6505" y="10939"/>
                    <a:pt x="6499" y="10940"/>
                    <a:pt x="6494" y="10940"/>
                  </a:cubicBezTo>
                  <a:cubicBezTo>
                    <a:pt x="6486" y="10940"/>
                    <a:pt x="6477" y="10937"/>
                    <a:pt x="6466" y="10933"/>
                  </a:cubicBezTo>
                  <a:cubicBezTo>
                    <a:pt x="6454" y="10928"/>
                    <a:pt x="6444" y="10924"/>
                    <a:pt x="6434" y="10919"/>
                  </a:cubicBezTo>
                  <a:lnTo>
                    <a:pt x="6171" y="10789"/>
                  </a:lnTo>
                  <a:lnTo>
                    <a:pt x="6148" y="10836"/>
                  </a:lnTo>
                  <a:lnTo>
                    <a:pt x="6428" y="10974"/>
                  </a:lnTo>
                  <a:cubicBezTo>
                    <a:pt x="6437" y="10978"/>
                    <a:pt x="6447" y="10982"/>
                    <a:pt x="6459" y="10987"/>
                  </a:cubicBezTo>
                  <a:cubicBezTo>
                    <a:pt x="6471" y="10991"/>
                    <a:pt x="6483" y="10993"/>
                    <a:pt x="6495" y="10992"/>
                  </a:cubicBezTo>
                  <a:cubicBezTo>
                    <a:pt x="6520" y="10991"/>
                    <a:pt x="6541" y="10984"/>
                    <a:pt x="6559" y="10970"/>
                  </a:cubicBezTo>
                  <a:cubicBezTo>
                    <a:pt x="6577" y="10957"/>
                    <a:pt x="6593" y="10935"/>
                    <a:pt x="6608" y="10904"/>
                  </a:cubicBezTo>
                  <a:cubicBezTo>
                    <a:pt x="6620" y="10880"/>
                    <a:pt x="6627" y="10859"/>
                    <a:pt x="6630" y="10840"/>
                  </a:cubicBezTo>
                  <a:cubicBezTo>
                    <a:pt x="6633" y="10822"/>
                    <a:pt x="6633" y="10804"/>
                    <a:pt x="6628" y="10787"/>
                  </a:cubicBezTo>
                  <a:cubicBezTo>
                    <a:pt x="6624" y="10770"/>
                    <a:pt x="6617" y="10757"/>
                    <a:pt x="6606" y="10746"/>
                  </a:cubicBezTo>
                  <a:cubicBezTo>
                    <a:pt x="6595" y="10736"/>
                    <a:pt x="6577" y="10725"/>
                    <a:pt x="6554" y="10713"/>
                  </a:cubicBezTo>
                  <a:lnTo>
                    <a:pt x="6276" y="10576"/>
                  </a:lnTo>
                  <a:close/>
                  <a:moveTo>
                    <a:pt x="6119" y="10707"/>
                  </a:moveTo>
                  <a:cubicBezTo>
                    <a:pt x="6110" y="10710"/>
                    <a:pt x="6104" y="10716"/>
                    <a:pt x="6100" y="10724"/>
                  </a:cubicBezTo>
                  <a:cubicBezTo>
                    <a:pt x="6096" y="10732"/>
                    <a:pt x="6095" y="10740"/>
                    <a:pt x="6098" y="10749"/>
                  </a:cubicBezTo>
                  <a:cubicBezTo>
                    <a:pt x="6101" y="10757"/>
                    <a:pt x="6106" y="10763"/>
                    <a:pt x="6114" y="10767"/>
                  </a:cubicBezTo>
                  <a:cubicBezTo>
                    <a:pt x="6123" y="10772"/>
                    <a:pt x="6131" y="10772"/>
                    <a:pt x="6140" y="10769"/>
                  </a:cubicBezTo>
                  <a:cubicBezTo>
                    <a:pt x="6149" y="10767"/>
                    <a:pt x="6155" y="10761"/>
                    <a:pt x="6159" y="10753"/>
                  </a:cubicBezTo>
                  <a:cubicBezTo>
                    <a:pt x="6163" y="10744"/>
                    <a:pt x="6164" y="10736"/>
                    <a:pt x="6161" y="10727"/>
                  </a:cubicBezTo>
                  <a:cubicBezTo>
                    <a:pt x="6157" y="10719"/>
                    <a:pt x="6152" y="10713"/>
                    <a:pt x="6143" y="10709"/>
                  </a:cubicBezTo>
                  <a:cubicBezTo>
                    <a:pt x="6135" y="10705"/>
                    <a:pt x="6127" y="10704"/>
                    <a:pt x="6119" y="10707"/>
                  </a:cubicBezTo>
                  <a:close/>
                  <a:moveTo>
                    <a:pt x="6176" y="10590"/>
                  </a:moveTo>
                  <a:cubicBezTo>
                    <a:pt x="6167" y="10593"/>
                    <a:pt x="6161" y="10599"/>
                    <a:pt x="6157" y="10607"/>
                  </a:cubicBezTo>
                  <a:cubicBezTo>
                    <a:pt x="6153" y="10615"/>
                    <a:pt x="6153" y="10623"/>
                    <a:pt x="6156" y="10632"/>
                  </a:cubicBezTo>
                  <a:cubicBezTo>
                    <a:pt x="6158" y="10640"/>
                    <a:pt x="6164" y="10647"/>
                    <a:pt x="6172" y="10651"/>
                  </a:cubicBezTo>
                  <a:cubicBezTo>
                    <a:pt x="6180" y="10655"/>
                    <a:pt x="6189" y="10655"/>
                    <a:pt x="6197" y="10653"/>
                  </a:cubicBezTo>
                  <a:cubicBezTo>
                    <a:pt x="6206" y="10650"/>
                    <a:pt x="6212" y="10644"/>
                    <a:pt x="6217" y="10636"/>
                  </a:cubicBezTo>
                  <a:cubicBezTo>
                    <a:pt x="6221" y="10627"/>
                    <a:pt x="6221" y="10619"/>
                    <a:pt x="6218" y="10611"/>
                  </a:cubicBezTo>
                  <a:cubicBezTo>
                    <a:pt x="6215" y="10602"/>
                    <a:pt x="6209" y="10596"/>
                    <a:pt x="6201" y="10592"/>
                  </a:cubicBezTo>
                  <a:cubicBezTo>
                    <a:pt x="6193" y="10588"/>
                    <a:pt x="6184" y="10587"/>
                    <a:pt x="6176" y="10590"/>
                  </a:cubicBezTo>
                  <a:close/>
                  <a:moveTo>
                    <a:pt x="6850" y="10396"/>
                  </a:moveTo>
                  <a:lnTo>
                    <a:pt x="6459" y="10204"/>
                  </a:lnTo>
                  <a:lnTo>
                    <a:pt x="6436" y="10250"/>
                  </a:lnTo>
                  <a:lnTo>
                    <a:pt x="6650" y="10353"/>
                  </a:lnTo>
                  <a:cubicBezTo>
                    <a:pt x="6664" y="10360"/>
                    <a:pt x="6678" y="10366"/>
                    <a:pt x="6692" y="10373"/>
                  </a:cubicBezTo>
                  <a:cubicBezTo>
                    <a:pt x="6706" y="10379"/>
                    <a:pt x="6719" y="10385"/>
                    <a:pt x="6731" y="10390"/>
                  </a:cubicBezTo>
                  <a:cubicBezTo>
                    <a:pt x="6742" y="10395"/>
                    <a:pt x="6752" y="10399"/>
                    <a:pt x="6759" y="10402"/>
                  </a:cubicBezTo>
                  <a:cubicBezTo>
                    <a:pt x="6767" y="10405"/>
                    <a:pt x="6771" y="10406"/>
                    <a:pt x="6771" y="10406"/>
                  </a:cubicBezTo>
                  <a:cubicBezTo>
                    <a:pt x="6770" y="10406"/>
                    <a:pt x="6766" y="10406"/>
                    <a:pt x="6760" y="10405"/>
                  </a:cubicBezTo>
                  <a:cubicBezTo>
                    <a:pt x="6754" y="10405"/>
                    <a:pt x="6746" y="10404"/>
                    <a:pt x="6737" y="10404"/>
                  </a:cubicBezTo>
                  <a:cubicBezTo>
                    <a:pt x="6728" y="10403"/>
                    <a:pt x="6717" y="10403"/>
                    <a:pt x="6706" y="10402"/>
                  </a:cubicBezTo>
                  <a:cubicBezTo>
                    <a:pt x="6694" y="10402"/>
                    <a:pt x="6683" y="10402"/>
                    <a:pt x="6671" y="10402"/>
                  </a:cubicBezTo>
                  <a:lnTo>
                    <a:pt x="6358" y="10409"/>
                  </a:lnTo>
                  <a:lnTo>
                    <a:pt x="6331" y="10464"/>
                  </a:lnTo>
                  <a:lnTo>
                    <a:pt x="6722" y="10656"/>
                  </a:lnTo>
                  <a:lnTo>
                    <a:pt x="6746" y="10608"/>
                  </a:lnTo>
                  <a:lnTo>
                    <a:pt x="6518" y="10498"/>
                  </a:lnTo>
                  <a:cubicBezTo>
                    <a:pt x="6506" y="10493"/>
                    <a:pt x="6495" y="10487"/>
                    <a:pt x="6483" y="10482"/>
                  </a:cubicBezTo>
                  <a:cubicBezTo>
                    <a:pt x="6472" y="10477"/>
                    <a:pt x="6461" y="10473"/>
                    <a:pt x="6451" y="10468"/>
                  </a:cubicBezTo>
                  <a:cubicBezTo>
                    <a:pt x="6441" y="10464"/>
                    <a:pt x="6432" y="10461"/>
                    <a:pt x="6425" y="10457"/>
                  </a:cubicBezTo>
                  <a:cubicBezTo>
                    <a:pt x="6418" y="10454"/>
                    <a:pt x="6413" y="10452"/>
                    <a:pt x="6409" y="10451"/>
                  </a:cubicBezTo>
                  <a:cubicBezTo>
                    <a:pt x="6413" y="10452"/>
                    <a:pt x="6419" y="10452"/>
                    <a:pt x="6426" y="10453"/>
                  </a:cubicBezTo>
                  <a:cubicBezTo>
                    <a:pt x="6434" y="10453"/>
                    <a:pt x="6443" y="10453"/>
                    <a:pt x="6453" y="10453"/>
                  </a:cubicBezTo>
                  <a:cubicBezTo>
                    <a:pt x="6463" y="10453"/>
                    <a:pt x="6474" y="10453"/>
                    <a:pt x="6486" y="10453"/>
                  </a:cubicBezTo>
                  <a:cubicBezTo>
                    <a:pt x="6498" y="10453"/>
                    <a:pt x="6511" y="10453"/>
                    <a:pt x="6525" y="10453"/>
                  </a:cubicBezTo>
                  <a:lnTo>
                    <a:pt x="6826" y="10445"/>
                  </a:lnTo>
                  <a:lnTo>
                    <a:pt x="6850" y="10396"/>
                  </a:lnTo>
                  <a:close/>
                  <a:moveTo>
                    <a:pt x="6874" y="9975"/>
                  </a:moveTo>
                  <a:cubicBezTo>
                    <a:pt x="6859" y="9974"/>
                    <a:pt x="6845" y="9975"/>
                    <a:pt x="6832" y="9978"/>
                  </a:cubicBezTo>
                  <a:cubicBezTo>
                    <a:pt x="6819" y="9982"/>
                    <a:pt x="6807" y="9987"/>
                    <a:pt x="6796" y="9995"/>
                  </a:cubicBezTo>
                  <a:cubicBezTo>
                    <a:pt x="6786" y="10002"/>
                    <a:pt x="6773" y="10013"/>
                    <a:pt x="6759" y="10028"/>
                  </a:cubicBezTo>
                  <a:lnTo>
                    <a:pt x="6723" y="10066"/>
                  </a:lnTo>
                  <a:cubicBezTo>
                    <a:pt x="6704" y="10085"/>
                    <a:pt x="6687" y="10098"/>
                    <a:pt x="6673" y="10103"/>
                  </a:cubicBezTo>
                  <a:cubicBezTo>
                    <a:pt x="6658" y="10109"/>
                    <a:pt x="6643" y="10107"/>
                    <a:pt x="6627" y="10099"/>
                  </a:cubicBezTo>
                  <a:cubicBezTo>
                    <a:pt x="6607" y="10090"/>
                    <a:pt x="6595" y="10075"/>
                    <a:pt x="6590" y="10056"/>
                  </a:cubicBezTo>
                  <a:cubicBezTo>
                    <a:pt x="6585" y="10036"/>
                    <a:pt x="6589" y="10014"/>
                    <a:pt x="6601" y="9990"/>
                  </a:cubicBezTo>
                  <a:cubicBezTo>
                    <a:pt x="6605" y="9981"/>
                    <a:pt x="6610" y="9974"/>
                    <a:pt x="6614" y="9967"/>
                  </a:cubicBezTo>
                  <a:cubicBezTo>
                    <a:pt x="6619" y="9960"/>
                    <a:pt x="6625" y="9954"/>
                    <a:pt x="6631" y="9947"/>
                  </a:cubicBezTo>
                  <a:cubicBezTo>
                    <a:pt x="6637" y="9941"/>
                    <a:pt x="6645" y="9935"/>
                    <a:pt x="6653" y="9929"/>
                  </a:cubicBezTo>
                  <a:cubicBezTo>
                    <a:pt x="6661" y="9924"/>
                    <a:pt x="6670" y="9917"/>
                    <a:pt x="6681" y="9911"/>
                  </a:cubicBezTo>
                  <a:lnTo>
                    <a:pt x="6657" y="9874"/>
                  </a:lnTo>
                  <a:cubicBezTo>
                    <a:pt x="6614" y="9899"/>
                    <a:pt x="6582" y="9932"/>
                    <a:pt x="6562" y="9973"/>
                  </a:cubicBezTo>
                  <a:cubicBezTo>
                    <a:pt x="6552" y="9992"/>
                    <a:pt x="6547" y="10011"/>
                    <a:pt x="6545" y="10029"/>
                  </a:cubicBezTo>
                  <a:cubicBezTo>
                    <a:pt x="6542" y="10047"/>
                    <a:pt x="6544" y="10064"/>
                    <a:pt x="6548" y="10080"/>
                  </a:cubicBezTo>
                  <a:cubicBezTo>
                    <a:pt x="6552" y="10096"/>
                    <a:pt x="6560" y="10111"/>
                    <a:pt x="6571" y="10123"/>
                  </a:cubicBezTo>
                  <a:cubicBezTo>
                    <a:pt x="6581" y="10136"/>
                    <a:pt x="6595" y="10147"/>
                    <a:pt x="6612" y="10155"/>
                  </a:cubicBezTo>
                  <a:cubicBezTo>
                    <a:pt x="6637" y="10167"/>
                    <a:pt x="6662" y="10170"/>
                    <a:pt x="6688" y="10162"/>
                  </a:cubicBezTo>
                  <a:cubicBezTo>
                    <a:pt x="6699" y="10158"/>
                    <a:pt x="6710" y="10152"/>
                    <a:pt x="6720" y="10144"/>
                  </a:cubicBezTo>
                  <a:cubicBezTo>
                    <a:pt x="6730" y="10136"/>
                    <a:pt x="6743" y="10125"/>
                    <a:pt x="6757" y="10109"/>
                  </a:cubicBezTo>
                  <a:lnTo>
                    <a:pt x="6788" y="10076"/>
                  </a:lnTo>
                  <a:cubicBezTo>
                    <a:pt x="6825" y="10036"/>
                    <a:pt x="6861" y="10025"/>
                    <a:pt x="6895" y="10042"/>
                  </a:cubicBezTo>
                  <a:cubicBezTo>
                    <a:pt x="6918" y="10053"/>
                    <a:pt x="6933" y="10072"/>
                    <a:pt x="6937" y="10097"/>
                  </a:cubicBezTo>
                  <a:cubicBezTo>
                    <a:pt x="6940" y="10109"/>
                    <a:pt x="6940" y="10120"/>
                    <a:pt x="6938" y="10130"/>
                  </a:cubicBezTo>
                  <a:cubicBezTo>
                    <a:pt x="6936" y="10140"/>
                    <a:pt x="6931" y="10153"/>
                    <a:pt x="6924" y="10168"/>
                  </a:cubicBezTo>
                  <a:cubicBezTo>
                    <a:pt x="6914" y="10187"/>
                    <a:pt x="6903" y="10204"/>
                    <a:pt x="6889" y="10219"/>
                  </a:cubicBezTo>
                  <a:cubicBezTo>
                    <a:pt x="6875" y="10233"/>
                    <a:pt x="6859" y="10245"/>
                    <a:pt x="6839" y="10256"/>
                  </a:cubicBezTo>
                  <a:lnTo>
                    <a:pt x="6865" y="10294"/>
                  </a:lnTo>
                  <a:cubicBezTo>
                    <a:pt x="6887" y="10281"/>
                    <a:pt x="6905" y="10266"/>
                    <a:pt x="6921" y="10248"/>
                  </a:cubicBezTo>
                  <a:cubicBezTo>
                    <a:pt x="6937" y="10231"/>
                    <a:pt x="6951" y="10210"/>
                    <a:pt x="6962" y="10186"/>
                  </a:cubicBezTo>
                  <a:cubicBezTo>
                    <a:pt x="6971" y="10168"/>
                    <a:pt x="6977" y="10151"/>
                    <a:pt x="6980" y="10136"/>
                  </a:cubicBezTo>
                  <a:cubicBezTo>
                    <a:pt x="6983" y="10120"/>
                    <a:pt x="6983" y="10104"/>
                    <a:pt x="6981" y="10087"/>
                  </a:cubicBezTo>
                  <a:cubicBezTo>
                    <a:pt x="6979" y="10064"/>
                    <a:pt x="6972" y="10044"/>
                    <a:pt x="6960" y="10026"/>
                  </a:cubicBezTo>
                  <a:cubicBezTo>
                    <a:pt x="6947" y="10009"/>
                    <a:pt x="6932" y="9996"/>
                    <a:pt x="6914" y="9987"/>
                  </a:cubicBezTo>
                  <a:cubicBezTo>
                    <a:pt x="6902" y="9981"/>
                    <a:pt x="6888" y="9977"/>
                    <a:pt x="6874" y="9975"/>
                  </a:cubicBezTo>
                  <a:close/>
                  <a:moveTo>
                    <a:pt x="6791" y="9529"/>
                  </a:moveTo>
                  <a:lnTo>
                    <a:pt x="6664" y="9787"/>
                  </a:lnTo>
                  <a:lnTo>
                    <a:pt x="6703" y="9807"/>
                  </a:lnTo>
                  <a:lnTo>
                    <a:pt x="6755" y="9702"/>
                  </a:lnTo>
                  <a:lnTo>
                    <a:pt x="7106" y="9875"/>
                  </a:lnTo>
                  <a:lnTo>
                    <a:pt x="7128" y="9830"/>
                  </a:lnTo>
                  <a:lnTo>
                    <a:pt x="6777" y="9657"/>
                  </a:lnTo>
                  <a:lnTo>
                    <a:pt x="6829" y="9551"/>
                  </a:lnTo>
                  <a:lnTo>
                    <a:pt x="6791" y="9529"/>
                  </a:lnTo>
                  <a:close/>
                  <a:moveTo>
                    <a:pt x="7323" y="9434"/>
                  </a:moveTo>
                  <a:lnTo>
                    <a:pt x="7283" y="9414"/>
                  </a:lnTo>
                  <a:lnTo>
                    <a:pt x="7198" y="9587"/>
                  </a:lnTo>
                  <a:lnTo>
                    <a:pt x="7055" y="9516"/>
                  </a:lnTo>
                  <a:lnTo>
                    <a:pt x="7121" y="9382"/>
                  </a:lnTo>
                  <a:lnTo>
                    <a:pt x="7080" y="9362"/>
                  </a:lnTo>
                  <a:lnTo>
                    <a:pt x="7014" y="9496"/>
                  </a:lnTo>
                  <a:lnTo>
                    <a:pt x="6886" y="9433"/>
                  </a:lnTo>
                  <a:lnTo>
                    <a:pt x="6965" y="9273"/>
                  </a:lnTo>
                  <a:lnTo>
                    <a:pt x="6929" y="9248"/>
                  </a:lnTo>
                  <a:lnTo>
                    <a:pt x="6824" y="9461"/>
                  </a:lnTo>
                  <a:lnTo>
                    <a:pt x="7215" y="9654"/>
                  </a:lnTo>
                  <a:lnTo>
                    <a:pt x="7323" y="9434"/>
                  </a:lnTo>
                  <a:close/>
                  <a:moveTo>
                    <a:pt x="7486" y="9103"/>
                  </a:moveTo>
                  <a:lnTo>
                    <a:pt x="7450" y="9108"/>
                  </a:lnTo>
                  <a:cubicBezTo>
                    <a:pt x="7433" y="9110"/>
                    <a:pt x="7415" y="9113"/>
                    <a:pt x="7397" y="9115"/>
                  </a:cubicBezTo>
                  <a:cubicBezTo>
                    <a:pt x="7378" y="9118"/>
                    <a:pt x="7360" y="9120"/>
                    <a:pt x="7344" y="9122"/>
                  </a:cubicBezTo>
                  <a:cubicBezTo>
                    <a:pt x="7327" y="9125"/>
                    <a:pt x="7316" y="9127"/>
                    <a:pt x="7309" y="9128"/>
                  </a:cubicBezTo>
                  <a:cubicBezTo>
                    <a:pt x="7299" y="9130"/>
                    <a:pt x="7288" y="9132"/>
                    <a:pt x="7276" y="9135"/>
                  </a:cubicBezTo>
                  <a:cubicBezTo>
                    <a:pt x="7264" y="9138"/>
                    <a:pt x="7254" y="9142"/>
                    <a:pt x="7246" y="9146"/>
                  </a:cubicBezTo>
                  <a:lnTo>
                    <a:pt x="7248" y="9140"/>
                  </a:lnTo>
                  <a:cubicBezTo>
                    <a:pt x="7256" y="9124"/>
                    <a:pt x="7261" y="9109"/>
                    <a:pt x="7262" y="9094"/>
                  </a:cubicBezTo>
                  <a:cubicBezTo>
                    <a:pt x="7263" y="9079"/>
                    <a:pt x="7261" y="9064"/>
                    <a:pt x="7256" y="9050"/>
                  </a:cubicBezTo>
                  <a:cubicBezTo>
                    <a:pt x="7251" y="9037"/>
                    <a:pt x="7243" y="9024"/>
                    <a:pt x="7233" y="9013"/>
                  </a:cubicBezTo>
                  <a:cubicBezTo>
                    <a:pt x="7222" y="9001"/>
                    <a:pt x="7208" y="8991"/>
                    <a:pt x="7192" y="8984"/>
                  </a:cubicBezTo>
                  <a:cubicBezTo>
                    <a:pt x="7182" y="8979"/>
                    <a:pt x="7172" y="8975"/>
                    <a:pt x="7162" y="8973"/>
                  </a:cubicBezTo>
                  <a:cubicBezTo>
                    <a:pt x="7153" y="8972"/>
                    <a:pt x="7143" y="8971"/>
                    <a:pt x="7135" y="8971"/>
                  </a:cubicBezTo>
                  <a:cubicBezTo>
                    <a:pt x="7126" y="8971"/>
                    <a:pt x="7118" y="8973"/>
                    <a:pt x="7111" y="8975"/>
                  </a:cubicBezTo>
                  <a:cubicBezTo>
                    <a:pt x="7103" y="8977"/>
                    <a:pt x="7097" y="8979"/>
                    <a:pt x="7091" y="8982"/>
                  </a:cubicBezTo>
                  <a:cubicBezTo>
                    <a:pt x="7085" y="8985"/>
                    <a:pt x="7079" y="8988"/>
                    <a:pt x="7073" y="8993"/>
                  </a:cubicBezTo>
                  <a:cubicBezTo>
                    <a:pt x="7067" y="8997"/>
                    <a:pt x="7061" y="9003"/>
                    <a:pt x="7055" y="9009"/>
                  </a:cubicBezTo>
                  <a:cubicBezTo>
                    <a:pt x="7049" y="9016"/>
                    <a:pt x="7043" y="9024"/>
                    <a:pt x="7037" y="9034"/>
                  </a:cubicBezTo>
                  <a:cubicBezTo>
                    <a:pt x="7031" y="9043"/>
                    <a:pt x="7024" y="9055"/>
                    <a:pt x="7018" y="9068"/>
                  </a:cubicBezTo>
                  <a:lnTo>
                    <a:pt x="6973" y="9159"/>
                  </a:lnTo>
                  <a:lnTo>
                    <a:pt x="7364" y="9352"/>
                  </a:lnTo>
                  <a:lnTo>
                    <a:pt x="7386" y="9306"/>
                  </a:lnTo>
                  <a:lnTo>
                    <a:pt x="7209" y="9219"/>
                  </a:lnTo>
                  <a:cubicBezTo>
                    <a:pt x="7215" y="9209"/>
                    <a:pt x="7220" y="9202"/>
                    <a:pt x="7227" y="9198"/>
                  </a:cubicBezTo>
                  <a:cubicBezTo>
                    <a:pt x="7233" y="9193"/>
                    <a:pt x="7243" y="9190"/>
                    <a:pt x="7256" y="9187"/>
                  </a:cubicBezTo>
                  <a:cubicBezTo>
                    <a:pt x="7280" y="9182"/>
                    <a:pt x="7301" y="9178"/>
                    <a:pt x="7322" y="9175"/>
                  </a:cubicBezTo>
                  <a:cubicBezTo>
                    <a:pt x="7343" y="9171"/>
                    <a:pt x="7362" y="9169"/>
                    <a:pt x="7379" y="9167"/>
                  </a:cubicBezTo>
                  <a:cubicBezTo>
                    <a:pt x="7397" y="9164"/>
                    <a:pt x="7412" y="9163"/>
                    <a:pt x="7425" y="9163"/>
                  </a:cubicBezTo>
                  <a:cubicBezTo>
                    <a:pt x="7439" y="9162"/>
                    <a:pt x="7449" y="9162"/>
                    <a:pt x="7457" y="9162"/>
                  </a:cubicBezTo>
                  <a:lnTo>
                    <a:pt x="7486" y="9103"/>
                  </a:lnTo>
                  <a:close/>
                  <a:moveTo>
                    <a:pt x="7200" y="9054"/>
                  </a:moveTo>
                  <a:cubicBezTo>
                    <a:pt x="7208" y="9063"/>
                    <a:pt x="7214" y="9072"/>
                    <a:pt x="7217" y="9081"/>
                  </a:cubicBezTo>
                  <a:cubicBezTo>
                    <a:pt x="7220" y="9092"/>
                    <a:pt x="7220" y="9104"/>
                    <a:pt x="7218" y="9116"/>
                  </a:cubicBezTo>
                  <a:cubicBezTo>
                    <a:pt x="7216" y="9129"/>
                    <a:pt x="7210" y="9144"/>
                    <a:pt x="7202" y="9162"/>
                  </a:cubicBezTo>
                  <a:lnTo>
                    <a:pt x="7180" y="9205"/>
                  </a:lnTo>
                  <a:lnTo>
                    <a:pt x="7035" y="9133"/>
                  </a:lnTo>
                  <a:lnTo>
                    <a:pt x="7058" y="9086"/>
                  </a:lnTo>
                  <a:cubicBezTo>
                    <a:pt x="7063" y="9076"/>
                    <a:pt x="7068" y="9067"/>
                    <a:pt x="7073" y="9060"/>
                  </a:cubicBezTo>
                  <a:cubicBezTo>
                    <a:pt x="7078" y="9053"/>
                    <a:pt x="7084" y="9046"/>
                    <a:pt x="7090" y="9041"/>
                  </a:cubicBezTo>
                  <a:cubicBezTo>
                    <a:pt x="7100" y="9033"/>
                    <a:pt x="7112" y="9027"/>
                    <a:pt x="7126" y="9025"/>
                  </a:cubicBezTo>
                  <a:cubicBezTo>
                    <a:pt x="7141" y="9024"/>
                    <a:pt x="7155" y="9026"/>
                    <a:pt x="7168" y="9032"/>
                  </a:cubicBezTo>
                  <a:cubicBezTo>
                    <a:pt x="7181" y="9039"/>
                    <a:pt x="7191" y="9046"/>
                    <a:pt x="7200" y="9054"/>
                  </a:cubicBezTo>
                  <a:close/>
                  <a:moveTo>
                    <a:pt x="7698" y="8892"/>
                  </a:moveTo>
                  <a:lnTo>
                    <a:pt x="7149" y="8622"/>
                  </a:lnTo>
                  <a:lnTo>
                    <a:pt x="7130" y="8659"/>
                  </a:lnTo>
                  <a:lnTo>
                    <a:pt x="7679" y="8929"/>
                  </a:lnTo>
                  <a:lnTo>
                    <a:pt x="7698" y="8892"/>
                  </a:lnTo>
                  <a:close/>
                  <a:moveTo>
                    <a:pt x="7543" y="8000"/>
                  </a:moveTo>
                  <a:lnTo>
                    <a:pt x="7520" y="8047"/>
                  </a:lnTo>
                  <a:lnTo>
                    <a:pt x="7723" y="8207"/>
                  </a:lnTo>
                  <a:cubicBezTo>
                    <a:pt x="7736" y="8217"/>
                    <a:pt x="7749" y="8227"/>
                    <a:pt x="7761" y="8237"/>
                  </a:cubicBezTo>
                  <a:cubicBezTo>
                    <a:pt x="7774" y="8247"/>
                    <a:pt x="7786" y="8255"/>
                    <a:pt x="7796" y="8263"/>
                  </a:cubicBezTo>
                  <a:cubicBezTo>
                    <a:pt x="7806" y="8270"/>
                    <a:pt x="7814" y="8276"/>
                    <a:pt x="7821" y="8282"/>
                  </a:cubicBezTo>
                  <a:cubicBezTo>
                    <a:pt x="7826" y="8285"/>
                    <a:pt x="7830" y="8287"/>
                    <a:pt x="7831" y="8289"/>
                  </a:cubicBezTo>
                  <a:cubicBezTo>
                    <a:pt x="7829" y="8288"/>
                    <a:pt x="7826" y="8287"/>
                    <a:pt x="7822" y="8286"/>
                  </a:cubicBezTo>
                  <a:cubicBezTo>
                    <a:pt x="7815" y="8284"/>
                    <a:pt x="7807" y="8282"/>
                    <a:pt x="7797" y="8279"/>
                  </a:cubicBezTo>
                  <a:cubicBezTo>
                    <a:pt x="7787" y="8276"/>
                    <a:pt x="7775" y="8273"/>
                    <a:pt x="7762" y="8269"/>
                  </a:cubicBezTo>
                  <a:cubicBezTo>
                    <a:pt x="7749" y="8266"/>
                    <a:pt x="7734" y="8262"/>
                    <a:pt x="7718" y="8258"/>
                  </a:cubicBezTo>
                  <a:lnTo>
                    <a:pt x="7449" y="8192"/>
                  </a:lnTo>
                  <a:lnTo>
                    <a:pt x="7423" y="8245"/>
                  </a:lnTo>
                  <a:lnTo>
                    <a:pt x="7631" y="8413"/>
                  </a:lnTo>
                  <a:cubicBezTo>
                    <a:pt x="7641" y="8420"/>
                    <a:pt x="7652" y="8429"/>
                    <a:pt x="7663" y="8438"/>
                  </a:cubicBezTo>
                  <a:cubicBezTo>
                    <a:pt x="7675" y="8447"/>
                    <a:pt x="7686" y="8455"/>
                    <a:pt x="7696" y="8462"/>
                  </a:cubicBezTo>
                  <a:cubicBezTo>
                    <a:pt x="7706" y="8470"/>
                    <a:pt x="7714" y="8476"/>
                    <a:pt x="7721" y="8482"/>
                  </a:cubicBezTo>
                  <a:cubicBezTo>
                    <a:pt x="7728" y="8487"/>
                    <a:pt x="7732" y="8490"/>
                    <a:pt x="7733" y="8490"/>
                  </a:cubicBezTo>
                  <a:cubicBezTo>
                    <a:pt x="7731" y="8490"/>
                    <a:pt x="7726" y="8488"/>
                    <a:pt x="7718" y="8486"/>
                  </a:cubicBezTo>
                  <a:cubicBezTo>
                    <a:pt x="7709" y="8483"/>
                    <a:pt x="7699" y="8480"/>
                    <a:pt x="7686" y="8476"/>
                  </a:cubicBezTo>
                  <a:cubicBezTo>
                    <a:pt x="7674" y="8472"/>
                    <a:pt x="7661" y="8468"/>
                    <a:pt x="7646" y="8464"/>
                  </a:cubicBezTo>
                  <a:cubicBezTo>
                    <a:pt x="7632" y="8460"/>
                    <a:pt x="7618" y="8456"/>
                    <a:pt x="7604" y="8453"/>
                  </a:cubicBezTo>
                  <a:lnTo>
                    <a:pt x="7351" y="8390"/>
                  </a:lnTo>
                  <a:lnTo>
                    <a:pt x="7327" y="8440"/>
                  </a:lnTo>
                  <a:lnTo>
                    <a:pt x="7763" y="8540"/>
                  </a:lnTo>
                  <a:lnTo>
                    <a:pt x="7793" y="8480"/>
                  </a:lnTo>
                  <a:lnTo>
                    <a:pt x="7596" y="8324"/>
                  </a:lnTo>
                  <a:cubicBezTo>
                    <a:pt x="7584" y="8315"/>
                    <a:pt x="7573" y="8306"/>
                    <a:pt x="7562" y="8297"/>
                  </a:cubicBezTo>
                  <a:cubicBezTo>
                    <a:pt x="7550" y="8289"/>
                    <a:pt x="7540" y="8281"/>
                    <a:pt x="7531" y="8275"/>
                  </a:cubicBezTo>
                  <a:cubicBezTo>
                    <a:pt x="7522" y="8268"/>
                    <a:pt x="7515" y="8263"/>
                    <a:pt x="7509" y="8259"/>
                  </a:cubicBezTo>
                  <a:cubicBezTo>
                    <a:pt x="7503" y="8255"/>
                    <a:pt x="7500" y="8252"/>
                    <a:pt x="7499" y="8251"/>
                  </a:cubicBezTo>
                  <a:cubicBezTo>
                    <a:pt x="7500" y="8252"/>
                    <a:pt x="7505" y="8253"/>
                    <a:pt x="7511" y="8255"/>
                  </a:cubicBezTo>
                  <a:cubicBezTo>
                    <a:pt x="7518" y="8257"/>
                    <a:pt x="7527" y="8260"/>
                    <a:pt x="7537" y="8263"/>
                  </a:cubicBezTo>
                  <a:cubicBezTo>
                    <a:pt x="7548" y="8266"/>
                    <a:pt x="7560" y="8269"/>
                    <a:pt x="7574" y="8273"/>
                  </a:cubicBezTo>
                  <a:cubicBezTo>
                    <a:pt x="7588" y="8277"/>
                    <a:pt x="7603" y="8281"/>
                    <a:pt x="7619" y="8285"/>
                  </a:cubicBezTo>
                  <a:lnTo>
                    <a:pt x="7860" y="8343"/>
                  </a:lnTo>
                  <a:lnTo>
                    <a:pt x="7890" y="8282"/>
                  </a:lnTo>
                  <a:lnTo>
                    <a:pt x="7543" y="8000"/>
                  </a:lnTo>
                  <a:close/>
                  <a:moveTo>
                    <a:pt x="8080" y="7895"/>
                  </a:moveTo>
                  <a:lnTo>
                    <a:pt x="8040" y="7875"/>
                  </a:lnTo>
                  <a:lnTo>
                    <a:pt x="7955" y="8047"/>
                  </a:lnTo>
                  <a:lnTo>
                    <a:pt x="7812" y="7977"/>
                  </a:lnTo>
                  <a:lnTo>
                    <a:pt x="7878" y="7843"/>
                  </a:lnTo>
                  <a:lnTo>
                    <a:pt x="7838" y="7823"/>
                  </a:lnTo>
                  <a:lnTo>
                    <a:pt x="7772" y="7957"/>
                  </a:lnTo>
                  <a:lnTo>
                    <a:pt x="7644" y="7894"/>
                  </a:lnTo>
                  <a:lnTo>
                    <a:pt x="7722" y="7734"/>
                  </a:lnTo>
                  <a:lnTo>
                    <a:pt x="7687" y="7708"/>
                  </a:lnTo>
                  <a:lnTo>
                    <a:pt x="7582" y="7922"/>
                  </a:lnTo>
                  <a:lnTo>
                    <a:pt x="7973" y="8114"/>
                  </a:lnTo>
                  <a:lnTo>
                    <a:pt x="8080" y="7895"/>
                  </a:lnTo>
                  <a:close/>
                  <a:moveTo>
                    <a:pt x="8096" y="7491"/>
                  </a:moveTo>
                  <a:cubicBezTo>
                    <a:pt x="8082" y="7489"/>
                    <a:pt x="8068" y="7490"/>
                    <a:pt x="8055" y="7494"/>
                  </a:cubicBezTo>
                  <a:cubicBezTo>
                    <a:pt x="8042" y="7497"/>
                    <a:pt x="8030" y="7503"/>
                    <a:pt x="8019" y="7510"/>
                  </a:cubicBezTo>
                  <a:cubicBezTo>
                    <a:pt x="8008" y="7517"/>
                    <a:pt x="7996" y="7528"/>
                    <a:pt x="7982" y="7543"/>
                  </a:cubicBezTo>
                  <a:lnTo>
                    <a:pt x="7945" y="7581"/>
                  </a:lnTo>
                  <a:cubicBezTo>
                    <a:pt x="7926" y="7601"/>
                    <a:pt x="7910" y="7613"/>
                    <a:pt x="7895" y="7619"/>
                  </a:cubicBezTo>
                  <a:cubicBezTo>
                    <a:pt x="7881" y="7624"/>
                    <a:pt x="7866" y="7623"/>
                    <a:pt x="7850" y="7615"/>
                  </a:cubicBezTo>
                  <a:cubicBezTo>
                    <a:pt x="7829" y="7605"/>
                    <a:pt x="7817" y="7590"/>
                    <a:pt x="7812" y="7571"/>
                  </a:cubicBezTo>
                  <a:cubicBezTo>
                    <a:pt x="7808" y="7552"/>
                    <a:pt x="7811" y="7530"/>
                    <a:pt x="7824" y="7505"/>
                  </a:cubicBezTo>
                  <a:cubicBezTo>
                    <a:pt x="7828" y="7497"/>
                    <a:pt x="7832" y="7489"/>
                    <a:pt x="7837" y="7482"/>
                  </a:cubicBezTo>
                  <a:cubicBezTo>
                    <a:pt x="7842" y="7475"/>
                    <a:pt x="7847" y="7469"/>
                    <a:pt x="7854" y="7463"/>
                  </a:cubicBezTo>
                  <a:cubicBezTo>
                    <a:pt x="7860" y="7457"/>
                    <a:pt x="7867" y="7451"/>
                    <a:pt x="7875" y="7445"/>
                  </a:cubicBezTo>
                  <a:cubicBezTo>
                    <a:pt x="7883" y="7439"/>
                    <a:pt x="7893" y="7433"/>
                    <a:pt x="7904" y="7426"/>
                  </a:cubicBezTo>
                  <a:lnTo>
                    <a:pt x="7880" y="7389"/>
                  </a:lnTo>
                  <a:cubicBezTo>
                    <a:pt x="7837" y="7414"/>
                    <a:pt x="7805" y="7447"/>
                    <a:pt x="7784" y="7489"/>
                  </a:cubicBezTo>
                  <a:cubicBezTo>
                    <a:pt x="7775" y="7508"/>
                    <a:pt x="7769" y="7526"/>
                    <a:pt x="7767" y="7545"/>
                  </a:cubicBezTo>
                  <a:cubicBezTo>
                    <a:pt x="7765" y="7563"/>
                    <a:pt x="7766" y="7580"/>
                    <a:pt x="7771" y="7596"/>
                  </a:cubicBezTo>
                  <a:cubicBezTo>
                    <a:pt x="7775" y="7612"/>
                    <a:pt x="7783" y="7626"/>
                    <a:pt x="7793" y="7639"/>
                  </a:cubicBezTo>
                  <a:cubicBezTo>
                    <a:pt x="7804" y="7652"/>
                    <a:pt x="7818" y="7662"/>
                    <a:pt x="7834" y="7670"/>
                  </a:cubicBezTo>
                  <a:cubicBezTo>
                    <a:pt x="7859" y="7683"/>
                    <a:pt x="7885" y="7685"/>
                    <a:pt x="7910" y="7677"/>
                  </a:cubicBezTo>
                  <a:cubicBezTo>
                    <a:pt x="7922" y="7674"/>
                    <a:pt x="7933" y="7668"/>
                    <a:pt x="7943" y="7660"/>
                  </a:cubicBezTo>
                  <a:cubicBezTo>
                    <a:pt x="7953" y="7652"/>
                    <a:pt x="7965" y="7640"/>
                    <a:pt x="7979" y="7625"/>
                  </a:cubicBezTo>
                  <a:lnTo>
                    <a:pt x="8010" y="7591"/>
                  </a:lnTo>
                  <a:cubicBezTo>
                    <a:pt x="8048" y="7552"/>
                    <a:pt x="8083" y="7540"/>
                    <a:pt x="8118" y="7557"/>
                  </a:cubicBezTo>
                  <a:cubicBezTo>
                    <a:pt x="8141" y="7569"/>
                    <a:pt x="8155" y="7587"/>
                    <a:pt x="8160" y="7613"/>
                  </a:cubicBezTo>
                  <a:cubicBezTo>
                    <a:pt x="8162" y="7624"/>
                    <a:pt x="8162" y="7635"/>
                    <a:pt x="8160" y="7645"/>
                  </a:cubicBezTo>
                  <a:cubicBezTo>
                    <a:pt x="8158" y="7656"/>
                    <a:pt x="8154" y="7668"/>
                    <a:pt x="8146" y="7683"/>
                  </a:cubicBezTo>
                  <a:cubicBezTo>
                    <a:pt x="8137" y="7703"/>
                    <a:pt x="8125" y="7720"/>
                    <a:pt x="8111" y="7734"/>
                  </a:cubicBezTo>
                  <a:cubicBezTo>
                    <a:pt x="8098" y="7748"/>
                    <a:pt x="8081" y="7761"/>
                    <a:pt x="8061" y="7771"/>
                  </a:cubicBezTo>
                  <a:lnTo>
                    <a:pt x="8088" y="7810"/>
                  </a:lnTo>
                  <a:cubicBezTo>
                    <a:pt x="8109" y="7796"/>
                    <a:pt x="8128" y="7781"/>
                    <a:pt x="8144" y="7763"/>
                  </a:cubicBezTo>
                  <a:cubicBezTo>
                    <a:pt x="8159" y="7746"/>
                    <a:pt x="8173" y="7725"/>
                    <a:pt x="8185" y="7702"/>
                  </a:cubicBezTo>
                  <a:cubicBezTo>
                    <a:pt x="8194" y="7684"/>
                    <a:pt x="8200" y="7667"/>
                    <a:pt x="8203" y="7651"/>
                  </a:cubicBezTo>
                  <a:cubicBezTo>
                    <a:pt x="8205" y="7636"/>
                    <a:pt x="8206" y="7619"/>
                    <a:pt x="8204" y="7602"/>
                  </a:cubicBezTo>
                  <a:cubicBezTo>
                    <a:pt x="8202" y="7580"/>
                    <a:pt x="8194" y="7559"/>
                    <a:pt x="8182" y="7542"/>
                  </a:cubicBezTo>
                  <a:cubicBezTo>
                    <a:pt x="8170" y="7524"/>
                    <a:pt x="8155" y="7511"/>
                    <a:pt x="8137" y="7502"/>
                  </a:cubicBezTo>
                  <a:cubicBezTo>
                    <a:pt x="8124" y="7496"/>
                    <a:pt x="8111" y="7492"/>
                    <a:pt x="8096" y="7491"/>
                  </a:cubicBezTo>
                  <a:close/>
                  <a:moveTo>
                    <a:pt x="8014" y="7044"/>
                  </a:moveTo>
                  <a:lnTo>
                    <a:pt x="7886" y="7303"/>
                  </a:lnTo>
                  <a:lnTo>
                    <a:pt x="7926" y="7322"/>
                  </a:lnTo>
                  <a:lnTo>
                    <a:pt x="7977" y="7217"/>
                  </a:lnTo>
                  <a:lnTo>
                    <a:pt x="8329" y="7390"/>
                  </a:lnTo>
                  <a:lnTo>
                    <a:pt x="8351" y="7345"/>
                  </a:lnTo>
                  <a:lnTo>
                    <a:pt x="7999" y="7172"/>
                  </a:lnTo>
                  <a:lnTo>
                    <a:pt x="8052" y="7066"/>
                  </a:lnTo>
                  <a:lnTo>
                    <a:pt x="8014" y="7044"/>
                  </a:lnTo>
                  <a:close/>
                  <a:moveTo>
                    <a:pt x="8148" y="6771"/>
                  </a:moveTo>
                  <a:lnTo>
                    <a:pt x="8047" y="6977"/>
                  </a:lnTo>
                  <a:lnTo>
                    <a:pt x="8438" y="7169"/>
                  </a:lnTo>
                  <a:lnTo>
                    <a:pt x="8461" y="7122"/>
                  </a:lnTo>
                  <a:lnTo>
                    <a:pt x="8275" y="7030"/>
                  </a:lnTo>
                  <a:lnTo>
                    <a:pt x="8337" y="6905"/>
                  </a:lnTo>
                  <a:lnTo>
                    <a:pt x="8299" y="6886"/>
                  </a:lnTo>
                  <a:lnTo>
                    <a:pt x="8237" y="7012"/>
                  </a:lnTo>
                  <a:lnTo>
                    <a:pt x="8109" y="6949"/>
                  </a:lnTo>
                  <a:lnTo>
                    <a:pt x="8183" y="6798"/>
                  </a:lnTo>
                  <a:lnTo>
                    <a:pt x="8148" y="6771"/>
                  </a:lnTo>
                  <a:close/>
                  <a:moveTo>
                    <a:pt x="8695" y="6646"/>
                  </a:moveTo>
                  <a:lnTo>
                    <a:pt x="8241" y="6583"/>
                  </a:lnTo>
                  <a:lnTo>
                    <a:pt x="8211" y="6644"/>
                  </a:lnTo>
                  <a:lnTo>
                    <a:pt x="8537" y="6967"/>
                  </a:lnTo>
                  <a:lnTo>
                    <a:pt x="8561" y="6919"/>
                  </a:lnTo>
                  <a:lnTo>
                    <a:pt x="8459" y="6823"/>
                  </a:lnTo>
                  <a:lnTo>
                    <a:pt x="8531" y="6677"/>
                  </a:lnTo>
                  <a:lnTo>
                    <a:pt x="8669" y="6699"/>
                  </a:lnTo>
                  <a:lnTo>
                    <a:pt x="8695" y="6646"/>
                  </a:lnTo>
                  <a:close/>
                  <a:moveTo>
                    <a:pt x="8487" y="6670"/>
                  </a:moveTo>
                  <a:lnTo>
                    <a:pt x="8427" y="6791"/>
                  </a:lnTo>
                  <a:lnTo>
                    <a:pt x="8266" y="6635"/>
                  </a:lnTo>
                  <a:lnTo>
                    <a:pt x="8487" y="6670"/>
                  </a:lnTo>
                  <a:close/>
                  <a:moveTo>
                    <a:pt x="8133" y="6614"/>
                  </a:moveTo>
                  <a:cubicBezTo>
                    <a:pt x="8124" y="6617"/>
                    <a:pt x="8118" y="6622"/>
                    <a:pt x="8114" y="6631"/>
                  </a:cubicBezTo>
                  <a:cubicBezTo>
                    <a:pt x="8110" y="6639"/>
                    <a:pt x="8109" y="6647"/>
                    <a:pt x="8112" y="6655"/>
                  </a:cubicBezTo>
                  <a:cubicBezTo>
                    <a:pt x="8115" y="6664"/>
                    <a:pt x="8121" y="6670"/>
                    <a:pt x="8129" y="6674"/>
                  </a:cubicBezTo>
                  <a:cubicBezTo>
                    <a:pt x="8137" y="6678"/>
                    <a:pt x="8145" y="6679"/>
                    <a:pt x="8154" y="6676"/>
                  </a:cubicBezTo>
                  <a:cubicBezTo>
                    <a:pt x="8163" y="6673"/>
                    <a:pt x="8169" y="6668"/>
                    <a:pt x="8173" y="6659"/>
                  </a:cubicBezTo>
                  <a:cubicBezTo>
                    <a:pt x="8177" y="6651"/>
                    <a:pt x="8178" y="6643"/>
                    <a:pt x="8175" y="6634"/>
                  </a:cubicBezTo>
                  <a:cubicBezTo>
                    <a:pt x="8172" y="6626"/>
                    <a:pt x="8166" y="6620"/>
                    <a:pt x="8157" y="6615"/>
                  </a:cubicBezTo>
                  <a:cubicBezTo>
                    <a:pt x="8149" y="6612"/>
                    <a:pt x="8141" y="6611"/>
                    <a:pt x="8133" y="6614"/>
                  </a:cubicBezTo>
                  <a:close/>
                  <a:moveTo>
                    <a:pt x="8190" y="6497"/>
                  </a:moveTo>
                  <a:cubicBezTo>
                    <a:pt x="8182" y="6499"/>
                    <a:pt x="8176" y="6505"/>
                    <a:pt x="8171" y="6513"/>
                  </a:cubicBezTo>
                  <a:cubicBezTo>
                    <a:pt x="8168" y="6521"/>
                    <a:pt x="8167" y="6530"/>
                    <a:pt x="8170" y="6538"/>
                  </a:cubicBezTo>
                  <a:cubicBezTo>
                    <a:pt x="8173" y="6547"/>
                    <a:pt x="8178" y="6553"/>
                    <a:pt x="8186" y="6557"/>
                  </a:cubicBezTo>
                  <a:cubicBezTo>
                    <a:pt x="8195" y="6561"/>
                    <a:pt x="8203" y="6562"/>
                    <a:pt x="8212" y="6559"/>
                  </a:cubicBezTo>
                  <a:cubicBezTo>
                    <a:pt x="8221" y="6556"/>
                    <a:pt x="8227" y="6550"/>
                    <a:pt x="8231" y="6542"/>
                  </a:cubicBezTo>
                  <a:cubicBezTo>
                    <a:pt x="8235" y="6534"/>
                    <a:pt x="8236" y="6525"/>
                    <a:pt x="8232" y="6517"/>
                  </a:cubicBezTo>
                  <a:cubicBezTo>
                    <a:pt x="8229" y="6508"/>
                    <a:pt x="8223" y="6502"/>
                    <a:pt x="8215" y="6498"/>
                  </a:cubicBezTo>
                  <a:cubicBezTo>
                    <a:pt x="8207" y="6494"/>
                    <a:pt x="8199" y="6494"/>
                    <a:pt x="8190" y="6497"/>
                  </a:cubicBezTo>
                  <a:close/>
                  <a:moveTo>
                    <a:pt x="8791" y="6351"/>
                  </a:moveTo>
                  <a:lnTo>
                    <a:pt x="8715" y="6506"/>
                  </a:lnTo>
                  <a:lnTo>
                    <a:pt x="8364" y="6333"/>
                  </a:lnTo>
                  <a:lnTo>
                    <a:pt x="8341" y="6380"/>
                  </a:lnTo>
                  <a:lnTo>
                    <a:pt x="8732" y="6572"/>
                  </a:lnTo>
                  <a:lnTo>
                    <a:pt x="8827" y="6377"/>
                  </a:lnTo>
                  <a:lnTo>
                    <a:pt x="8791" y="6351"/>
                  </a:lnTo>
                  <a:close/>
                  <a:moveTo>
                    <a:pt x="8890" y="6250"/>
                  </a:moveTo>
                  <a:lnTo>
                    <a:pt x="8499" y="6058"/>
                  </a:lnTo>
                  <a:lnTo>
                    <a:pt x="8477" y="6103"/>
                  </a:lnTo>
                  <a:lnTo>
                    <a:pt x="8868" y="6295"/>
                  </a:lnTo>
                  <a:lnTo>
                    <a:pt x="8890" y="6250"/>
                  </a:lnTo>
                  <a:close/>
                  <a:moveTo>
                    <a:pt x="3914" y="18089"/>
                  </a:moveTo>
                  <a:lnTo>
                    <a:pt x="3523" y="17896"/>
                  </a:lnTo>
                  <a:lnTo>
                    <a:pt x="3500" y="17943"/>
                  </a:lnTo>
                  <a:lnTo>
                    <a:pt x="3664" y="18023"/>
                  </a:lnTo>
                  <a:lnTo>
                    <a:pt x="3583" y="18188"/>
                  </a:lnTo>
                  <a:lnTo>
                    <a:pt x="3419" y="18108"/>
                  </a:lnTo>
                  <a:lnTo>
                    <a:pt x="3397" y="18153"/>
                  </a:lnTo>
                  <a:lnTo>
                    <a:pt x="3601" y="18254"/>
                  </a:lnTo>
                  <a:lnTo>
                    <a:pt x="3717" y="18254"/>
                  </a:lnTo>
                  <a:lnTo>
                    <a:pt x="3621" y="18207"/>
                  </a:lnTo>
                  <a:lnTo>
                    <a:pt x="3702" y="18042"/>
                  </a:lnTo>
                  <a:lnTo>
                    <a:pt x="3891" y="18135"/>
                  </a:lnTo>
                  <a:lnTo>
                    <a:pt x="3914" y="18089"/>
                  </a:lnTo>
                  <a:close/>
                  <a:moveTo>
                    <a:pt x="9002" y="7621"/>
                  </a:moveTo>
                  <a:lnTo>
                    <a:pt x="9002" y="7564"/>
                  </a:lnTo>
                  <a:lnTo>
                    <a:pt x="8684" y="7408"/>
                  </a:lnTo>
                  <a:lnTo>
                    <a:pt x="8661" y="7454"/>
                  </a:lnTo>
                  <a:lnTo>
                    <a:pt x="9002" y="7621"/>
                  </a:lnTo>
                  <a:close/>
                  <a:moveTo>
                    <a:pt x="9002" y="7370"/>
                  </a:moveTo>
                  <a:lnTo>
                    <a:pt x="9002" y="7318"/>
                  </a:lnTo>
                  <a:lnTo>
                    <a:pt x="8746" y="7282"/>
                  </a:lnTo>
                  <a:lnTo>
                    <a:pt x="8721" y="7332"/>
                  </a:lnTo>
                  <a:lnTo>
                    <a:pt x="9002" y="7370"/>
                  </a:lnTo>
                  <a:close/>
                  <a:moveTo>
                    <a:pt x="9002" y="7216"/>
                  </a:moveTo>
                  <a:lnTo>
                    <a:pt x="9002" y="7149"/>
                  </a:lnTo>
                  <a:lnTo>
                    <a:pt x="8874" y="7021"/>
                  </a:lnTo>
                  <a:lnTo>
                    <a:pt x="8851" y="7069"/>
                  </a:lnTo>
                  <a:lnTo>
                    <a:pt x="9002" y="7216"/>
                  </a:lnTo>
                  <a:close/>
                  <a:moveTo>
                    <a:pt x="9002" y="6990"/>
                  </a:moveTo>
                  <a:lnTo>
                    <a:pt x="9002" y="6931"/>
                  </a:lnTo>
                  <a:lnTo>
                    <a:pt x="8974" y="6917"/>
                  </a:lnTo>
                  <a:lnTo>
                    <a:pt x="9002" y="6859"/>
                  </a:lnTo>
                  <a:lnTo>
                    <a:pt x="9002" y="6761"/>
                  </a:lnTo>
                  <a:lnTo>
                    <a:pt x="8912" y="6945"/>
                  </a:lnTo>
                  <a:lnTo>
                    <a:pt x="9002" y="6990"/>
                  </a:lnTo>
                  <a:close/>
                  <a:moveTo>
                    <a:pt x="4078" y="17755"/>
                  </a:moveTo>
                  <a:lnTo>
                    <a:pt x="4038" y="17735"/>
                  </a:lnTo>
                  <a:lnTo>
                    <a:pt x="3953" y="17907"/>
                  </a:lnTo>
                  <a:lnTo>
                    <a:pt x="3810" y="17837"/>
                  </a:lnTo>
                  <a:lnTo>
                    <a:pt x="3876" y="17703"/>
                  </a:lnTo>
                  <a:lnTo>
                    <a:pt x="3835" y="17683"/>
                  </a:lnTo>
                  <a:lnTo>
                    <a:pt x="3770" y="17817"/>
                  </a:lnTo>
                  <a:lnTo>
                    <a:pt x="3641" y="17754"/>
                  </a:lnTo>
                  <a:lnTo>
                    <a:pt x="3720" y="17593"/>
                  </a:lnTo>
                  <a:lnTo>
                    <a:pt x="3684" y="17568"/>
                  </a:lnTo>
                  <a:lnTo>
                    <a:pt x="3579" y="17782"/>
                  </a:lnTo>
                  <a:lnTo>
                    <a:pt x="3970" y="17974"/>
                  </a:lnTo>
                  <a:lnTo>
                    <a:pt x="4078" y="17755"/>
                  </a:lnTo>
                  <a:close/>
                  <a:moveTo>
                    <a:pt x="3995" y="16937"/>
                  </a:moveTo>
                  <a:lnTo>
                    <a:pt x="3972" y="16984"/>
                  </a:lnTo>
                  <a:lnTo>
                    <a:pt x="4175" y="17144"/>
                  </a:lnTo>
                  <a:cubicBezTo>
                    <a:pt x="4188" y="17154"/>
                    <a:pt x="4200" y="17164"/>
                    <a:pt x="4213" y="17174"/>
                  </a:cubicBezTo>
                  <a:cubicBezTo>
                    <a:pt x="4226" y="17184"/>
                    <a:pt x="4237" y="17192"/>
                    <a:pt x="4248" y="17200"/>
                  </a:cubicBezTo>
                  <a:cubicBezTo>
                    <a:pt x="4258" y="17207"/>
                    <a:pt x="4266" y="17213"/>
                    <a:pt x="4273" y="17218"/>
                  </a:cubicBezTo>
                  <a:cubicBezTo>
                    <a:pt x="4278" y="17222"/>
                    <a:pt x="4281" y="17224"/>
                    <a:pt x="4283" y="17226"/>
                  </a:cubicBezTo>
                  <a:cubicBezTo>
                    <a:pt x="4281" y="17225"/>
                    <a:pt x="4278" y="17224"/>
                    <a:pt x="4273" y="17223"/>
                  </a:cubicBezTo>
                  <a:cubicBezTo>
                    <a:pt x="4267" y="17221"/>
                    <a:pt x="4259" y="17218"/>
                    <a:pt x="4249" y="17216"/>
                  </a:cubicBezTo>
                  <a:cubicBezTo>
                    <a:pt x="4239" y="17213"/>
                    <a:pt x="4227" y="17210"/>
                    <a:pt x="4214" y="17206"/>
                  </a:cubicBezTo>
                  <a:cubicBezTo>
                    <a:pt x="4200" y="17203"/>
                    <a:pt x="4186" y="17199"/>
                    <a:pt x="4170" y="17195"/>
                  </a:cubicBezTo>
                  <a:lnTo>
                    <a:pt x="3900" y="17129"/>
                  </a:lnTo>
                  <a:lnTo>
                    <a:pt x="3874" y="17182"/>
                  </a:lnTo>
                  <a:lnTo>
                    <a:pt x="4083" y="17349"/>
                  </a:lnTo>
                  <a:cubicBezTo>
                    <a:pt x="4093" y="17357"/>
                    <a:pt x="4104" y="17366"/>
                    <a:pt x="4115" y="17375"/>
                  </a:cubicBezTo>
                  <a:cubicBezTo>
                    <a:pt x="4127" y="17384"/>
                    <a:pt x="4138" y="17392"/>
                    <a:pt x="4148" y="17399"/>
                  </a:cubicBezTo>
                  <a:cubicBezTo>
                    <a:pt x="4158" y="17407"/>
                    <a:pt x="4166" y="17413"/>
                    <a:pt x="4173" y="17419"/>
                  </a:cubicBezTo>
                  <a:cubicBezTo>
                    <a:pt x="4180" y="17424"/>
                    <a:pt x="4184" y="17427"/>
                    <a:pt x="4185" y="17427"/>
                  </a:cubicBezTo>
                  <a:cubicBezTo>
                    <a:pt x="4183" y="17427"/>
                    <a:pt x="4178" y="17425"/>
                    <a:pt x="4169" y="17422"/>
                  </a:cubicBezTo>
                  <a:cubicBezTo>
                    <a:pt x="4161" y="17420"/>
                    <a:pt x="4150" y="17416"/>
                    <a:pt x="4138" y="17413"/>
                  </a:cubicBezTo>
                  <a:cubicBezTo>
                    <a:pt x="4126" y="17409"/>
                    <a:pt x="4112" y="17405"/>
                    <a:pt x="4098" y="17401"/>
                  </a:cubicBezTo>
                  <a:cubicBezTo>
                    <a:pt x="4083" y="17397"/>
                    <a:pt x="4069" y="17393"/>
                    <a:pt x="4056" y="17390"/>
                  </a:cubicBezTo>
                  <a:lnTo>
                    <a:pt x="3803" y="17327"/>
                  </a:lnTo>
                  <a:lnTo>
                    <a:pt x="3778" y="17377"/>
                  </a:lnTo>
                  <a:lnTo>
                    <a:pt x="4215" y="17477"/>
                  </a:lnTo>
                  <a:lnTo>
                    <a:pt x="4244" y="17417"/>
                  </a:lnTo>
                  <a:lnTo>
                    <a:pt x="4047" y="17261"/>
                  </a:lnTo>
                  <a:cubicBezTo>
                    <a:pt x="4036" y="17252"/>
                    <a:pt x="4024" y="17243"/>
                    <a:pt x="4013" y="17234"/>
                  </a:cubicBezTo>
                  <a:cubicBezTo>
                    <a:pt x="4002" y="17226"/>
                    <a:pt x="3992" y="17218"/>
                    <a:pt x="3983" y="17212"/>
                  </a:cubicBezTo>
                  <a:cubicBezTo>
                    <a:pt x="3974" y="17205"/>
                    <a:pt x="3967" y="17200"/>
                    <a:pt x="3961" y="17196"/>
                  </a:cubicBezTo>
                  <a:cubicBezTo>
                    <a:pt x="3955" y="17192"/>
                    <a:pt x="3952" y="17189"/>
                    <a:pt x="3951" y="17188"/>
                  </a:cubicBezTo>
                  <a:cubicBezTo>
                    <a:pt x="3952" y="17189"/>
                    <a:pt x="3956" y="17190"/>
                    <a:pt x="3963" y="17192"/>
                  </a:cubicBezTo>
                  <a:cubicBezTo>
                    <a:pt x="3970" y="17194"/>
                    <a:pt x="3979" y="17197"/>
                    <a:pt x="3989" y="17200"/>
                  </a:cubicBezTo>
                  <a:cubicBezTo>
                    <a:pt x="4000" y="17203"/>
                    <a:pt x="4012" y="17206"/>
                    <a:pt x="4026" y="17210"/>
                  </a:cubicBezTo>
                  <a:cubicBezTo>
                    <a:pt x="4040" y="17214"/>
                    <a:pt x="4055" y="17218"/>
                    <a:pt x="4071" y="17222"/>
                  </a:cubicBezTo>
                  <a:lnTo>
                    <a:pt x="4312" y="17280"/>
                  </a:lnTo>
                  <a:lnTo>
                    <a:pt x="4342" y="17219"/>
                  </a:lnTo>
                  <a:lnTo>
                    <a:pt x="3995" y="16937"/>
                  </a:lnTo>
                  <a:close/>
                  <a:moveTo>
                    <a:pt x="4447" y="17006"/>
                  </a:moveTo>
                  <a:lnTo>
                    <a:pt x="4056" y="16813"/>
                  </a:lnTo>
                  <a:lnTo>
                    <a:pt x="4033" y="16859"/>
                  </a:lnTo>
                  <a:lnTo>
                    <a:pt x="4424" y="17051"/>
                  </a:lnTo>
                  <a:lnTo>
                    <a:pt x="4447" y="17006"/>
                  </a:lnTo>
                  <a:close/>
                  <a:moveTo>
                    <a:pt x="4563" y="16671"/>
                  </a:moveTo>
                  <a:lnTo>
                    <a:pt x="4487" y="16825"/>
                  </a:lnTo>
                  <a:lnTo>
                    <a:pt x="4135" y="16652"/>
                  </a:lnTo>
                  <a:lnTo>
                    <a:pt x="4112" y="16699"/>
                  </a:lnTo>
                  <a:lnTo>
                    <a:pt x="4503" y="16891"/>
                  </a:lnTo>
                  <a:lnTo>
                    <a:pt x="4599" y="16696"/>
                  </a:lnTo>
                  <a:lnTo>
                    <a:pt x="4563" y="16671"/>
                  </a:lnTo>
                  <a:close/>
                  <a:moveTo>
                    <a:pt x="4766" y="16358"/>
                  </a:moveTo>
                  <a:lnTo>
                    <a:pt x="4375" y="16165"/>
                  </a:lnTo>
                  <a:lnTo>
                    <a:pt x="4352" y="16212"/>
                  </a:lnTo>
                  <a:lnTo>
                    <a:pt x="4515" y="16292"/>
                  </a:lnTo>
                  <a:lnTo>
                    <a:pt x="4434" y="16457"/>
                  </a:lnTo>
                  <a:lnTo>
                    <a:pt x="4271" y="16377"/>
                  </a:lnTo>
                  <a:lnTo>
                    <a:pt x="4248" y="16422"/>
                  </a:lnTo>
                  <a:lnTo>
                    <a:pt x="4639" y="16615"/>
                  </a:lnTo>
                  <a:lnTo>
                    <a:pt x="4662" y="16569"/>
                  </a:lnTo>
                  <a:lnTo>
                    <a:pt x="4472" y="16476"/>
                  </a:lnTo>
                  <a:lnTo>
                    <a:pt x="4553" y="16311"/>
                  </a:lnTo>
                  <a:lnTo>
                    <a:pt x="4743" y="16404"/>
                  </a:lnTo>
                  <a:lnTo>
                    <a:pt x="4766" y="16358"/>
                  </a:lnTo>
                  <a:close/>
                  <a:moveTo>
                    <a:pt x="4930" y="16024"/>
                  </a:moveTo>
                  <a:lnTo>
                    <a:pt x="4889" y="16004"/>
                  </a:lnTo>
                  <a:lnTo>
                    <a:pt x="4805" y="16176"/>
                  </a:lnTo>
                  <a:lnTo>
                    <a:pt x="4662" y="16106"/>
                  </a:lnTo>
                  <a:lnTo>
                    <a:pt x="4728" y="15972"/>
                  </a:lnTo>
                  <a:lnTo>
                    <a:pt x="4687" y="15952"/>
                  </a:lnTo>
                  <a:lnTo>
                    <a:pt x="4621" y="16086"/>
                  </a:lnTo>
                  <a:lnTo>
                    <a:pt x="4493" y="16023"/>
                  </a:lnTo>
                  <a:lnTo>
                    <a:pt x="4572" y="15862"/>
                  </a:lnTo>
                  <a:lnTo>
                    <a:pt x="4536" y="15837"/>
                  </a:lnTo>
                  <a:lnTo>
                    <a:pt x="4431" y="16051"/>
                  </a:lnTo>
                  <a:lnTo>
                    <a:pt x="4822" y="16243"/>
                  </a:lnTo>
                  <a:lnTo>
                    <a:pt x="4930" y="16024"/>
                  </a:lnTo>
                  <a:close/>
                  <a:moveTo>
                    <a:pt x="5030" y="15721"/>
                  </a:moveTo>
                  <a:lnTo>
                    <a:pt x="4954" y="15875"/>
                  </a:lnTo>
                  <a:lnTo>
                    <a:pt x="4603" y="15702"/>
                  </a:lnTo>
                  <a:lnTo>
                    <a:pt x="4580" y="15749"/>
                  </a:lnTo>
                  <a:lnTo>
                    <a:pt x="4971" y="15941"/>
                  </a:lnTo>
                  <a:lnTo>
                    <a:pt x="5066" y="15746"/>
                  </a:lnTo>
                  <a:lnTo>
                    <a:pt x="5030" y="15721"/>
                  </a:lnTo>
                  <a:close/>
                  <a:moveTo>
                    <a:pt x="5289" y="15293"/>
                  </a:moveTo>
                  <a:lnTo>
                    <a:pt x="4882" y="15135"/>
                  </a:lnTo>
                  <a:lnTo>
                    <a:pt x="4848" y="15204"/>
                  </a:lnTo>
                  <a:lnTo>
                    <a:pt x="5072" y="15405"/>
                  </a:lnTo>
                  <a:cubicBezTo>
                    <a:pt x="5085" y="15417"/>
                    <a:pt x="5098" y="15427"/>
                    <a:pt x="5109" y="15436"/>
                  </a:cubicBezTo>
                  <a:cubicBezTo>
                    <a:pt x="5120" y="15444"/>
                    <a:pt x="5127" y="15449"/>
                    <a:pt x="5128" y="15450"/>
                  </a:cubicBezTo>
                  <a:cubicBezTo>
                    <a:pt x="5126" y="15450"/>
                    <a:pt x="5118" y="15448"/>
                    <a:pt x="5104" y="15444"/>
                  </a:cubicBezTo>
                  <a:cubicBezTo>
                    <a:pt x="5090" y="15440"/>
                    <a:pt x="5073" y="15436"/>
                    <a:pt x="5052" y="15432"/>
                  </a:cubicBezTo>
                  <a:lnTo>
                    <a:pt x="4762" y="15378"/>
                  </a:lnTo>
                  <a:lnTo>
                    <a:pt x="4729" y="15446"/>
                  </a:lnTo>
                  <a:lnTo>
                    <a:pt x="5103" y="15673"/>
                  </a:lnTo>
                  <a:lnTo>
                    <a:pt x="5125" y="15628"/>
                  </a:lnTo>
                  <a:lnTo>
                    <a:pt x="4857" y="15469"/>
                  </a:lnTo>
                  <a:cubicBezTo>
                    <a:pt x="4852" y="15466"/>
                    <a:pt x="4845" y="15462"/>
                    <a:pt x="4838" y="15458"/>
                  </a:cubicBezTo>
                  <a:cubicBezTo>
                    <a:pt x="4830" y="15454"/>
                    <a:pt x="4823" y="15449"/>
                    <a:pt x="4815" y="15445"/>
                  </a:cubicBezTo>
                  <a:cubicBezTo>
                    <a:pt x="4808" y="15441"/>
                    <a:pt x="4802" y="15437"/>
                    <a:pt x="4796" y="15434"/>
                  </a:cubicBezTo>
                  <a:cubicBezTo>
                    <a:pt x="4791" y="15431"/>
                    <a:pt x="4788" y="15430"/>
                    <a:pt x="4787" y="15429"/>
                  </a:cubicBezTo>
                  <a:cubicBezTo>
                    <a:pt x="4791" y="15430"/>
                    <a:pt x="4800" y="15432"/>
                    <a:pt x="4814" y="15435"/>
                  </a:cubicBezTo>
                  <a:cubicBezTo>
                    <a:pt x="4829" y="15438"/>
                    <a:pt x="4848" y="15442"/>
                    <a:pt x="4870" y="15446"/>
                  </a:cubicBezTo>
                  <a:lnTo>
                    <a:pt x="5185" y="15505"/>
                  </a:lnTo>
                  <a:lnTo>
                    <a:pt x="5205" y="15465"/>
                  </a:lnTo>
                  <a:lnTo>
                    <a:pt x="4954" y="15238"/>
                  </a:lnTo>
                  <a:cubicBezTo>
                    <a:pt x="4949" y="15233"/>
                    <a:pt x="4943" y="15228"/>
                    <a:pt x="4938" y="15223"/>
                  </a:cubicBezTo>
                  <a:cubicBezTo>
                    <a:pt x="4932" y="15218"/>
                    <a:pt x="4926" y="15214"/>
                    <a:pt x="4921" y="15209"/>
                  </a:cubicBezTo>
                  <a:cubicBezTo>
                    <a:pt x="4916" y="15205"/>
                    <a:pt x="4911" y="15201"/>
                    <a:pt x="4907" y="15198"/>
                  </a:cubicBezTo>
                  <a:cubicBezTo>
                    <a:pt x="4904" y="15195"/>
                    <a:pt x="4902" y="15193"/>
                    <a:pt x="4901" y="15192"/>
                  </a:cubicBezTo>
                  <a:cubicBezTo>
                    <a:pt x="4902" y="15193"/>
                    <a:pt x="4904" y="15194"/>
                    <a:pt x="4909" y="15196"/>
                  </a:cubicBezTo>
                  <a:cubicBezTo>
                    <a:pt x="4914" y="15198"/>
                    <a:pt x="4919" y="15201"/>
                    <a:pt x="4926" y="15204"/>
                  </a:cubicBezTo>
                  <a:cubicBezTo>
                    <a:pt x="4933" y="15207"/>
                    <a:pt x="4940" y="15210"/>
                    <a:pt x="4948" y="15213"/>
                  </a:cubicBezTo>
                  <a:cubicBezTo>
                    <a:pt x="4955" y="15216"/>
                    <a:pt x="4962" y="15219"/>
                    <a:pt x="4968" y="15222"/>
                  </a:cubicBezTo>
                  <a:lnTo>
                    <a:pt x="5266" y="15340"/>
                  </a:lnTo>
                  <a:lnTo>
                    <a:pt x="5289" y="15293"/>
                  </a:lnTo>
                  <a:close/>
                  <a:moveTo>
                    <a:pt x="5309" y="14882"/>
                  </a:moveTo>
                  <a:cubicBezTo>
                    <a:pt x="5294" y="14880"/>
                    <a:pt x="5281" y="14881"/>
                    <a:pt x="5268" y="14885"/>
                  </a:cubicBezTo>
                  <a:cubicBezTo>
                    <a:pt x="5254" y="14888"/>
                    <a:pt x="5242" y="14893"/>
                    <a:pt x="5232" y="14901"/>
                  </a:cubicBezTo>
                  <a:cubicBezTo>
                    <a:pt x="5221" y="14908"/>
                    <a:pt x="5208" y="14919"/>
                    <a:pt x="5194" y="14934"/>
                  </a:cubicBezTo>
                  <a:lnTo>
                    <a:pt x="5158" y="14972"/>
                  </a:lnTo>
                  <a:cubicBezTo>
                    <a:pt x="5139" y="14992"/>
                    <a:pt x="5122" y="15004"/>
                    <a:pt x="5108" y="15009"/>
                  </a:cubicBezTo>
                  <a:cubicBezTo>
                    <a:pt x="5093" y="15015"/>
                    <a:pt x="5078" y="15014"/>
                    <a:pt x="5062" y="15006"/>
                  </a:cubicBezTo>
                  <a:cubicBezTo>
                    <a:pt x="5042" y="14996"/>
                    <a:pt x="5030" y="14981"/>
                    <a:pt x="5025" y="14962"/>
                  </a:cubicBezTo>
                  <a:cubicBezTo>
                    <a:pt x="5020" y="14943"/>
                    <a:pt x="5024" y="14921"/>
                    <a:pt x="5036" y="14896"/>
                  </a:cubicBezTo>
                  <a:cubicBezTo>
                    <a:pt x="5040" y="14888"/>
                    <a:pt x="5045" y="14880"/>
                    <a:pt x="5049" y="14873"/>
                  </a:cubicBezTo>
                  <a:cubicBezTo>
                    <a:pt x="5054" y="14866"/>
                    <a:pt x="5060" y="14860"/>
                    <a:pt x="5066" y="14854"/>
                  </a:cubicBezTo>
                  <a:cubicBezTo>
                    <a:pt x="5072" y="14848"/>
                    <a:pt x="5080" y="14842"/>
                    <a:pt x="5088" y="14836"/>
                  </a:cubicBezTo>
                  <a:cubicBezTo>
                    <a:pt x="5096" y="14830"/>
                    <a:pt x="5105" y="14824"/>
                    <a:pt x="5116" y="14817"/>
                  </a:cubicBezTo>
                  <a:lnTo>
                    <a:pt x="5092" y="14780"/>
                  </a:lnTo>
                  <a:cubicBezTo>
                    <a:pt x="5049" y="14805"/>
                    <a:pt x="5017" y="14838"/>
                    <a:pt x="4997" y="14879"/>
                  </a:cubicBezTo>
                  <a:cubicBezTo>
                    <a:pt x="4987" y="14898"/>
                    <a:pt x="4982" y="14917"/>
                    <a:pt x="4980" y="14935"/>
                  </a:cubicBezTo>
                  <a:cubicBezTo>
                    <a:pt x="4977" y="14954"/>
                    <a:pt x="4979" y="14971"/>
                    <a:pt x="4983" y="14987"/>
                  </a:cubicBezTo>
                  <a:cubicBezTo>
                    <a:pt x="4988" y="15002"/>
                    <a:pt x="4995" y="15017"/>
                    <a:pt x="5006" y="15030"/>
                  </a:cubicBezTo>
                  <a:cubicBezTo>
                    <a:pt x="5016" y="15042"/>
                    <a:pt x="5030" y="15053"/>
                    <a:pt x="5047" y="15061"/>
                  </a:cubicBezTo>
                  <a:cubicBezTo>
                    <a:pt x="5072" y="15074"/>
                    <a:pt x="5097" y="15076"/>
                    <a:pt x="5123" y="15068"/>
                  </a:cubicBezTo>
                  <a:cubicBezTo>
                    <a:pt x="5134" y="15064"/>
                    <a:pt x="5145" y="15059"/>
                    <a:pt x="5155" y="15051"/>
                  </a:cubicBezTo>
                  <a:cubicBezTo>
                    <a:pt x="5165" y="15043"/>
                    <a:pt x="5178" y="15031"/>
                    <a:pt x="5192" y="15016"/>
                  </a:cubicBezTo>
                  <a:lnTo>
                    <a:pt x="5223" y="14982"/>
                  </a:lnTo>
                  <a:cubicBezTo>
                    <a:pt x="5260" y="14942"/>
                    <a:pt x="5296" y="14931"/>
                    <a:pt x="5330" y="14948"/>
                  </a:cubicBezTo>
                  <a:cubicBezTo>
                    <a:pt x="5354" y="14959"/>
                    <a:pt x="5368" y="14978"/>
                    <a:pt x="5372" y="15003"/>
                  </a:cubicBezTo>
                  <a:cubicBezTo>
                    <a:pt x="5375" y="15015"/>
                    <a:pt x="5375" y="15026"/>
                    <a:pt x="5373" y="15036"/>
                  </a:cubicBezTo>
                  <a:cubicBezTo>
                    <a:pt x="5371" y="15047"/>
                    <a:pt x="5366" y="15059"/>
                    <a:pt x="5359" y="15074"/>
                  </a:cubicBezTo>
                  <a:cubicBezTo>
                    <a:pt x="5349" y="15094"/>
                    <a:pt x="5338" y="15111"/>
                    <a:pt x="5324" y="15125"/>
                  </a:cubicBezTo>
                  <a:cubicBezTo>
                    <a:pt x="5310" y="15139"/>
                    <a:pt x="5294" y="15152"/>
                    <a:pt x="5274" y="15162"/>
                  </a:cubicBezTo>
                  <a:lnTo>
                    <a:pt x="5300" y="15201"/>
                  </a:lnTo>
                  <a:cubicBezTo>
                    <a:pt x="5322" y="15187"/>
                    <a:pt x="5341" y="15172"/>
                    <a:pt x="5356" y="15154"/>
                  </a:cubicBezTo>
                  <a:cubicBezTo>
                    <a:pt x="5372" y="15137"/>
                    <a:pt x="5386" y="15116"/>
                    <a:pt x="5397" y="15093"/>
                  </a:cubicBezTo>
                  <a:cubicBezTo>
                    <a:pt x="5406" y="15074"/>
                    <a:pt x="5412" y="15058"/>
                    <a:pt x="5415" y="15042"/>
                  </a:cubicBezTo>
                  <a:cubicBezTo>
                    <a:pt x="5418" y="15027"/>
                    <a:pt x="5418" y="15010"/>
                    <a:pt x="5416" y="14993"/>
                  </a:cubicBezTo>
                  <a:cubicBezTo>
                    <a:pt x="5414" y="14970"/>
                    <a:pt x="5407" y="14950"/>
                    <a:pt x="5395" y="14933"/>
                  </a:cubicBezTo>
                  <a:cubicBezTo>
                    <a:pt x="5382" y="14915"/>
                    <a:pt x="5367" y="14902"/>
                    <a:pt x="5349" y="14893"/>
                  </a:cubicBezTo>
                  <a:cubicBezTo>
                    <a:pt x="5337" y="14887"/>
                    <a:pt x="5324" y="14883"/>
                    <a:pt x="5309" y="14882"/>
                  </a:cubicBezTo>
                  <a:close/>
                  <a:moveTo>
                    <a:pt x="5423" y="14692"/>
                  </a:moveTo>
                  <a:lnTo>
                    <a:pt x="5380" y="14670"/>
                  </a:lnTo>
                  <a:lnTo>
                    <a:pt x="5326" y="14779"/>
                  </a:lnTo>
                  <a:lnTo>
                    <a:pt x="5370" y="14800"/>
                  </a:lnTo>
                  <a:lnTo>
                    <a:pt x="5423" y="14692"/>
                  </a:lnTo>
                  <a:close/>
                  <a:moveTo>
                    <a:pt x="5340" y="14204"/>
                  </a:moveTo>
                  <a:lnTo>
                    <a:pt x="5317" y="14250"/>
                  </a:lnTo>
                  <a:lnTo>
                    <a:pt x="5589" y="14384"/>
                  </a:lnTo>
                  <a:cubicBezTo>
                    <a:pt x="5603" y="14391"/>
                    <a:pt x="5614" y="14397"/>
                    <a:pt x="5622" y="14404"/>
                  </a:cubicBezTo>
                  <a:cubicBezTo>
                    <a:pt x="5630" y="14410"/>
                    <a:pt x="5637" y="14418"/>
                    <a:pt x="5643" y="14429"/>
                  </a:cubicBezTo>
                  <a:cubicBezTo>
                    <a:pt x="5648" y="14439"/>
                    <a:pt x="5650" y="14451"/>
                    <a:pt x="5648" y="14465"/>
                  </a:cubicBezTo>
                  <a:cubicBezTo>
                    <a:pt x="5646" y="14479"/>
                    <a:pt x="5642" y="14494"/>
                    <a:pt x="5634" y="14510"/>
                  </a:cubicBezTo>
                  <a:cubicBezTo>
                    <a:pt x="5628" y="14522"/>
                    <a:pt x="5621" y="14532"/>
                    <a:pt x="5615" y="14540"/>
                  </a:cubicBezTo>
                  <a:cubicBezTo>
                    <a:pt x="5608" y="14547"/>
                    <a:pt x="5601" y="14553"/>
                    <a:pt x="5595" y="14558"/>
                  </a:cubicBezTo>
                  <a:cubicBezTo>
                    <a:pt x="5588" y="14562"/>
                    <a:pt x="5581" y="14565"/>
                    <a:pt x="5575" y="14566"/>
                  </a:cubicBezTo>
                  <a:cubicBezTo>
                    <a:pt x="5569" y="14567"/>
                    <a:pt x="5563" y="14568"/>
                    <a:pt x="5558" y="14568"/>
                  </a:cubicBezTo>
                  <a:cubicBezTo>
                    <a:pt x="5550" y="14567"/>
                    <a:pt x="5541" y="14565"/>
                    <a:pt x="5530" y="14561"/>
                  </a:cubicBezTo>
                  <a:cubicBezTo>
                    <a:pt x="5519" y="14556"/>
                    <a:pt x="5508" y="14552"/>
                    <a:pt x="5498" y="14547"/>
                  </a:cubicBezTo>
                  <a:lnTo>
                    <a:pt x="5235" y="14417"/>
                  </a:lnTo>
                  <a:lnTo>
                    <a:pt x="5212" y="14463"/>
                  </a:lnTo>
                  <a:lnTo>
                    <a:pt x="5492" y="14601"/>
                  </a:lnTo>
                  <a:cubicBezTo>
                    <a:pt x="5501" y="14606"/>
                    <a:pt x="5511" y="14610"/>
                    <a:pt x="5523" y="14614"/>
                  </a:cubicBezTo>
                  <a:cubicBezTo>
                    <a:pt x="5535" y="14619"/>
                    <a:pt x="5547" y="14621"/>
                    <a:pt x="5559" y="14620"/>
                  </a:cubicBezTo>
                  <a:cubicBezTo>
                    <a:pt x="5584" y="14619"/>
                    <a:pt x="5605" y="14612"/>
                    <a:pt x="5623" y="14598"/>
                  </a:cubicBezTo>
                  <a:cubicBezTo>
                    <a:pt x="5641" y="14584"/>
                    <a:pt x="5657" y="14563"/>
                    <a:pt x="5672" y="14532"/>
                  </a:cubicBezTo>
                  <a:cubicBezTo>
                    <a:pt x="5684" y="14508"/>
                    <a:pt x="5692" y="14487"/>
                    <a:pt x="5695" y="14468"/>
                  </a:cubicBezTo>
                  <a:cubicBezTo>
                    <a:pt x="5698" y="14450"/>
                    <a:pt x="5697" y="14432"/>
                    <a:pt x="5693" y="14415"/>
                  </a:cubicBezTo>
                  <a:cubicBezTo>
                    <a:pt x="5689" y="14398"/>
                    <a:pt x="5681" y="14385"/>
                    <a:pt x="5670" y="14374"/>
                  </a:cubicBezTo>
                  <a:cubicBezTo>
                    <a:pt x="5659" y="14364"/>
                    <a:pt x="5641" y="14353"/>
                    <a:pt x="5618" y="14341"/>
                  </a:cubicBezTo>
                  <a:lnTo>
                    <a:pt x="5340" y="14204"/>
                  </a:lnTo>
                  <a:close/>
                  <a:moveTo>
                    <a:pt x="5914" y="14024"/>
                  </a:moveTo>
                  <a:lnTo>
                    <a:pt x="5523" y="13832"/>
                  </a:lnTo>
                  <a:lnTo>
                    <a:pt x="5500" y="13878"/>
                  </a:lnTo>
                  <a:lnTo>
                    <a:pt x="5714" y="13981"/>
                  </a:lnTo>
                  <a:cubicBezTo>
                    <a:pt x="5728" y="13988"/>
                    <a:pt x="5742" y="13994"/>
                    <a:pt x="5756" y="14001"/>
                  </a:cubicBezTo>
                  <a:cubicBezTo>
                    <a:pt x="5771" y="14007"/>
                    <a:pt x="5784" y="14013"/>
                    <a:pt x="5795" y="14017"/>
                  </a:cubicBezTo>
                  <a:cubicBezTo>
                    <a:pt x="5806" y="14022"/>
                    <a:pt x="5816" y="14026"/>
                    <a:pt x="5823" y="14029"/>
                  </a:cubicBezTo>
                  <a:cubicBezTo>
                    <a:pt x="5831" y="14032"/>
                    <a:pt x="5835" y="14034"/>
                    <a:pt x="5835" y="14034"/>
                  </a:cubicBezTo>
                  <a:cubicBezTo>
                    <a:pt x="5834" y="14034"/>
                    <a:pt x="5830" y="14034"/>
                    <a:pt x="5824" y="14033"/>
                  </a:cubicBezTo>
                  <a:cubicBezTo>
                    <a:pt x="5818" y="14033"/>
                    <a:pt x="5810" y="14032"/>
                    <a:pt x="5801" y="14032"/>
                  </a:cubicBezTo>
                  <a:cubicBezTo>
                    <a:pt x="5792" y="14031"/>
                    <a:pt x="5782" y="14031"/>
                    <a:pt x="5770" y="14030"/>
                  </a:cubicBezTo>
                  <a:cubicBezTo>
                    <a:pt x="5758" y="14030"/>
                    <a:pt x="5747" y="14030"/>
                    <a:pt x="5735" y="14030"/>
                  </a:cubicBezTo>
                  <a:lnTo>
                    <a:pt x="5422" y="14037"/>
                  </a:lnTo>
                  <a:lnTo>
                    <a:pt x="5395" y="14091"/>
                  </a:lnTo>
                  <a:lnTo>
                    <a:pt x="5786" y="14284"/>
                  </a:lnTo>
                  <a:lnTo>
                    <a:pt x="5810" y="14235"/>
                  </a:lnTo>
                  <a:lnTo>
                    <a:pt x="5582" y="14126"/>
                  </a:lnTo>
                  <a:cubicBezTo>
                    <a:pt x="5571" y="14120"/>
                    <a:pt x="5559" y="14115"/>
                    <a:pt x="5547" y="14110"/>
                  </a:cubicBezTo>
                  <a:cubicBezTo>
                    <a:pt x="5536" y="14105"/>
                    <a:pt x="5525" y="14100"/>
                    <a:pt x="5515" y="14096"/>
                  </a:cubicBezTo>
                  <a:cubicBezTo>
                    <a:pt x="5505" y="14092"/>
                    <a:pt x="5496" y="14088"/>
                    <a:pt x="5489" y="14085"/>
                  </a:cubicBezTo>
                  <a:cubicBezTo>
                    <a:pt x="5482" y="14082"/>
                    <a:pt x="5477" y="14080"/>
                    <a:pt x="5473" y="14079"/>
                  </a:cubicBezTo>
                  <a:cubicBezTo>
                    <a:pt x="5477" y="14080"/>
                    <a:pt x="5483" y="14080"/>
                    <a:pt x="5491" y="14080"/>
                  </a:cubicBezTo>
                  <a:cubicBezTo>
                    <a:pt x="5498" y="14081"/>
                    <a:pt x="5507" y="14081"/>
                    <a:pt x="5517" y="14081"/>
                  </a:cubicBezTo>
                  <a:cubicBezTo>
                    <a:pt x="5527" y="14081"/>
                    <a:pt x="5538" y="14081"/>
                    <a:pt x="5550" y="14081"/>
                  </a:cubicBezTo>
                  <a:cubicBezTo>
                    <a:pt x="5563" y="14081"/>
                    <a:pt x="5575" y="14081"/>
                    <a:pt x="5589" y="14081"/>
                  </a:cubicBezTo>
                  <a:lnTo>
                    <a:pt x="5890" y="14073"/>
                  </a:lnTo>
                  <a:lnTo>
                    <a:pt x="5914" y="14024"/>
                  </a:lnTo>
                  <a:close/>
                  <a:moveTo>
                    <a:pt x="5993" y="13864"/>
                  </a:moveTo>
                  <a:lnTo>
                    <a:pt x="5602" y="13672"/>
                  </a:lnTo>
                  <a:lnTo>
                    <a:pt x="5579" y="13717"/>
                  </a:lnTo>
                  <a:lnTo>
                    <a:pt x="5970" y="13910"/>
                  </a:lnTo>
                  <a:lnTo>
                    <a:pt x="5993" y="13864"/>
                  </a:lnTo>
                  <a:close/>
                  <a:moveTo>
                    <a:pt x="5792" y="13284"/>
                  </a:moveTo>
                  <a:lnTo>
                    <a:pt x="5769" y="13332"/>
                  </a:lnTo>
                  <a:lnTo>
                    <a:pt x="5985" y="13543"/>
                  </a:lnTo>
                  <a:cubicBezTo>
                    <a:pt x="6003" y="13560"/>
                    <a:pt x="6018" y="13574"/>
                    <a:pt x="6030" y="13585"/>
                  </a:cubicBezTo>
                  <a:cubicBezTo>
                    <a:pt x="6042" y="13596"/>
                    <a:pt x="6050" y="13603"/>
                    <a:pt x="6055" y="13607"/>
                  </a:cubicBezTo>
                  <a:cubicBezTo>
                    <a:pt x="6052" y="13606"/>
                    <a:pt x="6047" y="13605"/>
                    <a:pt x="6040" y="13603"/>
                  </a:cubicBezTo>
                  <a:cubicBezTo>
                    <a:pt x="6033" y="13601"/>
                    <a:pt x="6025" y="13599"/>
                    <a:pt x="6016" y="13597"/>
                  </a:cubicBezTo>
                  <a:cubicBezTo>
                    <a:pt x="6007" y="13595"/>
                    <a:pt x="5997" y="13593"/>
                    <a:pt x="5987" y="13592"/>
                  </a:cubicBezTo>
                  <a:cubicBezTo>
                    <a:pt x="5977" y="13590"/>
                    <a:pt x="5966" y="13588"/>
                    <a:pt x="5956" y="13587"/>
                  </a:cubicBezTo>
                  <a:lnTo>
                    <a:pt x="5664" y="13545"/>
                  </a:lnTo>
                  <a:lnTo>
                    <a:pt x="5639" y="13596"/>
                  </a:lnTo>
                  <a:lnTo>
                    <a:pt x="6095" y="13657"/>
                  </a:lnTo>
                  <a:lnTo>
                    <a:pt x="6117" y="13611"/>
                  </a:lnTo>
                  <a:lnTo>
                    <a:pt x="5792" y="13284"/>
                  </a:lnTo>
                  <a:close/>
                  <a:moveTo>
                    <a:pt x="6328" y="13182"/>
                  </a:moveTo>
                  <a:lnTo>
                    <a:pt x="6288" y="13162"/>
                  </a:lnTo>
                  <a:lnTo>
                    <a:pt x="6203" y="13334"/>
                  </a:lnTo>
                  <a:lnTo>
                    <a:pt x="6060" y="13264"/>
                  </a:lnTo>
                  <a:lnTo>
                    <a:pt x="6126" y="13130"/>
                  </a:lnTo>
                  <a:lnTo>
                    <a:pt x="6086" y="13110"/>
                  </a:lnTo>
                  <a:lnTo>
                    <a:pt x="6020" y="13244"/>
                  </a:lnTo>
                  <a:lnTo>
                    <a:pt x="5892" y="13181"/>
                  </a:lnTo>
                  <a:lnTo>
                    <a:pt x="5970" y="13020"/>
                  </a:lnTo>
                  <a:lnTo>
                    <a:pt x="5935" y="12995"/>
                  </a:lnTo>
                  <a:lnTo>
                    <a:pt x="5830" y="13209"/>
                  </a:lnTo>
                  <a:lnTo>
                    <a:pt x="6220" y="13401"/>
                  </a:lnTo>
                  <a:lnTo>
                    <a:pt x="6328" y="13182"/>
                  </a:lnTo>
                  <a:close/>
                  <a:moveTo>
                    <a:pt x="6491" y="12851"/>
                  </a:moveTo>
                  <a:lnTo>
                    <a:pt x="6455" y="12855"/>
                  </a:lnTo>
                  <a:cubicBezTo>
                    <a:pt x="6438" y="12858"/>
                    <a:pt x="6421" y="12860"/>
                    <a:pt x="6402" y="12863"/>
                  </a:cubicBezTo>
                  <a:cubicBezTo>
                    <a:pt x="6383" y="12865"/>
                    <a:pt x="6366" y="12868"/>
                    <a:pt x="6349" y="12870"/>
                  </a:cubicBezTo>
                  <a:cubicBezTo>
                    <a:pt x="6333" y="12872"/>
                    <a:pt x="6321" y="12874"/>
                    <a:pt x="6314" y="12875"/>
                  </a:cubicBezTo>
                  <a:cubicBezTo>
                    <a:pt x="6304" y="12877"/>
                    <a:pt x="6293" y="12880"/>
                    <a:pt x="6282" y="12883"/>
                  </a:cubicBezTo>
                  <a:cubicBezTo>
                    <a:pt x="6270" y="12886"/>
                    <a:pt x="6259" y="12889"/>
                    <a:pt x="6251" y="12893"/>
                  </a:cubicBezTo>
                  <a:lnTo>
                    <a:pt x="6254" y="12887"/>
                  </a:lnTo>
                  <a:cubicBezTo>
                    <a:pt x="6261" y="12872"/>
                    <a:pt x="6266" y="12856"/>
                    <a:pt x="6267" y="12841"/>
                  </a:cubicBezTo>
                  <a:cubicBezTo>
                    <a:pt x="6268" y="12826"/>
                    <a:pt x="6266" y="12811"/>
                    <a:pt x="6261" y="12798"/>
                  </a:cubicBezTo>
                  <a:cubicBezTo>
                    <a:pt x="6257" y="12784"/>
                    <a:pt x="6249" y="12772"/>
                    <a:pt x="6238" y="12760"/>
                  </a:cubicBezTo>
                  <a:cubicBezTo>
                    <a:pt x="6227" y="12749"/>
                    <a:pt x="6214" y="12739"/>
                    <a:pt x="6198" y="12731"/>
                  </a:cubicBezTo>
                  <a:cubicBezTo>
                    <a:pt x="6187" y="12726"/>
                    <a:pt x="6177" y="12723"/>
                    <a:pt x="6168" y="12721"/>
                  </a:cubicBezTo>
                  <a:cubicBezTo>
                    <a:pt x="6158" y="12719"/>
                    <a:pt x="6149" y="12718"/>
                    <a:pt x="6140" y="12719"/>
                  </a:cubicBezTo>
                  <a:cubicBezTo>
                    <a:pt x="6131" y="12719"/>
                    <a:pt x="6123" y="12720"/>
                    <a:pt x="6116" y="12722"/>
                  </a:cubicBezTo>
                  <a:cubicBezTo>
                    <a:pt x="6109" y="12724"/>
                    <a:pt x="6102" y="12727"/>
                    <a:pt x="6097" y="12729"/>
                  </a:cubicBezTo>
                  <a:cubicBezTo>
                    <a:pt x="6091" y="12732"/>
                    <a:pt x="6085" y="12736"/>
                    <a:pt x="6079" y="12740"/>
                  </a:cubicBezTo>
                  <a:cubicBezTo>
                    <a:pt x="6073" y="12744"/>
                    <a:pt x="6067" y="12750"/>
                    <a:pt x="6061" y="12757"/>
                  </a:cubicBezTo>
                  <a:cubicBezTo>
                    <a:pt x="6054" y="12763"/>
                    <a:pt x="6048" y="12771"/>
                    <a:pt x="6042" y="12781"/>
                  </a:cubicBezTo>
                  <a:cubicBezTo>
                    <a:pt x="6036" y="12791"/>
                    <a:pt x="6030" y="12802"/>
                    <a:pt x="6023" y="12816"/>
                  </a:cubicBezTo>
                  <a:lnTo>
                    <a:pt x="5978" y="12907"/>
                  </a:lnTo>
                  <a:lnTo>
                    <a:pt x="6369" y="13099"/>
                  </a:lnTo>
                  <a:lnTo>
                    <a:pt x="6391" y="13054"/>
                  </a:lnTo>
                  <a:lnTo>
                    <a:pt x="6215" y="12967"/>
                  </a:lnTo>
                  <a:cubicBezTo>
                    <a:pt x="6220" y="12957"/>
                    <a:pt x="6226" y="12950"/>
                    <a:pt x="6232" y="12945"/>
                  </a:cubicBezTo>
                  <a:cubicBezTo>
                    <a:pt x="6238" y="12941"/>
                    <a:pt x="6248" y="12937"/>
                    <a:pt x="6262" y="12935"/>
                  </a:cubicBezTo>
                  <a:cubicBezTo>
                    <a:pt x="6285" y="12930"/>
                    <a:pt x="6307" y="12926"/>
                    <a:pt x="6328" y="12922"/>
                  </a:cubicBezTo>
                  <a:cubicBezTo>
                    <a:pt x="6348" y="12919"/>
                    <a:pt x="6367" y="12916"/>
                    <a:pt x="6385" y="12914"/>
                  </a:cubicBezTo>
                  <a:cubicBezTo>
                    <a:pt x="6402" y="12912"/>
                    <a:pt x="6417" y="12911"/>
                    <a:pt x="6431" y="12910"/>
                  </a:cubicBezTo>
                  <a:cubicBezTo>
                    <a:pt x="6444" y="12909"/>
                    <a:pt x="6454" y="12909"/>
                    <a:pt x="6462" y="12909"/>
                  </a:cubicBezTo>
                  <a:lnTo>
                    <a:pt x="6491" y="12851"/>
                  </a:lnTo>
                  <a:close/>
                  <a:moveTo>
                    <a:pt x="6205" y="12802"/>
                  </a:moveTo>
                  <a:cubicBezTo>
                    <a:pt x="6213" y="12810"/>
                    <a:pt x="6219" y="12819"/>
                    <a:pt x="6222" y="12829"/>
                  </a:cubicBezTo>
                  <a:cubicBezTo>
                    <a:pt x="6225" y="12840"/>
                    <a:pt x="6225" y="12851"/>
                    <a:pt x="6223" y="12864"/>
                  </a:cubicBezTo>
                  <a:cubicBezTo>
                    <a:pt x="6221" y="12877"/>
                    <a:pt x="6216" y="12892"/>
                    <a:pt x="6207" y="12909"/>
                  </a:cubicBezTo>
                  <a:lnTo>
                    <a:pt x="6186" y="12952"/>
                  </a:lnTo>
                  <a:lnTo>
                    <a:pt x="6040" y="12881"/>
                  </a:lnTo>
                  <a:lnTo>
                    <a:pt x="6063" y="12834"/>
                  </a:lnTo>
                  <a:cubicBezTo>
                    <a:pt x="6068" y="12823"/>
                    <a:pt x="6073" y="12814"/>
                    <a:pt x="6078" y="12807"/>
                  </a:cubicBezTo>
                  <a:cubicBezTo>
                    <a:pt x="6084" y="12800"/>
                    <a:pt x="6089" y="12794"/>
                    <a:pt x="6095" y="12789"/>
                  </a:cubicBezTo>
                  <a:cubicBezTo>
                    <a:pt x="6105" y="12780"/>
                    <a:pt x="6117" y="12775"/>
                    <a:pt x="6132" y="12773"/>
                  </a:cubicBezTo>
                  <a:cubicBezTo>
                    <a:pt x="6146" y="12771"/>
                    <a:pt x="6160" y="12773"/>
                    <a:pt x="6173" y="12780"/>
                  </a:cubicBezTo>
                  <a:cubicBezTo>
                    <a:pt x="6186" y="12786"/>
                    <a:pt x="6197" y="12793"/>
                    <a:pt x="6205" y="12802"/>
                  </a:cubicBezTo>
                  <a:close/>
                  <a:moveTo>
                    <a:pt x="6502" y="12457"/>
                  </a:moveTo>
                  <a:cubicBezTo>
                    <a:pt x="6488" y="12455"/>
                    <a:pt x="6474" y="12456"/>
                    <a:pt x="6461" y="12460"/>
                  </a:cubicBezTo>
                  <a:cubicBezTo>
                    <a:pt x="6448" y="12463"/>
                    <a:pt x="6436" y="12469"/>
                    <a:pt x="6425" y="12476"/>
                  </a:cubicBezTo>
                  <a:cubicBezTo>
                    <a:pt x="6414" y="12483"/>
                    <a:pt x="6401" y="12494"/>
                    <a:pt x="6387" y="12509"/>
                  </a:cubicBezTo>
                  <a:lnTo>
                    <a:pt x="6351" y="12547"/>
                  </a:lnTo>
                  <a:cubicBezTo>
                    <a:pt x="6332" y="12567"/>
                    <a:pt x="6315" y="12579"/>
                    <a:pt x="6301" y="12585"/>
                  </a:cubicBezTo>
                  <a:cubicBezTo>
                    <a:pt x="6286" y="12590"/>
                    <a:pt x="6271" y="12589"/>
                    <a:pt x="6255" y="12581"/>
                  </a:cubicBezTo>
                  <a:cubicBezTo>
                    <a:pt x="6235" y="12571"/>
                    <a:pt x="6223" y="12556"/>
                    <a:pt x="6218" y="12537"/>
                  </a:cubicBezTo>
                  <a:cubicBezTo>
                    <a:pt x="6213" y="12518"/>
                    <a:pt x="6217" y="12496"/>
                    <a:pt x="6229" y="12471"/>
                  </a:cubicBezTo>
                  <a:cubicBezTo>
                    <a:pt x="6233" y="12463"/>
                    <a:pt x="6238" y="12455"/>
                    <a:pt x="6243" y="12448"/>
                  </a:cubicBezTo>
                  <a:cubicBezTo>
                    <a:pt x="6247" y="12441"/>
                    <a:pt x="6253" y="12435"/>
                    <a:pt x="6259" y="12429"/>
                  </a:cubicBezTo>
                  <a:cubicBezTo>
                    <a:pt x="6266" y="12423"/>
                    <a:pt x="6273" y="12417"/>
                    <a:pt x="6281" y="12411"/>
                  </a:cubicBezTo>
                  <a:cubicBezTo>
                    <a:pt x="6289" y="12405"/>
                    <a:pt x="6298" y="12399"/>
                    <a:pt x="6309" y="12392"/>
                  </a:cubicBezTo>
                  <a:lnTo>
                    <a:pt x="6286" y="12355"/>
                  </a:lnTo>
                  <a:cubicBezTo>
                    <a:pt x="6242" y="12380"/>
                    <a:pt x="6210" y="12413"/>
                    <a:pt x="6190" y="12455"/>
                  </a:cubicBezTo>
                  <a:cubicBezTo>
                    <a:pt x="6181" y="12474"/>
                    <a:pt x="6175" y="12492"/>
                    <a:pt x="6173" y="12511"/>
                  </a:cubicBezTo>
                  <a:cubicBezTo>
                    <a:pt x="6171" y="12529"/>
                    <a:pt x="6172" y="12546"/>
                    <a:pt x="6176" y="12562"/>
                  </a:cubicBezTo>
                  <a:cubicBezTo>
                    <a:pt x="6181" y="12578"/>
                    <a:pt x="6188" y="12592"/>
                    <a:pt x="6199" y="12605"/>
                  </a:cubicBezTo>
                  <a:cubicBezTo>
                    <a:pt x="6210" y="12618"/>
                    <a:pt x="6223" y="12628"/>
                    <a:pt x="6240" y="12636"/>
                  </a:cubicBezTo>
                  <a:cubicBezTo>
                    <a:pt x="6265" y="12649"/>
                    <a:pt x="6290" y="12651"/>
                    <a:pt x="6316" y="12643"/>
                  </a:cubicBezTo>
                  <a:cubicBezTo>
                    <a:pt x="6328" y="12640"/>
                    <a:pt x="6339" y="12634"/>
                    <a:pt x="6349" y="12626"/>
                  </a:cubicBezTo>
                  <a:cubicBezTo>
                    <a:pt x="6359" y="12618"/>
                    <a:pt x="6371" y="12606"/>
                    <a:pt x="6385" y="12591"/>
                  </a:cubicBezTo>
                  <a:lnTo>
                    <a:pt x="6416" y="12557"/>
                  </a:lnTo>
                  <a:cubicBezTo>
                    <a:pt x="6453" y="12518"/>
                    <a:pt x="6489" y="12506"/>
                    <a:pt x="6524" y="12523"/>
                  </a:cubicBezTo>
                  <a:cubicBezTo>
                    <a:pt x="6547" y="12535"/>
                    <a:pt x="6561" y="12553"/>
                    <a:pt x="6566" y="12579"/>
                  </a:cubicBezTo>
                  <a:cubicBezTo>
                    <a:pt x="6568" y="12590"/>
                    <a:pt x="6568" y="12601"/>
                    <a:pt x="6566" y="12611"/>
                  </a:cubicBezTo>
                  <a:cubicBezTo>
                    <a:pt x="6564" y="12622"/>
                    <a:pt x="6559" y="12634"/>
                    <a:pt x="6552" y="12649"/>
                  </a:cubicBezTo>
                  <a:cubicBezTo>
                    <a:pt x="6542" y="12669"/>
                    <a:pt x="6531" y="12686"/>
                    <a:pt x="6517" y="12700"/>
                  </a:cubicBezTo>
                  <a:cubicBezTo>
                    <a:pt x="6504" y="12714"/>
                    <a:pt x="6487" y="12727"/>
                    <a:pt x="6467" y="12737"/>
                  </a:cubicBezTo>
                  <a:lnTo>
                    <a:pt x="6493" y="12776"/>
                  </a:lnTo>
                  <a:cubicBezTo>
                    <a:pt x="6515" y="12762"/>
                    <a:pt x="6534" y="12747"/>
                    <a:pt x="6549" y="12729"/>
                  </a:cubicBezTo>
                  <a:cubicBezTo>
                    <a:pt x="6565" y="12712"/>
                    <a:pt x="6579" y="12691"/>
                    <a:pt x="6590" y="12668"/>
                  </a:cubicBezTo>
                  <a:cubicBezTo>
                    <a:pt x="6599" y="12650"/>
                    <a:pt x="6605" y="12633"/>
                    <a:pt x="6608" y="12617"/>
                  </a:cubicBezTo>
                  <a:cubicBezTo>
                    <a:pt x="6611" y="12602"/>
                    <a:pt x="6612" y="12585"/>
                    <a:pt x="6610" y="12568"/>
                  </a:cubicBezTo>
                  <a:cubicBezTo>
                    <a:pt x="6607" y="12545"/>
                    <a:pt x="6600" y="12525"/>
                    <a:pt x="6588" y="12508"/>
                  </a:cubicBezTo>
                  <a:cubicBezTo>
                    <a:pt x="6576" y="12490"/>
                    <a:pt x="6560" y="12477"/>
                    <a:pt x="6542" y="12468"/>
                  </a:cubicBezTo>
                  <a:cubicBezTo>
                    <a:pt x="6530" y="12462"/>
                    <a:pt x="6517" y="12458"/>
                    <a:pt x="6502" y="12457"/>
                  </a:cubicBezTo>
                  <a:close/>
                  <a:moveTo>
                    <a:pt x="6720" y="12386"/>
                  </a:moveTo>
                  <a:lnTo>
                    <a:pt x="6329" y="12194"/>
                  </a:lnTo>
                  <a:lnTo>
                    <a:pt x="6306" y="12240"/>
                  </a:lnTo>
                  <a:lnTo>
                    <a:pt x="6697" y="12432"/>
                  </a:lnTo>
                  <a:lnTo>
                    <a:pt x="6720" y="12386"/>
                  </a:lnTo>
                  <a:close/>
                  <a:moveTo>
                    <a:pt x="6495" y="11857"/>
                  </a:moveTo>
                  <a:lnTo>
                    <a:pt x="6367" y="12116"/>
                  </a:lnTo>
                  <a:lnTo>
                    <a:pt x="6407" y="12135"/>
                  </a:lnTo>
                  <a:lnTo>
                    <a:pt x="6458" y="12030"/>
                  </a:lnTo>
                  <a:lnTo>
                    <a:pt x="6810" y="12203"/>
                  </a:lnTo>
                  <a:lnTo>
                    <a:pt x="6832" y="12158"/>
                  </a:lnTo>
                  <a:lnTo>
                    <a:pt x="6481" y="11985"/>
                  </a:lnTo>
                  <a:lnTo>
                    <a:pt x="6533" y="11879"/>
                  </a:lnTo>
                  <a:lnTo>
                    <a:pt x="6495" y="11857"/>
                  </a:lnTo>
                  <a:close/>
                  <a:moveTo>
                    <a:pt x="7038" y="11740"/>
                  </a:moveTo>
                  <a:lnTo>
                    <a:pt x="6583" y="11677"/>
                  </a:lnTo>
                  <a:lnTo>
                    <a:pt x="6553" y="11738"/>
                  </a:lnTo>
                  <a:lnTo>
                    <a:pt x="6880" y="12061"/>
                  </a:lnTo>
                  <a:lnTo>
                    <a:pt x="6903" y="12014"/>
                  </a:lnTo>
                  <a:lnTo>
                    <a:pt x="6801" y="11917"/>
                  </a:lnTo>
                  <a:lnTo>
                    <a:pt x="6873" y="11771"/>
                  </a:lnTo>
                  <a:lnTo>
                    <a:pt x="7012" y="11793"/>
                  </a:lnTo>
                  <a:lnTo>
                    <a:pt x="7038" y="11740"/>
                  </a:lnTo>
                  <a:close/>
                  <a:moveTo>
                    <a:pt x="6829" y="11764"/>
                  </a:moveTo>
                  <a:lnTo>
                    <a:pt x="6769" y="11886"/>
                  </a:lnTo>
                  <a:lnTo>
                    <a:pt x="6608" y="11730"/>
                  </a:lnTo>
                  <a:lnTo>
                    <a:pt x="6829" y="11764"/>
                  </a:lnTo>
                  <a:close/>
                  <a:moveTo>
                    <a:pt x="6475" y="11708"/>
                  </a:moveTo>
                  <a:cubicBezTo>
                    <a:pt x="6467" y="11711"/>
                    <a:pt x="6460" y="11717"/>
                    <a:pt x="6456" y="11725"/>
                  </a:cubicBezTo>
                  <a:cubicBezTo>
                    <a:pt x="6452" y="11733"/>
                    <a:pt x="6452" y="11741"/>
                    <a:pt x="6455" y="11750"/>
                  </a:cubicBezTo>
                  <a:cubicBezTo>
                    <a:pt x="6458" y="11758"/>
                    <a:pt x="6463" y="11765"/>
                    <a:pt x="6471" y="11769"/>
                  </a:cubicBezTo>
                  <a:cubicBezTo>
                    <a:pt x="6479" y="11773"/>
                    <a:pt x="6488" y="11773"/>
                    <a:pt x="6497" y="11770"/>
                  </a:cubicBezTo>
                  <a:cubicBezTo>
                    <a:pt x="6505" y="11768"/>
                    <a:pt x="6512" y="11762"/>
                    <a:pt x="6516" y="11754"/>
                  </a:cubicBezTo>
                  <a:cubicBezTo>
                    <a:pt x="6520" y="11745"/>
                    <a:pt x="6520" y="11737"/>
                    <a:pt x="6517" y="11729"/>
                  </a:cubicBezTo>
                  <a:cubicBezTo>
                    <a:pt x="6514" y="11720"/>
                    <a:pt x="6508" y="11714"/>
                    <a:pt x="6500" y="11710"/>
                  </a:cubicBezTo>
                  <a:cubicBezTo>
                    <a:pt x="6492" y="11706"/>
                    <a:pt x="6484" y="11705"/>
                    <a:pt x="6475" y="11708"/>
                  </a:cubicBezTo>
                  <a:close/>
                  <a:moveTo>
                    <a:pt x="6533" y="11591"/>
                  </a:moveTo>
                  <a:cubicBezTo>
                    <a:pt x="6524" y="11594"/>
                    <a:pt x="6518" y="11599"/>
                    <a:pt x="6514" y="11608"/>
                  </a:cubicBezTo>
                  <a:cubicBezTo>
                    <a:pt x="6510" y="11616"/>
                    <a:pt x="6510" y="11624"/>
                    <a:pt x="6512" y="11633"/>
                  </a:cubicBezTo>
                  <a:cubicBezTo>
                    <a:pt x="6515" y="11641"/>
                    <a:pt x="6521" y="11647"/>
                    <a:pt x="6529" y="11651"/>
                  </a:cubicBezTo>
                  <a:cubicBezTo>
                    <a:pt x="6537" y="11655"/>
                    <a:pt x="6546" y="11656"/>
                    <a:pt x="6554" y="11653"/>
                  </a:cubicBezTo>
                  <a:cubicBezTo>
                    <a:pt x="6563" y="11650"/>
                    <a:pt x="6569" y="11645"/>
                    <a:pt x="6574" y="11636"/>
                  </a:cubicBezTo>
                  <a:cubicBezTo>
                    <a:pt x="6578" y="11628"/>
                    <a:pt x="6578" y="11620"/>
                    <a:pt x="6575" y="11611"/>
                  </a:cubicBezTo>
                  <a:cubicBezTo>
                    <a:pt x="6572" y="11603"/>
                    <a:pt x="6566" y="11597"/>
                    <a:pt x="6558" y="11592"/>
                  </a:cubicBezTo>
                  <a:cubicBezTo>
                    <a:pt x="6550" y="11589"/>
                    <a:pt x="6541" y="11588"/>
                    <a:pt x="6533" y="11591"/>
                  </a:cubicBezTo>
                  <a:close/>
                  <a:moveTo>
                    <a:pt x="6775" y="11288"/>
                  </a:moveTo>
                  <a:lnTo>
                    <a:pt x="6647" y="11547"/>
                  </a:lnTo>
                  <a:lnTo>
                    <a:pt x="6687" y="11566"/>
                  </a:lnTo>
                  <a:lnTo>
                    <a:pt x="6738" y="11461"/>
                  </a:lnTo>
                  <a:lnTo>
                    <a:pt x="7090" y="11634"/>
                  </a:lnTo>
                  <a:lnTo>
                    <a:pt x="7112" y="11589"/>
                  </a:lnTo>
                  <a:lnTo>
                    <a:pt x="6760" y="11416"/>
                  </a:lnTo>
                  <a:lnTo>
                    <a:pt x="6813" y="11310"/>
                  </a:lnTo>
                  <a:lnTo>
                    <a:pt x="6775" y="11288"/>
                  </a:lnTo>
                  <a:close/>
                  <a:moveTo>
                    <a:pt x="7441" y="10921"/>
                  </a:moveTo>
                  <a:lnTo>
                    <a:pt x="7033" y="10763"/>
                  </a:lnTo>
                  <a:lnTo>
                    <a:pt x="6999" y="10832"/>
                  </a:lnTo>
                  <a:lnTo>
                    <a:pt x="7223" y="11033"/>
                  </a:lnTo>
                  <a:cubicBezTo>
                    <a:pt x="7236" y="11045"/>
                    <a:pt x="7249" y="11055"/>
                    <a:pt x="7260" y="11064"/>
                  </a:cubicBezTo>
                  <a:cubicBezTo>
                    <a:pt x="7271" y="11072"/>
                    <a:pt x="7278" y="11077"/>
                    <a:pt x="7279" y="11078"/>
                  </a:cubicBezTo>
                  <a:cubicBezTo>
                    <a:pt x="7277" y="11078"/>
                    <a:pt x="7269" y="11076"/>
                    <a:pt x="7255" y="11072"/>
                  </a:cubicBezTo>
                  <a:cubicBezTo>
                    <a:pt x="7242" y="11068"/>
                    <a:pt x="7224" y="11064"/>
                    <a:pt x="7204" y="11060"/>
                  </a:cubicBezTo>
                  <a:lnTo>
                    <a:pt x="6913" y="11006"/>
                  </a:lnTo>
                  <a:lnTo>
                    <a:pt x="6880" y="11074"/>
                  </a:lnTo>
                  <a:lnTo>
                    <a:pt x="7254" y="11301"/>
                  </a:lnTo>
                  <a:lnTo>
                    <a:pt x="7276" y="11256"/>
                  </a:lnTo>
                  <a:lnTo>
                    <a:pt x="7009" y="11097"/>
                  </a:lnTo>
                  <a:cubicBezTo>
                    <a:pt x="7003" y="11094"/>
                    <a:pt x="6997" y="11090"/>
                    <a:pt x="6989" y="11086"/>
                  </a:cubicBezTo>
                  <a:cubicBezTo>
                    <a:pt x="6982" y="11082"/>
                    <a:pt x="6974" y="11077"/>
                    <a:pt x="6967" y="11073"/>
                  </a:cubicBezTo>
                  <a:cubicBezTo>
                    <a:pt x="6959" y="11069"/>
                    <a:pt x="6953" y="11065"/>
                    <a:pt x="6947" y="11062"/>
                  </a:cubicBezTo>
                  <a:cubicBezTo>
                    <a:pt x="6943" y="11059"/>
                    <a:pt x="6939" y="11058"/>
                    <a:pt x="6938" y="11057"/>
                  </a:cubicBezTo>
                  <a:cubicBezTo>
                    <a:pt x="6942" y="11058"/>
                    <a:pt x="6952" y="11060"/>
                    <a:pt x="6966" y="11063"/>
                  </a:cubicBezTo>
                  <a:cubicBezTo>
                    <a:pt x="6980" y="11066"/>
                    <a:pt x="6999" y="11069"/>
                    <a:pt x="7021" y="11074"/>
                  </a:cubicBezTo>
                  <a:lnTo>
                    <a:pt x="7337" y="11133"/>
                  </a:lnTo>
                  <a:lnTo>
                    <a:pt x="7356" y="11093"/>
                  </a:lnTo>
                  <a:lnTo>
                    <a:pt x="7106" y="10866"/>
                  </a:lnTo>
                  <a:cubicBezTo>
                    <a:pt x="7100" y="10861"/>
                    <a:pt x="7095" y="10856"/>
                    <a:pt x="7089" y="10851"/>
                  </a:cubicBezTo>
                  <a:cubicBezTo>
                    <a:pt x="7083" y="10846"/>
                    <a:pt x="7078" y="10842"/>
                    <a:pt x="7072" y="10837"/>
                  </a:cubicBezTo>
                  <a:cubicBezTo>
                    <a:pt x="7067" y="10833"/>
                    <a:pt x="7062" y="10829"/>
                    <a:pt x="7059" y="10826"/>
                  </a:cubicBezTo>
                  <a:cubicBezTo>
                    <a:pt x="7055" y="10823"/>
                    <a:pt x="7053" y="10821"/>
                    <a:pt x="7052" y="10820"/>
                  </a:cubicBezTo>
                  <a:cubicBezTo>
                    <a:pt x="7053" y="10821"/>
                    <a:pt x="7056" y="10822"/>
                    <a:pt x="7060" y="10824"/>
                  </a:cubicBezTo>
                  <a:cubicBezTo>
                    <a:pt x="7065" y="10826"/>
                    <a:pt x="7071" y="10828"/>
                    <a:pt x="7078" y="10832"/>
                  </a:cubicBezTo>
                  <a:cubicBezTo>
                    <a:pt x="7084" y="10835"/>
                    <a:pt x="7091" y="10838"/>
                    <a:pt x="7099" y="10841"/>
                  </a:cubicBezTo>
                  <a:cubicBezTo>
                    <a:pt x="7107" y="10844"/>
                    <a:pt x="7114" y="10847"/>
                    <a:pt x="7120" y="10850"/>
                  </a:cubicBezTo>
                  <a:lnTo>
                    <a:pt x="7418" y="10968"/>
                  </a:lnTo>
                  <a:lnTo>
                    <a:pt x="7441" y="10921"/>
                  </a:lnTo>
                  <a:close/>
                  <a:moveTo>
                    <a:pt x="7225" y="10373"/>
                  </a:moveTo>
                  <a:lnTo>
                    <a:pt x="7202" y="10419"/>
                  </a:lnTo>
                  <a:lnTo>
                    <a:pt x="7475" y="10553"/>
                  </a:lnTo>
                  <a:cubicBezTo>
                    <a:pt x="7488" y="10560"/>
                    <a:pt x="7499" y="10566"/>
                    <a:pt x="7507" y="10572"/>
                  </a:cubicBezTo>
                  <a:cubicBezTo>
                    <a:pt x="7516" y="10579"/>
                    <a:pt x="7523" y="10587"/>
                    <a:pt x="7528" y="10598"/>
                  </a:cubicBezTo>
                  <a:cubicBezTo>
                    <a:pt x="7533" y="10608"/>
                    <a:pt x="7535" y="10620"/>
                    <a:pt x="7533" y="10634"/>
                  </a:cubicBezTo>
                  <a:cubicBezTo>
                    <a:pt x="7532" y="10647"/>
                    <a:pt x="7527" y="10662"/>
                    <a:pt x="7519" y="10679"/>
                  </a:cubicBezTo>
                  <a:cubicBezTo>
                    <a:pt x="7513" y="10691"/>
                    <a:pt x="7507" y="10701"/>
                    <a:pt x="7500" y="10708"/>
                  </a:cubicBezTo>
                  <a:cubicBezTo>
                    <a:pt x="7493" y="10716"/>
                    <a:pt x="7487" y="10722"/>
                    <a:pt x="7480" y="10726"/>
                  </a:cubicBezTo>
                  <a:cubicBezTo>
                    <a:pt x="7473" y="10730"/>
                    <a:pt x="7467" y="10733"/>
                    <a:pt x="7460" y="10735"/>
                  </a:cubicBezTo>
                  <a:cubicBezTo>
                    <a:pt x="7454" y="10736"/>
                    <a:pt x="7448" y="10737"/>
                    <a:pt x="7443" y="10736"/>
                  </a:cubicBezTo>
                  <a:cubicBezTo>
                    <a:pt x="7436" y="10736"/>
                    <a:pt x="7426" y="10734"/>
                    <a:pt x="7415" y="10729"/>
                  </a:cubicBezTo>
                  <a:cubicBezTo>
                    <a:pt x="7404" y="10725"/>
                    <a:pt x="7393" y="10720"/>
                    <a:pt x="7383" y="10715"/>
                  </a:cubicBezTo>
                  <a:lnTo>
                    <a:pt x="7120" y="10586"/>
                  </a:lnTo>
                  <a:lnTo>
                    <a:pt x="7097" y="10632"/>
                  </a:lnTo>
                  <a:lnTo>
                    <a:pt x="7378" y="10770"/>
                  </a:lnTo>
                  <a:cubicBezTo>
                    <a:pt x="7387" y="10774"/>
                    <a:pt x="7397" y="10779"/>
                    <a:pt x="7409" y="10783"/>
                  </a:cubicBezTo>
                  <a:cubicBezTo>
                    <a:pt x="7420" y="10787"/>
                    <a:pt x="7432" y="10789"/>
                    <a:pt x="7444" y="10789"/>
                  </a:cubicBezTo>
                  <a:cubicBezTo>
                    <a:pt x="7469" y="10788"/>
                    <a:pt x="7490" y="10780"/>
                    <a:pt x="7508" y="10767"/>
                  </a:cubicBezTo>
                  <a:cubicBezTo>
                    <a:pt x="7526" y="10753"/>
                    <a:pt x="7543" y="10731"/>
                    <a:pt x="7558" y="10701"/>
                  </a:cubicBezTo>
                  <a:cubicBezTo>
                    <a:pt x="7569" y="10677"/>
                    <a:pt x="7577" y="10656"/>
                    <a:pt x="7580" y="10637"/>
                  </a:cubicBezTo>
                  <a:cubicBezTo>
                    <a:pt x="7583" y="10618"/>
                    <a:pt x="7582" y="10600"/>
                    <a:pt x="7578" y="10583"/>
                  </a:cubicBezTo>
                  <a:cubicBezTo>
                    <a:pt x="7574" y="10567"/>
                    <a:pt x="7566" y="10553"/>
                    <a:pt x="7555" y="10543"/>
                  </a:cubicBezTo>
                  <a:cubicBezTo>
                    <a:pt x="7544" y="10532"/>
                    <a:pt x="7527" y="10521"/>
                    <a:pt x="7503" y="10510"/>
                  </a:cubicBezTo>
                  <a:lnTo>
                    <a:pt x="7225" y="10373"/>
                  </a:lnTo>
                  <a:close/>
                  <a:moveTo>
                    <a:pt x="7068" y="10504"/>
                  </a:moveTo>
                  <a:cubicBezTo>
                    <a:pt x="7059" y="10507"/>
                    <a:pt x="7053" y="10512"/>
                    <a:pt x="7049" y="10520"/>
                  </a:cubicBezTo>
                  <a:cubicBezTo>
                    <a:pt x="7045" y="10528"/>
                    <a:pt x="7045" y="10537"/>
                    <a:pt x="7047" y="10545"/>
                  </a:cubicBezTo>
                  <a:cubicBezTo>
                    <a:pt x="7050" y="10554"/>
                    <a:pt x="7056" y="10560"/>
                    <a:pt x="7064" y="10564"/>
                  </a:cubicBezTo>
                  <a:cubicBezTo>
                    <a:pt x="7072" y="10568"/>
                    <a:pt x="7081" y="10569"/>
                    <a:pt x="7089" y="10566"/>
                  </a:cubicBezTo>
                  <a:cubicBezTo>
                    <a:pt x="7098" y="10563"/>
                    <a:pt x="7104" y="10557"/>
                    <a:pt x="7109" y="10549"/>
                  </a:cubicBezTo>
                  <a:cubicBezTo>
                    <a:pt x="7113" y="10541"/>
                    <a:pt x="7113" y="10532"/>
                    <a:pt x="7110" y="10524"/>
                  </a:cubicBezTo>
                  <a:cubicBezTo>
                    <a:pt x="7107" y="10516"/>
                    <a:pt x="7101" y="10509"/>
                    <a:pt x="7093" y="10505"/>
                  </a:cubicBezTo>
                  <a:cubicBezTo>
                    <a:pt x="7085" y="10501"/>
                    <a:pt x="7076" y="10501"/>
                    <a:pt x="7068" y="10504"/>
                  </a:cubicBezTo>
                  <a:close/>
                  <a:moveTo>
                    <a:pt x="7125" y="10387"/>
                  </a:moveTo>
                  <a:cubicBezTo>
                    <a:pt x="7117" y="10390"/>
                    <a:pt x="7111" y="10395"/>
                    <a:pt x="7106" y="10404"/>
                  </a:cubicBezTo>
                  <a:cubicBezTo>
                    <a:pt x="7103" y="10412"/>
                    <a:pt x="7102" y="10420"/>
                    <a:pt x="7105" y="10428"/>
                  </a:cubicBezTo>
                  <a:cubicBezTo>
                    <a:pt x="7108" y="10437"/>
                    <a:pt x="7113" y="10443"/>
                    <a:pt x="7121" y="10447"/>
                  </a:cubicBezTo>
                  <a:cubicBezTo>
                    <a:pt x="7130" y="10451"/>
                    <a:pt x="7138" y="10452"/>
                    <a:pt x="7147" y="10449"/>
                  </a:cubicBezTo>
                  <a:cubicBezTo>
                    <a:pt x="7156" y="10446"/>
                    <a:pt x="7162" y="10441"/>
                    <a:pt x="7166" y="10432"/>
                  </a:cubicBezTo>
                  <a:cubicBezTo>
                    <a:pt x="7170" y="10424"/>
                    <a:pt x="7171" y="10416"/>
                    <a:pt x="7167" y="10407"/>
                  </a:cubicBezTo>
                  <a:cubicBezTo>
                    <a:pt x="7164" y="10399"/>
                    <a:pt x="7158" y="10392"/>
                    <a:pt x="7150" y="10388"/>
                  </a:cubicBezTo>
                  <a:cubicBezTo>
                    <a:pt x="7142" y="10384"/>
                    <a:pt x="7134" y="10384"/>
                    <a:pt x="7125" y="10387"/>
                  </a:cubicBezTo>
                  <a:close/>
                  <a:moveTo>
                    <a:pt x="7799" y="10193"/>
                  </a:moveTo>
                  <a:lnTo>
                    <a:pt x="7408" y="10000"/>
                  </a:lnTo>
                  <a:lnTo>
                    <a:pt x="7386" y="10046"/>
                  </a:lnTo>
                  <a:lnTo>
                    <a:pt x="7599" y="10149"/>
                  </a:lnTo>
                  <a:cubicBezTo>
                    <a:pt x="7613" y="10156"/>
                    <a:pt x="7627" y="10163"/>
                    <a:pt x="7642" y="10169"/>
                  </a:cubicBezTo>
                  <a:cubicBezTo>
                    <a:pt x="7656" y="10176"/>
                    <a:pt x="7669" y="10181"/>
                    <a:pt x="7680" y="10186"/>
                  </a:cubicBezTo>
                  <a:cubicBezTo>
                    <a:pt x="7692" y="10191"/>
                    <a:pt x="7701" y="10195"/>
                    <a:pt x="7709" y="10198"/>
                  </a:cubicBezTo>
                  <a:cubicBezTo>
                    <a:pt x="7716" y="10201"/>
                    <a:pt x="7720" y="10203"/>
                    <a:pt x="7721" y="10203"/>
                  </a:cubicBezTo>
                  <a:cubicBezTo>
                    <a:pt x="7719" y="10203"/>
                    <a:pt x="7716" y="10202"/>
                    <a:pt x="7709" y="10202"/>
                  </a:cubicBezTo>
                  <a:cubicBezTo>
                    <a:pt x="7703" y="10201"/>
                    <a:pt x="7696" y="10201"/>
                    <a:pt x="7686" y="10200"/>
                  </a:cubicBezTo>
                  <a:cubicBezTo>
                    <a:pt x="7677" y="10200"/>
                    <a:pt x="7667" y="10199"/>
                    <a:pt x="7655" y="10199"/>
                  </a:cubicBezTo>
                  <a:cubicBezTo>
                    <a:pt x="7644" y="10198"/>
                    <a:pt x="7632" y="10198"/>
                    <a:pt x="7621" y="10199"/>
                  </a:cubicBezTo>
                  <a:lnTo>
                    <a:pt x="7307" y="10206"/>
                  </a:lnTo>
                  <a:lnTo>
                    <a:pt x="7280" y="10260"/>
                  </a:lnTo>
                  <a:lnTo>
                    <a:pt x="7671" y="10452"/>
                  </a:lnTo>
                  <a:lnTo>
                    <a:pt x="7695" y="10404"/>
                  </a:lnTo>
                  <a:lnTo>
                    <a:pt x="7467" y="10295"/>
                  </a:lnTo>
                  <a:cubicBezTo>
                    <a:pt x="7456" y="10289"/>
                    <a:pt x="7444" y="10284"/>
                    <a:pt x="7433" y="10279"/>
                  </a:cubicBezTo>
                  <a:cubicBezTo>
                    <a:pt x="7421" y="10274"/>
                    <a:pt x="7410" y="10269"/>
                    <a:pt x="7400" y="10265"/>
                  </a:cubicBezTo>
                  <a:cubicBezTo>
                    <a:pt x="7390" y="10261"/>
                    <a:pt x="7382" y="10257"/>
                    <a:pt x="7374" y="10254"/>
                  </a:cubicBezTo>
                  <a:cubicBezTo>
                    <a:pt x="7367" y="10251"/>
                    <a:pt x="7362" y="10249"/>
                    <a:pt x="7359" y="10248"/>
                  </a:cubicBezTo>
                  <a:cubicBezTo>
                    <a:pt x="7363" y="10248"/>
                    <a:pt x="7368" y="10249"/>
                    <a:pt x="7376" y="10249"/>
                  </a:cubicBezTo>
                  <a:cubicBezTo>
                    <a:pt x="7383" y="10249"/>
                    <a:pt x="7392" y="10249"/>
                    <a:pt x="7402" y="10249"/>
                  </a:cubicBezTo>
                  <a:cubicBezTo>
                    <a:pt x="7412" y="10250"/>
                    <a:pt x="7423" y="10250"/>
                    <a:pt x="7436" y="10250"/>
                  </a:cubicBezTo>
                  <a:cubicBezTo>
                    <a:pt x="7448" y="10250"/>
                    <a:pt x="7461" y="10250"/>
                    <a:pt x="7474" y="10249"/>
                  </a:cubicBezTo>
                  <a:lnTo>
                    <a:pt x="7775" y="10242"/>
                  </a:lnTo>
                  <a:lnTo>
                    <a:pt x="7799" y="10193"/>
                  </a:lnTo>
                  <a:close/>
                  <a:moveTo>
                    <a:pt x="7823" y="9772"/>
                  </a:moveTo>
                  <a:cubicBezTo>
                    <a:pt x="7809" y="9770"/>
                    <a:pt x="7795" y="9771"/>
                    <a:pt x="7782" y="9775"/>
                  </a:cubicBezTo>
                  <a:cubicBezTo>
                    <a:pt x="7769" y="9778"/>
                    <a:pt x="7757" y="9784"/>
                    <a:pt x="7746" y="9791"/>
                  </a:cubicBezTo>
                  <a:cubicBezTo>
                    <a:pt x="7735" y="9798"/>
                    <a:pt x="7723" y="9809"/>
                    <a:pt x="7709" y="9824"/>
                  </a:cubicBezTo>
                  <a:lnTo>
                    <a:pt x="7672" y="9862"/>
                  </a:lnTo>
                  <a:cubicBezTo>
                    <a:pt x="7653" y="9882"/>
                    <a:pt x="7637" y="9894"/>
                    <a:pt x="7622" y="9900"/>
                  </a:cubicBezTo>
                  <a:cubicBezTo>
                    <a:pt x="7608" y="9905"/>
                    <a:pt x="7592" y="9904"/>
                    <a:pt x="7576" y="9896"/>
                  </a:cubicBezTo>
                  <a:cubicBezTo>
                    <a:pt x="7556" y="9886"/>
                    <a:pt x="7544" y="9871"/>
                    <a:pt x="7539" y="9852"/>
                  </a:cubicBezTo>
                  <a:cubicBezTo>
                    <a:pt x="7535" y="9833"/>
                    <a:pt x="7538" y="9811"/>
                    <a:pt x="7550" y="9786"/>
                  </a:cubicBezTo>
                  <a:cubicBezTo>
                    <a:pt x="7555" y="9778"/>
                    <a:pt x="7559" y="9770"/>
                    <a:pt x="7564" y="9763"/>
                  </a:cubicBezTo>
                  <a:cubicBezTo>
                    <a:pt x="7569" y="9756"/>
                    <a:pt x="7574" y="9750"/>
                    <a:pt x="7580" y="9744"/>
                  </a:cubicBezTo>
                  <a:cubicBezTo>
                    <a:pt x="7587" y="9738"/>
                    <a:pt x="7594" y="9732"/>
                    <a:pt x="7602" y="9726"/>
                  </a:cubicBezTo>
                  <a:cubicBezTo>
                    <a:pt x="7610" y="9720"/>
                    <a:pt x="7620" y="9714"/>
                    <a:pt x="7630" y="9707"/>
                  </a:cubicBezTo>
                  <a:lnTo>
                    <a:pt x="7607" y="9670"/>
                  </a:lnTo>
                  <a:cubicBezTo>
                    <a:pt x="7563" y="9695"/>
                    <a:pt x="7532" y="9728"/>
                    <a:pt x="7511" y="9770"/>
                  </a:cubicBezTo>
                  <a:cubicBezTo>
                    <a:pt x="7502" y="9789"/>
                    <a:pt x="7496" y="9807"/>
                    <a:pt x="7494" y="9826"/>
                  </a:cubicBezTo>
                  <a:cubicBezTo>
                    <a:pt x="7492" y="9844"/>
                    <a:pt x="7493" y="9861"/>
                    <a:pt x="7497" y="9877"/>
                  </a:cubicBezTo>
                  <a:cubicBezTo>
                    <a:pt x="7502" y="9893"/>
                    <a:pt x="7509" y="9907"/>
                    <a:pt x="7520" y="9920"/>
                  </a:cubicBezTo>
                  <a:cubicBezTo>
                    <a:pt x="7531" y="9933"/>
                    <a:pt x="7544" y="9943"/>
                    <a:pt x="7561" y="9951"/>
                  </a:cubicBezTo>
                  <a:cubicBezTo>
                    <a:pt x="7586" y="9964"/>
                    <a:pt x="7612" y="9966"/>
                    <a:pt x="7637" y="9958"/>
                  </a:cubicBezTo>
                  <a:cubicBezTo>
                    <a:pt x="7649" y="9955"/>
                    <a:pt x="7660" y="9949"/>
                    <a:pt x="7670" y="9941"/>
                  </a:cubicBezTo>
                  <a:cubicBezTo>
                    <a:pt x="7680" y="9933"/>
                    <a:pt x="7692" y="9921"/>
                    <a:pt x="7706" y="9906"/>
                  </a:cubicBezTo>
                  <a:lnTo>
                    <a:pt x="7737" y="9872"/>
                  </a:lnTo>
                  <a:cubicBezTo>
                    <a:pt x="7774" y="9833"/>
                    <a:pt x="7810" y="9821"/>
                    <a:pt x="7845" y="9838"/>
                  </a:cubicBezTo>
                  <a:cubicBezTo>
                    <a:pt x="7868" y="9850"/>
                    <a:pt x="7882" y="9868"/>
                    <a:pt x="7887" y="9894"/>
                  </a:cubicBezTo>
                  <a:cubicBezTo>
                    <a:pt x="7889" y="9905"/>
                    <a:pt x="7889" y="9916"/>
                    <a:pt x="7887" y="9926"/>
                  </a:cubicBezTo>
                  <a:cubicBezTo>
                    <a:pt x="7885" y="9937"/>
                    <a:pt x="7881" y="9949"/>
                    <a:pt x="7873" y="9964"/>
                  </a:cubicBezTo>
                  <a:cubicBezTo>
                    <a:pt x="7864" y="9984"/>
                    <a:pt x="7852" y="10001"/>
                    <a:pt x="7838" y="10015"/>
                  </a:cubicBezTo>
                  <a:cubicBezTo>
                    <a:pt x="7825" y="10029"/>
                    <a:pt x="7808" y="10042"/>
                    <a:pt x="7788" y="10052"/>
                  </a:cubicBezTo>
                  <a:lnTo>
                    <a:pt x="7815" y="10091"/>
                  </a:lnTo>
                  <a:cubicBezTo>
                    <a:pt x="7836" y="10077"/>
                    <a:pt x="7855" y="10062"/>
                    <a:pt x="7871" y="10045"/>
                  </a:cubicBezTo>
                  <a:cubicBezTo>
                    <a:pt x="7886" y="10027"/>
                    <a:pt x="7900" y="10006"/>
                    <a:pt x="7912" y="9983"/>
                  </a:cubicBezTo>
                  <a:cubicBezTo>
                    <a:pt x="7921" y="9965"/>
                    <a:pt x="7926" y="9948"/>
                    <a:pt x="7929" y="9932"/>
                  </a:cubicBezTo>
                  <a:cubicBezTo>
                    <a:pt x="7932" y="9917"/>
                    <a:pt x="7933" y="9900"/>
                    <a:pt x="7931" y="9883"/>
                  </a:cubicBezTo>
                  <a:cubicBezTo>
                    <a:pt x="7928" y="9861"/>
                    <a:pt x="7921" y="9840"/>
                    <a:pt x="7909" y="9823"/>
                  </a:cubicBezTo>
                  <a:cubicBezTo>
                    <a:pt x="7897" y="9805"/>
                    <a:pt x="7882" y="9792"/>
                    <a:pt x="7863" y="9783"/>
                  </a:cubicBezTo>
                  <a:cubicBezTo>
                    <a:pt x="7851" y="9777"/>
                    <a:pt x="7838" y="9773"/>
                    <a:pt x="7823" y="9772"/>
                  </a:cubicBezTo>
                  <a:close/>
                  <a:moveTo>
                    <a:pt x="7741" y="9325"/>
                  </a:moveTo>
                  <a:lnTo>
                    <a:pt x="7613" y="9584"/>
                  </a:lnTo>
                  <a:lnTo>
                    <a:pt x="7653" y="9603"/>
                  </a:lnTo>
                  <a:lnTo>
                    <a:pt x="7704" y="9498"/>
                  </a:lnTo>
                  <a:lnTo>
                    <a:pt x="8056" y="9671"/>
                  </a:lnTo>
                  <a:lnTo>
                    <a:pt x="8078" y="9626"/>
                  </a:lnTo>
                  <a:lnTo>
                    <a:pt x="7726" y="9453"/>
                  </a:lnTo>
                  <a:lnTo>
                    <a:pt x="7779" y="9347"/>
                  </a:lnTo>
                  <a:lnTo>
                    <a:pt x="7741" y="9325"/>
                  </a:lnTo>
                  <a:close/>
                  <a:moveTo>
                    <a:pt x="8272" y="9231"/>
                  </a:moveTo>
                  <a:lnTo>
                    <a:pt x="8232" y="9211"/>
                  </a:lnTo>
                  <a:lnTo>
                    <a:pt x="8147" y="9383"/>
                  </a:lnTo>
                  <a:lnTo>
                    <a:pt x="8004" y="9313"/>
                  </a:lnTo>
                  <a:lnTo>
                    <a:pt x="8070" y="9179"/>
                  </a:lnTo>
                  <a:lnTo>
                    <a:pt x="8030" y="9159"/>
                  </a:lnTo>
                  <a:lnTo>
                    <a:pt x="7964" y="9293"/>
                  </a:lnTo>
                  <a:lnTo>
                    <a:pt x="7836" y="9230"/>
                  </a:lnTo>
                  <a:lnTo>
                    <a:pt x="7914" y="9069"/>
                  </a:lnTo>
                  <a:lnTo>
                    <a:pt x="7879" y="9044"/>
                  </a:lnTo>
                  <a:lnTo>
                    <a:pt x="7774" y="9258"/>
                  </a:lnTo>
                  <a:lnTo>
                    <a:pt x="8164" y="9450"/>
                  </a:lnTo>
                  <a:lnTo>
                    <a:pt x="8272" y="9231"/>
                  </a:lnTo>
                  <a:close/>
                  <a:moveTo>
                    <a:pt x="8435" y="8900"/>
                  </a:moveTo>
                  <a:lnTo>
                    <a:pt x="8399" y="8904"/>
                  </a:lnTo>
                  <a:cubicBezTo>
                    <a:pt x="8382" y="8907"/>
                    <a:pt x="8365" y="8909"/>
                    <a:pt x="8346" y="8912"/>
                  </a:cubicBezTo>
                  <a:cubicBezTo>
                    <a:pt x="8327" y="8914"/>
                    <a:pt x="8310" y="8917"/>
                    <a:pt x="8293" y="8919"/>
                  </a:cubicBezTo>
                  <a:cubicBezTo>
                    <a:pt x="8277" y="8921"/>
                    <a:pt x="8265" y="8923"/>
                    <a:pt x="8258" y="8924"/>
                  </a:cubicBezTo>
                  <a:cubicBezTo>
                    <a:pt x="8248" y="8926"/>
                    <a:pt x="8238" y="8929"/>
                    <a:pt x="8226" y="8932"/>
                  </a:cubicBezTo>
                  <a:cubicBezTo>
                    <a:pt x="8214" y="8935"/>
                    <a:pt x="8204" y="8938"/>
                    <a:pt x="8195" y="8942"/>
                  </a:cubicBezTo>
                  <a:lnTo>
                    <a:pt x="8198" y="8936"/>
                  </a:lnTo>
                  <a:cubicBezTo>
                    <a:pt x="8206" y="8921"/>
                    <a:pt x="8210" y="8905"/>
                    <a:pt x="8211" y="8890"/>
                  </a:cubicBezTo>
                  <a:cubicBezTo>
                    <a:pt x="8212" y="8875"/>
                    <a:pt x="8210" y="8860"/>
                    <a:pt x="8206" y="8847"/>
                  </a:cubicBezTo>
                  <a:cubicBezTo>
                    <a:pt x="8201" y="8833"/>
                    <a:pt x="8193" y="8821"/>
                    <a:pt x="8182" y="8809"/>
                  </a:cubicBezTo>
                  <a:cubicBezTo>
                    <a:pt x="8171" y="8798"/>
                    <a:pt x="8158" y="8788"/>
                    <a:pt x="8142" y="8780"/>
                  </a:cubicBezTo>
                  <a:cubicBezTo>
                    <a:pt x="8132" y="8775"/>
                    <a:pt x="8122" y="8772"/>
                    <a:pt x="8112" y="8770"/>
                  </a:cubicBezTo>
                  <a:cubicBezTo>
                    <a:pt x="8102" y="8768"/>
                    <a:pt x="8093" y="8767"/>
                    <a:pt x="8084" y="8768"/>
                  </a:cubicBezTo>
                  <a:cubicBezTo>
                    <a:pt x="8076" y="8768"/>
                    <a:pt x="8068" y="8769"/>
                    <a:pt x="8060" y="8771"/>
                  </a:cubicBezTo>
                  <a:cubicBezTo>
                    <a:pt x="8053" y="8773"/>
                    <a:pt x="8046" y="8776"/>
                    <a:pt x="8041" y="8778"/>
                  </a:cubicBezTo>
                  <a:cubicBezTo>
                    <a:pt x="8035" y="8781"/>
                    <a:pt x="8029" y="8785"/>
                    <a:pt x="8023" y="8789"/>
                  </a:cubicBezTo>
                  <a:cubicBezTo>
                    <a:pt x="8017" y="8793"/>
                    <a:pt x="8011" y="8799"/>
                    <a:pt x="8005" y="8806"/>
                  </a:cubicBezTo>
                  <a:cubicBezTo>
                    <a:pt x="7999" y="8812"/>
                    <a:pt x="7992" y="8820"/>
                    <a:pt x="7986" y="8830"/>
                  </a:cubicBezTo>
                  <a:cubicBezTo>
                    <a:pt x="7980" y="8840"/>
                    <a:pt x="7974" y="8851"/>
                    <a:pt x="7967" y="8865"/>
                  </a:cubicBezTo>
                  <a:lnTo>
                    <a:pt x="7922" y="8956"/>
                  </a:lnTo>
                  <a:lnTo>
                    <a:pt x="8313" y="9148"/>
                  </a:lnTo>
                  <a:lnTo>
                    <a:pt x="8336" y="9103"/>
                  </a:lnTo>
                  <a:lnTo>
                    <a:pt x="8159" y="9016"/>
                  </a:lnTo>
                  <a:cubicBezTo>
                    <a:pt x="8164" y="9006"/>
                    <a:pt x="8170" y="8999"/>
                    <a:pt x="8176" y="8994"/>
                  </a:cubicBezTo>
                  <a:cubicBezTo>
                    <a:pt x="8182" y="8990"/>
                    <a:pt x="8192" y="8986"/>
                    <a:pt x="8206" y="8984"/>
                  </a:cubicBezTo>
                  <a:cubicBezTo>
                    <a:pt x="8229" y="8979"/>
                    <a:pt x="8251" y="8975"/>
                    <a:pt x="8272" y="8971"/>
                  </a:cubicBezTo>
                  <a:cubicBezTo>
                    <a:pt x="8292" y="8968"/>
                    <a:pt x="8312" y="8965"/>
                    <a:pt x="8329" y="8963"/>
                  </a:cubicBezTo>
                  <a:cubicBezTo>
                    <a:pt x="8346" y="8961"/>
                    <a:pt x="8361" y="8960"/>
                    <a:pt x="8375" y="8959"/>
                  </a:cubicBezTo>
                  <a:cubicBezTo>
                    <a:pt x="8388" y="8958"/>
                    <a:pt x="8399" y="8958"/>
                    <a:pt x="8406" y="8958"/>
                  </a:cubicBezTo>
                  <a:lnTo>
                    <a:pt x="8435" y="8900"/>
                  </a:lnTo>
                  <a:close/>
                  <a:moveTo>
                    <a:pt x="8149" y="8851"/>
                  </a:moveTo>
                  <a:cubicBezTo>
                    <a:pt x="8157" y="8859"/>
                    <a:pt x="8163" y="8868"/>
                    <a:pt x="8166" y="8878"/>
                  </a:cubicBezTo>
                  <a:cubicBezTo>
                    <a:pt x="8169" y="8889"/>
                    <a:pt x="8170" y="8900"/>
                    <a:pt x="8167" y="8913"/>
                  </a:cubicBezTo>
                  <a:cubicBezTo>
                    <a:pt x="8165" y="8926"/>
                    <a:pt x="8160" y="8941"/>
                    <a:pt x="8151" y="8958"/>
                  </a:cubicBezTo>
                  <a:lnTo>
                    <a:pt x="8130" y="9001"/>
                  </a:lnTo>
                  <a:lnTo>
                    <a:pt x="7984" y="8930"/>
                  </a:lnTo>
                  <a:lnTo>
                    <a:pt x="8007" y="8883"/>
                  </a:lnTo>
                  <a:cubicBezTo>
                    <a:pt x="8012" y="8872"/>
                    <a:pt x="8017" y="8863"/>
                    <a:pt x="8023" y="8856"/>
                  </a:cubicBezTo>
                  <a:cubicBezTo>
                    <a:pt x="8028" y="8849"/>
                    <a:pt x="8033" y="8843"/>
                    <a:pt x="8039" y="8838"/>
                  </a:cubicBezTo>
                  <a:cubicBezTo>
                    <a:pt x="8049" y="8829"/>
                    <a:pt x="8061" y="8824"/>
                    <a:pt x="8076" y="8822"/>
                  </a:cubicBezTo>
                  <a:cubicBezTo>
                    <a:pt x="8090" y="8820"/>
                    <a:pt x="8104" y="8822"/>
                    <a:pt x="8117" y="8829"/>
                  </a:cubicBezTo>
                  <a:cubicBezTo>
                    <a:pt x="8130" y="8835"/>
                    <a:pt x="8141" y="8842"/>
                    <a:pt x="8149" y="8851"/>
                  </a:cubicBezTo>
                  <a:close/>
                  <a:moveTo>
                    <a:pt x="8647" y="8688"/>
                  </a:moveTo>
                  <a:lnTo>
                    <a:pt x="8098" y="8418"/>
                  </a:lnTo>
                  <a:lnTo>
                    <a:pt x="8080" y="8456"/>
                  </a:lnTo>
                  <a:lnTo>
                    <a:pt x="8629" y="8726"/>
                  </a:lnTo>
                  <a:lnTo>
                    <a:pt x="8647" y="8688"/>
                  </a:lnTo>
                  <a:close/>
                  <a:moveTo>
                    <a:pt x="8422" y="7940"/>
                  </a:moveTo>
                  <a:lnTo>
                    <a:pt x="8399" y="7987"/>
                  </a:lnTo>
                  <a:lnTo>
                    <a:pt x="8671" y="8121"/>
                  </a:lnTo>
                  <a:cubicBezTo>
                    <a:pt x="8685" y="8127"/>
                    <a:pt x="8696" y="8134"/>
                    <a:pt x="8704" y="8140"/>
                  </a:cubicBezTo>
                  <a:cubicBezTo>
                    <a:pt x="8713" y="8146"/>
                    <a:pt x="8720" y="8155"/>
                    <a:pt x="8725" y="8165"/>
                  </a:cubicBezTo>
                  <a:cubicBezTo>
                    <a:pt x="8730" y="8175"/>
                    <a:pt x="8732" y="8187"/>
                    <a:pt x="8730" y="8201"/>
                  </a:cubicBezTo>
                  <a:cubicBezTo>
                    <a:pt x="8729" y="8215"/>
                    <a:pt x="8724" y="8230"/>
                    <a:pt x="8716" y="8246"/>
                  </a:cubicBezTo>
                  <a:cubicBezTo>
                    <a:pt x="8710" y="8259"/>
                    <a:pt x="8703" y="8268"/>
                    <a:pt x="8697" y="8276"/>
                  </a:cubicBezTo>
                  <a:cubicBezTo>
                    <a:pt x="8690" y="8284"/>
                    <a:pt x="8684" y="8290"/>
                    <a:pt x="8677" y="8294"/>
                  </a:cubicBezTo>
                  <a:cubicBezTo>
                    <a:pt x="8670" y="8298"/>
                    <a:pt x="8663" y="8301"/>
                    <a:pt x="8657" y="8302"/>
                  </a:cubicBezTo>
                  <a:cubicBezTo>
                    <a:pt x="8651" y="8304"/>
                    <a:pt x="8645" y="8304"/>
                    <a:pt x="8640" y="8304"/>
                  </a:cubicBezTo>
                  <a:cubicBezTo>
                    <a:pt x="8633" y="8304"/>
                    <a:pt x="8623" y="8301"/>
                    <a:pt x="8612" y="8297"/>
                  </a:cubicBezTo>
                  <a:cubicBezTo>
                    <a:pt x="8601" y="8293"/>
                    <a:pt x="8590" y="8288"/>
                    <a:pt x="8580" y="8283"/>
                  </a:cubicBezTo>
                  <a:lnTo>
                    <a:pt x="8317" y="8154"/>
                  </a:lnTo>
                  <a:lnTo>
                    <a:pt x="8294" y="8200"/>
                  </a:lnTo>
                  <a:lnTo>
                    <a:pt x="8575" y="8338"/>
                  </a:lnTo>
                  <a:cubicBezTo>
                    <a:pt x="8583" y="8342"/>
                    <a:pt x="8594" y="8346"/>
                    <a:pt x="8605" y="8351"/>
                  </a:cubicBezTo>
                  <a:cubicBezTo>
                    <a:pt x="8617" y="8355"/>
                    <a:pt x="8629" y="8357"/>
                    <a:pt x="8641" y="8356"/>
                  </a:cubicBezTo>
                  <a:cubicBezTo>
                    <a:pt x="8666" y="8355"/>
                    <a:pt x="8687" y="8348"/>
                    <a:pt x="8705" y="8334"/>
                  </a:cubicBezTo>
                  <a:cubicBezTo>
                    <a:pt x="8723" y="8321"/>
                    <a:pt x="8740" y="8299"/>
                    <a:pt x="8755" y="8268"/>
                  </a:cubicBezTo>
                  <a:cubicBezTo>
                    <a:pt x="8766" y="8244"/>
                    <a:pt x="8774" y="8223"/>
                    <a:pt x="8777" y="8205"/>
                  </a:cubicBezTo>
                  <a:cubicBezTo>
                    <a:pt x="8780" y="8186"/>
                    <a:pt x="8779" y="8168"/>
                    <a:pt x="8775" y="8151"/>
                  </a:cubicBezTo>
                  <a:cubicBezTo>
                    <a:pt x="8771" y="8134"/>
                    <a:pt x="8763" y="8121"/>
                    <a:pt x="8752" y="8110"/>
                  </a:cubicBezTo>
                  <a:cubicBezTo>
                    <a:pt x="8741" y="8100"/>
                    <a:pt x="8723" y="8089"/>
                    <a:pt x="8700" y="8077"/>
                  </a:cubicBezTo>
                  <a:lnTo>
                    <a:pt x="8422" y="7940"/>
                  </a:lnTo>
                  <a:close/>
                  <a:moveTo>
                    <a:pt x="8996" y="7760"/>
                  </a:moveTo>
                  <a:lnTo>
                    <a:pt x="8605" y="7568"/>
                  </a:lnTo>
                  <a:lnTo>
                    <a:pt x="8582" y="7614"/>
                  </a:lnTo>
                  <a:lnTo>
                    <a:pt x="8796" y="7717"/>
                  </a:lnTo>
                  <a:cubicBezTo>
                    <a:pt x="8810" y="7724"/>
                    <a:pt x="8824" y="7731"/>
                    <a:pt x="8838" y="7737"/>
                  </a:cubicBezTo>
                  <a:cubicBezTo>
                    <a:pt x="8853" y="7743"/>
                    <a:pt x="8866" y="7749"/>
                    <a:pt x="8877" y="7754"/>
                  </a:cubicBezTo>
                  <a:cubicBezTo>
                    <a:pt x="8889" y="7759"/>
                    <a:pt x="8898" y="7763"/>
                    <a:pt x="8906" y="7766"/>
                  </a:cubicBezTo>
                  <a:cubicBezTo>
                    <a:pt x="8913" y="7769"/>
                    <a:pt x="8917" y="7770"/>
                    <a:pt x="8917" y="7770"/>
                  </a:cubicBezTo>
                  <a:cubicBezTo>
                    <a:pt x="8916" y="7770"/>
                    <a:pt x="8912" y="7770"/>
                    <a:pt x="8906" y="7769"/>
                  </a:cubicBezTo>
                  <a:cubicBezTo>
                    <a:pt x="8900" y="7769"/>
                    <a:pt x="8892" y="7769"/>
                    <a:pt x="8883" y="7768"/>
                  </a:cubicBezTo>
                  <a:cubicBezTo>
                    <a:pt x="8874" y="7768"/>
                    <a:pt x="8864" y="7767"/>
                    <a:pt x="8852" y="7767"/>
                  </a:cubicBezTo>
                  <a:cubicBezTo>
                    <a:pt x="8841" y="7766"/>
                    <a:pt x="8829" y="7766"/>
                    <a:pt x="8817" y="7766"/>
                  </a:cubicBezTo>
                  <a:lnTo>
                    <a:pt x="8504" y="7774"/>
                  </a:lnTo>
                  <a:lnTo>
                    <a:pt x="8477" y="7828"/>
                  </a:lnTo>
                  <a:lnTo>
                    <a:pt x="8868" y="8020"/>
                  </a:lnTo>
                  <a:lnTo>
                    <a:pt x="8892" y="7972"/>
                  </a:lnTo>
                  <a:lnTo>
                    <a:pt x="8664" y="7862"/>
                  </a:lnTo>
                  <a:cubicBezTo>
                    <a:pt x="8653" y="7857"/>
                    <a:pt x="8641" y="7851"/>
                    <a:pt x="8630" y="7846"/>
                  </a:cubicBezTo>
                  <a:cubicBezTo>
                    <a:pt x="8618" y="7841"/>
                    <a:pt x="8607" y="7837"/>
                    <a:pt x="8597" y="7833"/>
                  </a:cubicBezTo>
                  <a:cubicBezTo>
                    <a:pt x="8587" y="7828"/>
                    <a:pt x="8578" y="7825"/>
                    <a:pt x="8571" y="7821"/>
                  </a:cubicBezTo>
                  <a:cubicBezTo>
                    <a:pt x="8564" y="7818"/>
                    <a:pt x="8559" y="7816"/>
                    <a:pt x="8556" y="7815"/>
                  </a:cubicBezTo>
                  <a:cubicBezTo>
                    <a:pt x="8560" y="7816"/>
                    <a:pt x="8565" y="7816"/>
                    <a:pt x="8573" y="7817"/>
                  </a:cubicBezTo>
                  <a:cubicBezTo>
                    <a:pt x="8580" y="7817"/>
                    <a:pt x="8589" y="7817"/>
                    <a:pt x="8599" y="7817"/>
                  </a:cubicBezTo>
                  <a:cubicBezTo>
                    <a:pt x="8609" y="7817"/>
                    <a:pt x="8620" y="7817"/>
                    <a:pt x="8632" y="7817"/>
                  </a:cubicBezTo>
                  <a:cubicBezTo>
                    <a:pt x="8645" y="7817"/>
                    <a:pt x="8657" y="7817"/>
                    <a:pt x="8671" y="7817"/>
                  </a:cubicBezTo>
                  <a:lnTo>
                    <a:pt x="8972" y="7809"/>
                  </a:lnTo>
                  <a:lnTo>
                    <a:pt x="8996" y="7760"/>
                  </a:lnTo>
                  <a:close/>
                  <a:moveTo>
                    <a:pt x="4776" y="18063"/>
                  </a:moveTo>
                  <a:lnTo>
                    <a:pt x="4739" y="18068"/>
                  </a:lnTo>
                  <a:cubicBezTo>
                    <a:pt x="4723" y="18070"/>
                    <a:pt x="4705" y="18073"/>
                    <a:pt x="4686" y="18075"/>
                  </a:cubicBezTo>
                  <a:cubicBezTo>
                    <a:pt x="4668" y="18078"/>
                    <a:pt x="4650" y="18080"/>
                    <a:pt x="4633" y="18082"/>
                  </a:cubicBezTo>
                  <a:cubicBezTo>
                    <a:pt x="4617" y="18085"/>
                    <a:pt x="4605" y="18087"/>
                    <a:pt x="4599" y="18088"/>
                  </a:cubicBezTo>
                  <a:cubicBezTo>
                    <a:pt x="4589" y="18090"/>
                    <a:pt x="4578" y="18092"/>
                    <a:pt x="4566" y="18095"/>
                  </a:cubicBezTo>
                  <a:cubicBezTo>
                    <a:pt x="4554" y="18098"/>
                    <a:pt x="4544" y="18102"/>
                    <a:pt x="4535" y="18106"/>
                  </a:cubicBezTo>
                  <a:lnTo>
                    <a:pt x="4538" y="18100"/>
                  </a:lnTo>
                  <a:cubicBezTo>
                    <a:pt x="4546" y="18084"/>
                    <a:pt x="4550" y="18069"/>
                    <a:pt x="4551" y="18054"/>
                  </a:cubicBezTo>
                  <a:cubicBezTo>
                    <a:pt x="4552" y="18038"/>
                    <a:pt x="4551" y="18024"/>
                    <a:pt x="4546" y="18010"/>
                  </a:cubicBezTo>
                  <a:cubicBezTo>
                    <a:pt x="4541" y="17997"/>
                    <a:pt x="4533" y="17984"/>
                    <a:pt x="4522" y="17972"/>
                  </a:cubicBezTo>
                  <a:cubicBezTo>
                    <a:pt x="4511" y="17961"/>
                    <a:pt x="4498" y="17951"/>
                    <a:pt x="4482" y="17943"/>
                  </a:cubicBezTo>
                  <a:cubicBezTo>
                    <a:pt x="4472" y="17938"/>
                    <a:pt x="4462" y="17935"/>
                    <a:pt x="4452" y="17933"/>
                  </a:cubicBezTo>
                  <a:cubicBezTo>
                    <a:pt x="4442" y="17932"/>
                    <a:pt x="4433" y="17931"/>
                    <a:pt x="4424" y="17931"/>
                  </a:cubicBezTo>
                  <a:cubicBezTo>
                    <a:pt x="4416" y="17931"/>
                    <a:pt x="4408" y="17932"/>
                    <a:pt x="4400" y="17935"/>
                  </a:cubicBezTo>
                  <a:cubicBezTo>
                    <a:pt x="4393" y="17937"/>
                    <a:pt x="4387" y="17939"/>
                    <a:pt x="4381" y="17942"/>
                  </a:cubicBezTo>
                  <a:cubicBezTo>
                    <a:pt x="4375" y="17945"/>
                    <a:pt x="4369" y="17948"/>
                    <a:pt x="4363" y="17952"/>
                  </a:cubicBezTo>
                  <a:cubicBezTo>
                    <a:pt x="4357" y="17957"/>
                    <a:pt x="4351" y="17962"/>
                    <a:pt x="4345" y="17969"/>
                  </a:cubicBezTo>
                  <a:cubicBezTo>
                    <a:pt x="4339" y="17976"/>
                    <a:pt x="4333" y="17984"/>
                    <a:pt x="4326" y="17994"/>
                  </a:cubicBezTo>
                  <a:cubicBezTo>
                    <a:pt x="4320" y="18003"/>
                    <a:pt x="4314" y="18015"/>
                    <a:pt x="4307" y="18028"/>
                  </a:cubicBezTo>
                  <a:lnTo>
                    <a:pt x="4263" y="18119"/>
                  </a:lnTo>
                  <a:lnTo>
                    <a:pt x="4536" y="18254"/>
                  </a:lnTo>
                  <a:lnTo>
                    <a:pt x="4651" y="18254"/>
                  </a:lnTo>
                  <a:lnTo>
                    <a:pt x="4499" y="18179"/>
                  </a:lnTo>
                  <a:cubicBezTo>
                    <a:pt x="4504" y="18169"/>
                    <a:pt x="4510" y="18162"/>
                    <a:pt x="4516" y="18158"/>
                  </a:cubicBezTo>
                  <a:cubicBezTo>
                    <a:pt x="4523" y="18153"/>
                    <a:pt x="4532" y="18150"/>
                    <a:pt x="4546" y="18147"/>
                  </a:cubicBezTo>
                  <a:cubicBezTo>
                    <a:pt x="4569" y="18142"/>
                    <a:pt x="4591" y="18138"/>
                    <a:pt x="4612" y="18135"/>
                  </a:cubicBezTo>
                  <a:cubicBezTo>
                    <a:pt x="4633" y="18131"/>
                    <a:pt x="4652" y="18129"/>
                    <a:pt x="4669" y="18126"/>
                  </a:cubicBezTo>
                  <a:cubicBezTo>
                    <a:pt x="4686" y="18124"/>
                    <a:pt x="4702" y="18123"/>
                    <a:pt x="4715" y="18122"/>
                  </a:cubicBezTo>
                  <a:cubicBezTo>
                    <a:pt x="4728" y="18122"/>
                    <a:pt x="4739" y="18122"/>
                    <a:pt x="4747" y="18122"/>
                  </a:cubicBezTo>
                  <a:lnTo>
                    <a:pt x="4776" y="18063"/>
                  </a:lnTo>
                  <a:close/>
                  <a:moveTo>
                    <a:pt x="9002" y="9474"/>
                  </a:moveTo>
                  <a:lnTo>
                    <a:pt x="9002" y="9372"/>
                  </a:lnTo>
                  <a:lnTo>
                    <a:pt x="8955" y="9467"/>
                  </a:lnTo>
                  <a:lnTo>
                    <a:pt x="8812" y="9397"/>
                  </a:lnTo>
                  <a:lnTo>
                    <a:pt x="8878" y="9263"/>
                  </a:lnTo>
                  <a:lnTo>
                    <a:pt x="8837" y="9243"/>
                  </a:lnTo>
                  <a:lnTo>
                    <a:pt x="8772" y="9377"/>
                  </a:lnTo>
                  <a:lnTo>
                    <a:pt x="8643" y="9314"/>
                  </a:lnTo>
                  <a:lnTo>
                    <a:pt x="8722" y="9154"/>
                  </a:lnTo>
                  <a:lnTo>
                    <a:pt x="8687" y="9129"/>
                  </a:lnTo>
                  <a:lnTo>
                    <a:pt x="8581" y="9342"/>
                  </a:lnTo>
                  <a:lnTo>
                    <a:pt x="8972" y="9535"/>
                  </a:lnTo>
                  <a:lnTo>
                    <a:pt x="9002" y="9474"/>
                  </a:lnTo>
                  <a:close/>
                  <a:moveTo>
                    <a:pt x="9002" y="8988"/>
                  </a:moveTo>
                  <a:lnTo>
                    <a:pt x="9002" y="8936"/>
                  </a:lnTo>
                  <a:lnTo>
                    <a:pt x="8805" y="8888"/>
                  </a:lnTo>
                  <a:lnTo>
                    <a:pt x="8780" y="8938"/>
                  </a:lnTo>
                  <a:lnTo>
                    <a:pt x="9002" y="8988"/>
                  </a:lnTo>
                  <a:close/>
                  <a:moveTo>
                    <a:pt x="9002" y="8843"/>
                  </a:moveTo>
                  <a:lnTo>
                    <a:pt x="9002" y="8784"/>
                  </a:lnTo>
                  <a:cubicBezTo>
                    <a:pt x="8996" y="8780"/>
                    <a:pt x="8990" y="8776"/>
                    <a:pt x="8985" y="8772"/>
                  </a:cubicBezTo>
                  <a:cubicBezTo>
                    <a:pt x="8976" y="8765"/>
                    <a:pt x="8969" y="8760"/>
                    <a:pt x="8963" y="8756"/>
                  </a:cubicBezTo>
                  <a:cubicBezTo>
                    <a:pt x="8957" y="8752"/>
                    <a:pt x="8954" y="8750"/>
                    <a:pt x="8953" y="8749"/>
                  </a:cubicBezTo>
                  <a:cubicBezTo>
                    <a:pt x="8954" y="8749"/>
                    <a:pt x="8958" y="8751"/>
                    <a:pt x="8965" y="8753"/>
                  </a:cubicBezTo>
                  <a:cubicBezTo>
                    <a:pt x="8972" y="8755"/>
                    <a:pt x="8981" y="8757"/>
                    <a:pt x="8991" y="8760"/>
                  </a:cubicBezTo>
                  <a:lnTo>
                    <a:pt x="9002" y="8763"/>
                  </a:lnTo>
                  <a:lnTo>
                    <a:pt x="9002" y="8714"/>
                  </a:lnTo>
                  <a:lnTo>
                    <a:pt x="8902" y="8690"/>
                  </a:lnTo>
                  <a:lnTo>
                    <a:pt x="8876" y="8743"/>
                  </a:lnTo>
                  <a:lnTo>
                    <a:pt x="9002" y="8843"/>
                  </a:lnTo>
                  <a:close/>
                  <a:moveTo>
                    <a:pt x="9002" y="8567"/>
                  </a:moveTo>
                  <a:lnTo>
                    <a:pt x="9002" y="8502"/>
                  </a:lnTo>
                  <a:lnTo>
                    <a:pt x="8997" y="8498"/>
                  </a:lnTo>
                  <a:lnTo>
                    <a:pt x="8974" y="8545"/>
                  </a:lnTo>
                  <a:lnTo>
                    <a:pt x="9002" y="8567"/>
                  </a:lnTo>
                  <a:close/>
                  <a:moveTo>
                    <a:pt x="4489" y="18014"/>
                  </a:moveTo>
                  <a:cubicBezTo>
                    <a:pt x="4498" y="18023"/>
                    <a:pt x="4503" y="18032"/>
                    <a:pt x="4506" y="18041"/>
                  </a:cubicBezTo>
                  <a:cubicBezTo>
                    <a:pt x="4509" y="18052"/>
                    <a:pt x="4510" y="18064"/>
                    <a:pt x="4508" y="18076"/>
                  </a:cubicBezTo>
                  <a:cubicBezTo>
                    <a:pt x="4505" y="18089"/>
                    <a:pt x="4500" y="18104"/>
                    <a:pt x="4491" y="18122"/>
                  </a:cubicBezTo>
                  <a:lnTo>
                    <a:pt x="4470" y="18165"/>
                  </a:lnTo>
                  <a:lnTo>
                    <a:pt x="4324" y="18093"/>
                  </a:lnTo>
                  <a:lnTo>
                    <a:pt x="4347" y="18046"/>
                  </a:lnTo>
                  <a:cubicBezTo>
                    <a:pt x="4352" y="18036"/>
                    <a:pt x="4358" y="18027"/>
                    <a:pt x="4363" y="18020"/>
                  </a:cubicBezTo>
                  <a:cubicBezTo>
                    <a:pt x="4368" y="18013"/>
                    <a:pt x="4374" y="18006"/>
                    <a:pt x="4379" y="18001"/>
                  </a:cubicBezTo>
                  <a:cubicBezTo>
                    <a:pt x="4389" y="17992"/>
                    <a:pt x="4402" y="17987"/>
                    <a:pt x="4416" y="17985"/>
                  </a:cubicBezTo>
                  <a:cubicBezTo>
                    <a:pt x="4431" y="17984"/>
                    <a:pt x="4444" y="17986"/>
                    <a:pt x="4457" y="17992"/>
                  </a:cubicBezTo>
                  <a:cubicBezTo>
                    <a:pt x="4470" y="17999"/>
                    <a:pt x="4481" y="18006"/>
                    <a:pt x="4489" y="18014"/>
                  </a:cubicBezTo>
                  <a:close/>
                  <a:moveTo>
                    <a:pt x="4787" y="17669"/>
                  </a:moveTo>
                  <a:cubicBezTo>
                    <a:pt x="4772" y="17668"/>
                    <a:pt x="4758" y="17669"/>
                    <a:pt x="4745" y="17672"/>
                  </a:cubicBezTo>
                  <a:cubicBezTo>
                    <a:pt x="4732" y="17676"/>
                    <a:pt x="4720" y="17681"/>
                    <a:pt x="4709" y="17688"/>
                  </a:cubicBezTo>
                  <a:cubicBezTo>
                    <a:pt x="4698" y="17696"/>
                    <a:pt x="4686" y="17707"/>
                    <a:pt x="4672" y="17722"/>
                  </a:cubicBezTo>
                  <a:lnTo>
                    <a:pt x="4635" y="17760"/>
                  </a:lnTo>
                  <a:cubicBezTo>
                    <a:pt x="4616" y="17779"/>
                    <a:pt x="4600" y="17792"/>
                    <a:pt x="4585" y="17797"/>
                  </a:cubicBezTo>
                  <a:cubicBezTo>
                    <a:pt x="4571" y="17802"/>
                    <a:pt x="4556" y="17801"/>
                    <a:pt x="4540" y="17793"/>
                  </a:cubicBezTo>
                  <a:cubicBezTo>
                    <a:pt x="4520" y="17783"/>
                    <a:pt x="4507" y="17769"/>
                    <a:pt x="4502" y="17750"/>
                  </a:cubicBezTo>
                  <a:cubicBezTo>
                    <a:pt x="4498" y="17730"/>
                    <a:pt x="4502" y="17708"/>
                    <a:pt x="4514" y="17684"/>
                  </a:cubicBezTo>
                  <a:cubicBezTo>
                    <a:pt x="4518" y="17675"/>
                    <a:pt x="4522" y="17668"/>
                    <a:pt x="4527" y="17661"/>
                  </a:cubicBezTo>
                  <a:cubicBezTo>
                    <a:pt x="4532" y="17654"/>
                    <a:pt x="4537" y="17647"/>
                    <a:pt x="4544" y="17641"/>
                  </a:cubicBezTo>
                  <a:cubicBezTo>
                    <a:pt x="4550" y="17635"/>
                    <a:pt x="4557" y="17629"/>
                    <a:pt x="4565" y="17623"/>
                  </a:cubicBezTo>
                  <a:cubicBezTo>
                    <a:pt x="4573" y="17617"/>
                    <a:pt x="4583" y="17611"/>
                    <a:pt x="4594" y="17605"/>
                  </a:cubicBezTo>
                  <a:lnTo>
                    <a:pt x="4570" y="17568"/>
                  </a:lnTo>
                  <a:cubicBezTo>
                    <a:pt x="4527" y="17593"/>
                    <a:pt x="4495" y="17626"/>
                    <a:pt x="4474" y="17667"/>
                  </a:cubicBezTo>
                  <a:cubicBezTo>
                    <a:pt x="4465" y="17686"/>
                    <a:pt x="4459" y="17705"/>
                    <a:pt x="4457" y="17723"/>
                  </a:cubicBezTo>
                  <a:cubicBezTo>
                    <a:pt x="4455" y="17741"/>
                    <a:pt x="4456" y="17758"/>
                    <a:pt x="4461" y="17774"/>
                  </a:cubicBezTo>
                  <a:cubicBezTo>
                    <a:pt x="4465" y="17790"/>
                    <a:pt x="4473" y="17804"/>
                    <a:pt x="4483" y="17817"/>
                  </a:cubicBezTo>
                  <a:cubicBezTo>
                    <a:pt x="4494" y="17830"/>
                    <a:pt x="4508" y="17841"/>
                    <a:pt x="4524" y="17849"/>
                  </a:cubicBezTo>
                  <a:cubicBezTo>
                    <a:pt x="4550" y="17861"/>
                    <a:pt x="4575" y="17863"/>
                    <a:pt x="4600" y="17856"/>
                  </a:cubicBezTo>
                  <a:cubicBezTo>
                    <a:pt x="4612" y="17852"/>
                    <a:pt x="4623" y="17846"/>
                    <a:pt x="4633" y="17838"/>
                  </a:cubicBezTo>
                  <a:cubicBezTo>
                    <a:pt x="4643" y="17830"/>
                    <a:pt x="4655" y="17819"/>
                    <a:pt x="4669" y="17803"/>
                  </a:cubicBezTo>
                  <a:lnTo>
                    <a:pt x="4701" y="17770"/>
                  </a:lnTo>
                  <a:cubicBezTo>
                    <a:pt x="4738" y="17730"/>
                    <a:pt x="4773" y="17719"/>
                    <a:pt x="4808" y="17736"/>
                  </a:cubicBezTo>
                  <a:cubicBezTo>
                    <a:pt x="4831" y="17747"/>
                    <a:pt x="4845" y="17766"/>
                    <a:pt x="4850" y="17791"/>
                  </a:cubicBezTo>
                  <a:cubicBezTo>
                    <a:pt x="4852" y="17803"/>
                    <a:pt x="4853" y="17814"/>
                    <a:pt x="4851" y="17824"/>
                  </a:cubicBezTo>
                  <a:cubicBezTo>
                    <a:pt x="4849" y="17834"/>
                    <a:pt x="4844" y="17847"/>
                    <a:pt x="4837" y="17862"/>
                  </a:cubicBezTo>
                  <a:cubicBezTo>
                    <a:pt x="4827" y="17881"/>
                    <a:pt x="4815" y="17898"/>
                    <a:pt x="4802" y="17913"/>
                  </a:cubicBezTo>
                  <a:cubicBezTo>
                    <a:pt x="4788" y="17927"/>
                    <a:pt x="4771" y="17939"/>
                    <a:pt x="4751" y="17950"/>
                  </a:cubicBezTo>
                  <a:lnTo>
                    <a:pt x="4778" y="17988"/>
                  </a:lnTo>
                  <a:cubicBezTo>
                    <a:pt x="4799" y="17975"/>
                    <a:pt x="4818" y="17959"/>
                    <a:pt x="4834" y="17942"/>
                  </a:cubicBezTo>
                  <a:cubicBezTo>
                    <a:pt x="4850" y="17924"/>
                    <a:pt x="4863" y="17904"/>
                    <a:pt x="4875" y="17880"/>
                  </a:cubicBezTo>
                  <a:cubicBezTo>
                    <a:pt x="4884" y="17862"/>
                    <a:pt x="4890" y="17845"/>
                    <a:pt x="4893" y="17830"/>
                  </a:cubicBezTo>
                  <a:cubicBezTo>
                    <a:pt x="4896" y="17814"/>
                    <a:pt x="4896" y="17798"/>
                    <a:pt x="4894" y="17781"/>
                  </a:cubicBezTo>
                  <a:cubicBezTo>
                    <a:pt x="4892" y="17758"/>
                    <a:pt x="4884" y="17738"/>
                    <a:pt x="4872" y="17720"/>
                  </a:cubicBezTo>
                  <a:cubicBezTo>
                    <a:pt x="4860" y="17703"/>
                    <a:pt x="4845" y="17689"/>
                    <a:pt x="4827" y="17680"/>
                  </a:cubicBezTo>
                  <a:cubicBezTo>
                    <a:pt x="4815" y="17674"/>
                    <a:pt x="4801" y="17671"/>
                    <a:pt x="4787" y="17669"/>
                  </a:cubicBezTo>
                  <a:close/>
                  <a:moveTo>
                    <a:pt x="5004" y="17599"/>
                  </a:moveTo>
                  <a:lnTo>
                    <a:pt x="4613" y="17406"/>
                  </a:lnTo>
                  <a:lnTo>
                    <a:pt x="4591" y="17452"/>
                  </a:lnTo>
                  <a:lnTo>
                    <a:pt x="4982" y="17644"/>
                  </a:lnTo>
                  <a:lnTo>
                    <a:pt x="5004" y="17599"/>
                  </a:lnTo>
                  <a:close/>
                  <a:moveTo>
                    <a:pt x="4779" y="17069"/>
                  </a:moveTo>
                  <a:lnTo>
                    <a:pt x="4652" y="17328"/>
                  </a:lnTo>
                  <a:lnTo>
                    <a:pt x="4691" y="17347"/>
                  </a:lnTo>
                  <a:lnTo>
                    <a:pt x="4743" y="17243"/>
                  </a:lnTo>
                  <a:lnTo>
                    <a:pt x="5094" y="17415"/>
                  </a:lnTo>
                  <a:lnTo>
                    <a:pt x="5116" y="17370"/>
                  </a:lnTo>
                  <a:lnTo>
                    <a:pt x="4765" y="17198"/>
                  </a:lnTo>
                  <a:lnTo>
                    <a:pt x="4817" y="17092"/>
                  </a:lnTo>
                  <a:lnTo>
                    <a:pt x="4779" y="17069"/>
                  </a:lnTo>
                  <a:close/>
                  <a:moveTo>
                    <a:pt x="4947" y="16729"/>
                  </a:moveTo>
                  <a:lnTo>
                    <a:pt x="4920" y="16783"/>
                  </a:lnTo>
                  <a:lnTo>
                    <a:pt x="5033" y="16931"/>
                  </a:lnTo>
                  <a:cubicBezTo>
                    <a:pt x="5040" y="16941"/>
                    <a:pt x="5047" y="16951"/>
                    <a:pt x="5053" y="16959"/>
                  </a:cubicBezTo>
                  <a:cubicBezTo>
                    <a:pt x="5060" y="16967"/>
                    <a:pt x="5064" y="16972"/>
                    <a:pt x="5066" y="16974"/>
                  </a:cubicBezTo>
                  <a:cubicBezTo>
                    <a:pt x="5057" y="16974"/>
                    <a:pt x="5048" y="16973"/>
                    <a:pt x="5039" y="16973"/>
                  </a:cubicBezTo>
                  <a:cubicBezTo>
                    <a:pt x="5031" y="16972"/>
                    <a:pt x="5022" y="16972"/>
                    <a:pt x="5012" y="16972"/>
                  </a:cubicBezTo>
                  <a:lnTo>
                    <a:pt x="4827" y="16973"/>
                  </a:lnTo>
                  <a:lnTo>
                    <a:pt x="4798" y="17030"/>
                  </a:lnTo>
                  <a:lnTo>
                    <a:pt x="5096" y="17021"/>
                  </a:lnTo>
                  <a:lnTo>
                    <a:pt x="5251" y="17097"/>
                  </a:lnTo>
                  <a:lnTo>
                    <a:pt x="5275" y="17048"/>
                  </a:lnTo>
                  <a:lnTo>
                    <a:pt x="5123" y="16973"/>
                  </a:lnTo>
                  <a:lnTo>
                    <a:pt x="4947" y="16729"/>
                  </a:lnTo>
                  <a:close/>
                  <a:moveTo>
                    <a:pt x="5306" y="16300"/>
                  </a:moveTo>
                  <a:cubicBezTo>
                    <a:pt x="5280" y="16294"/>
                    <a:pt x="5255" y="16293"/>
                    <a:pt x="5230" y="16296"/>
                  </a:cubicBezTo>
                  <a:cubicBezTo>
                    <a:pt x="5221" y="16297"/>
                    <a:pt x="5211" y="16300"/>
                    <a:pt x="5200" y="16303"/>
                  </a:cubicBezTo>
                  <a:cubicBezTo>
                    <a:pt x="5189" y="16307"/>
                    <a:pt x="5178" y="16312"/>
                    <a:pt x="5167" y="16318"/>
                  </a:cubicBezTo>
                  <a:cubicBezTo>
                    <a:pt x="5156" y="16325"/>
                    <a:pt x="5145" y="16334"/>
                    <a:pt x="5134" y="16345"/>
                  </a:cubicBezTo>
                  <a:cubicBezTo>
                    <a:pt x="5124" y="16357"/>
                    <a:pt x="5114" y="16371"/>
                    <a:pt x="5106" y="16388"/>
                  </a:cubicBezTo>
                  <a:cubicBezTo>
                    <a:pt x="5094" y="16412"/>
                    <a:pt x="5088" y="16436"/>
                    <a:pt x="5088" y="16460"/>
                  </a:cubicBezTo>
                  <a:cubicBezTo>
                    <a:pt x="5088" y="16484"/>
                    <a:pt x="5093" y="16506"/>
                    <a:pt x="5104" y="16528"/>
                  </a:cubicBezTo>
                  <a:cubicBezTo>
                    <a:pt x="5115" y="16550"/>
                    <a:pt x="5130" y="16571"/>
                    <a:pt x="5152" y="16590"/>
                  </a:cubicBezTo>
                  <a:cubicBezTo>
                    <a:pt x="5173" y="16609"/>
                    <a:pt x="5199" y="16627"/>
                    <a:pt x="5230" y="16642"/>
                  </a:cubicBezTo>
                  <a:cubicBezTo>
                    <a:pt x="5298" y="16675"/>
                    <a:pt x="5357" y="16685"/>
                    <a:pt x="5408" y="16672"/>
                  </a:cubicBezTo>
                  <a:cubicBezTo>
                    <a:pt x="5430" y="16666"/>
                    <a:pt x="5450" y="16656"/>
                    <a:pt x="5468" y="16642"/>
                  </a:cubicBezTo>
                  <a:cubicBezTo>
                    <a:pt x="5486" y="16628"/>
                    <a:pt x="5500" y="16609"/>
                    <a:pt x="5512" y="16585"/>
                  </a:cubicBezTo>
                  <a:cubicBezTo>
                    <a:pt x="5522" y="16564"/>
                    <a:pt x="5528" y="16545"/>
                    <a:pt x="5530" y="16526"/>
                  </a:cubicBezTo>
                  <a:cubicBezTo>
                    <a:pt x="5532" y="16508"/>
                    <a:pt x="5530" y="16488"/>
                    <a:pt x="5523" y="16467"/>
                  </a:cubicBezTo>
                  <a:cubicBezTo>
                    <a:pt x="5515" y="16438"/>
                    <a:pt x="5500" y="16413"/>
                    <a:pt x="5480" y="16392"/>
                  </a:cubicBezTo>
                  <a:cubicBezTo>
                    <a:pt x="5459" y="16370"/>
                    <a:pt x="5430" y="16350"/>
                    <a:pt x="5393" y="16332"/>
                  </a:cubicBezTo>
                  <a:cubicBezTo>
                    <a:pt x="5361" y="16316"/>
                    <a:pt x="5332" y="16306"/>
                    <a:pt x="5306" y="16300"/>
                  </a:cubicBezTo>
                  <a:close/>
                  <a:moveTo>
                    <a:pt x="5415" y="16410"/>
                  </a:moveTo>
                  <a:cubicBezTo>
                    <a:pt x="5427" y="16418"/>
                    <a:pt x="5437" y="16425"/>
                    <a:pt x="5445" y="16432"/>
                  </a:cubicBezTo>
                  <a:cubicBezTo>
                    <a:pt x="5454" y="16439"/>
                    <a:pt x="5461" y="16446"/>
                    <a:pt x="5466" y="16453"/>
                  </a:cubicBezTo>
                  <a:cubicBezTo>
                    <a:pt x="5472" y="16460"/>
                    <a:pt x="5476" y="16467"/>
                    <a:pt x="5480" y="16475"/>
                  </a:cubicBezTo>
                  <a:cubicBezTo>
                    <a:pt x="5486" y="16490"/>
                    <a:pt x="5490" y="16504"/>
                    <a:pt x="5490" y="16519"/>
                  </a:cubicBezTo>
                  <a:cubicBezTo>
                    <a:pt x="5489" y="16534"/>
                    <a:pt x="5485" y="16549"/>
                    <a:pt x="5477" y="16565"/>
                  </a:cubicBezTo>
                  <a:cubicBezTo>
                    <a:pt x="5474" y="16573"/>
                    <a:pt x="5469" y="16580"/>
                    <a:pt x="5462" y="16588"/>
                  </a:cubicBezTo>
                  <a:cubicBezTo>
                    <a:pt x="5456" y="16595"/>
                    <a:pt x="5449" y="16602"/>
                    <a:pt x="5442" y="16607"/>
                  </a:cubicBezTo>
                  <a:cubicBezTo>
                    <a:pt x="5435" y="16613"/>
                    <a:pt x="5427" y="16617"/>
                    <a:pt x="5419" y="16621"/>
                  </a:cubicBezTo>
                  <a:cubicBezTo>
                    <a:pt x="5411" y="16625"/>
                    <a:pt x="5403" y="16627"/>
                    <a:pt x="5394" y="16627"/>
                  </a:cubicBezTo>
                  <a:cubicBezTo>
                    <a:pt x="5377" y="16628"/>
                    <a:pt x="5356" y="16625"/>
                    <a:pt x="5330" y="16618"/>
                  </a:cubicBezTo>
                  <a:cubicBezTo>
                    <a:pt x="5303" y="16611"/>
                    <a:pt x="5276" y="16600"/>
                    <a:pt x="5246" y="16585"/>
                  </a:cubicBezTo>
                  <a:cubicBezTo>
                    <a:pt x="5222" y="16573"/>
                    <a:pt x="5202" y="16562"/>
                    <a:pt x="5186" y="16550"/>
                  </a:cubicBezTo>
                  <a:cubicBezTo>
                    <a:pt x="5170" y="16538"/>
                    <a:pt x="5158" y="16526"/>
                    <a:pt x="5148" y="16512"/>
                  </a:cubicBezTo>
                  <a:cubicBezTo>
                    <a:pt x="5138" y="16498"/>
                    <a:pt x="5132" y="16481"/>
                    <a:pt x="5131" y="16462"/>
                  </a:cubicBezTo>
                  <a:cubicBezTo>
                    <a:pt x="5131" y="16443"/>
                    <a:pt x="5135" y="16424"/>
                    <a:pt x="5144" y="16406"/>
                  </a:cubicBezTo>
                  <a:cubicBezTo>
                    <a:pt x="5155" y="16383"/>
                    <a:pt x="5169" y="16368"/>
                    <a:pt x="5187" y="16359"/>
                  </a:cubicBezTo>
                  <a:cubicBezTo>
                    <a:pt x="5205" y="16350"/>
                    <a:pt x="5222" y="16345"/>
                    <a:pt x="5240" y="16345"/>
                  </a:cubicBezTo>
                  <a:cubicBezTo>
                    <a:pt x="5257" y="16346"/>
                    <a:pt x="5276" y="16349"/>
                    <a:pt x="5298" y="16356"/>
                  </a:cubicBezTo>
                  <a:cubicBezTo>
                    <a:pt x="5319" y="16363"/>
                    <a:pt x="5345" y="16374"/>
                    <a:pt x="5374" y="16388"/>
                  </a:cubicBezTo>
                  <a:cubicBezTo>
                    <a:pt x="5390" y="16396"/>
                    <a:pt x="5403" y="16403"/>
                    <a:pt x="5415" y="16410"/>
                  </a:cubicBezTo>
                  <a:close/>
                  <a:moveTo>
                    <a:pt x="5340" y="15929"/>
                  </a:moveTo>
                  <a:lnTo>
                    <a:pt x="5239" y="16135"/>
                  </a:lnTo>
                  <a:lnTo>
                    <a:pt x="5630" y="16327"/>
                  </a:lnTo>
                  <a:lnTo>
                    <a:pt x="5653" y="16280"/>
                  </a:lnTo>
                  <a:lnTo>
                    <a:pt x="5467" y="16188"/>
                  </a:lnTo>
                  <a:lnTo>
                    <a:pt x="5529" y="16063"/>
                  </a:lnTo>
                  <a:lnTo>
                    <a:pt x="5491" y="16044"/>
                  </a:lnTo>
                  <a:lnTo>
                    <a:pt x="5429" y="16170"/>
                  </a:lnTo>
                  <a:lnTo>
                    <a:pt x="5301" y="16106"/>
                  </a:lnTo>
                  <a:lnTo>
                    <a:pt x="5375" y="15955"/>
                  </a:lnTo>
                  <a:lnTo>
                    <a:pt x="5340" y="15929"/>
                  </a:lnTo>
                  <a:close/>
                  <a:moveTo>
                    <a:pt x="6006" y="15562"/>
                  </a:moveTo>
                  <a:lnTo>
                    <a:pt x="5599" y="15404"/>
                  </a:lnTo>
                  <a:lnTo>
                    <a:pt x="5565" y="15473"/>
                  </a:lnTo>
                  <a:lnTo>
                    <a:pt x="5788" y="15674"/>
                  </a:lnTo>
                  <a:cubicBezTo>
                    <a:pt x="5802" y="15686"/>
                    <a:pt x="5814" y="15696"/>
                    <a:pt x="5826" y="15705"/>
                  </a:cubicBezTo>
                  <a:cubicBezTo>
                    <a:pt x="5837" y="15713"/>
                    <a:pt x="5843" y="15718"/>
                    <a:pt x="5845" y="15719"/>
                  </a:cubicBezTo>
                  <a:cubicBezTo>
                    <a:pt x="5843" y="15719"/>
                    <a:pt x="5835" y="15717"/>
                    <a:pt x="5821" y="15713"/>
                  </a:cubicBezTo>
                  <a:cubicBezTo>
                    <a:pt x="5807" y="15709"/>
                    <a:pt x="5790" y="15705"/>
                    <a:pt x="5769" y="15701"/>
                  </a:cubicBezTo>
                  <a:lnTo>
                    <a:pt x="5479" y="15647"/>
                  </a:lnTo>
                  <a:lnTo>
                    <a:pt x="5445" y="15715"/>
                  </a:lnTo>
                  <a:lnTo>
                    <a:pt x="5819" y="15942"/>
                  </a:lnTo>
                  <a:lnTo>
                    <a:pt x="5842" y="15897"/>
                  </a:lnTo>
                  <a:lnTo>
                    <a:pt x="5574" y="15738"/>
                  </a:lnTo>
                  <a:cubicBezTo>
                    <a:pt x="5569" y="15735"/>
                    <a:pt x="5562" y="15731"/>
                    <a:pt x="5555" y="15727"/>
                  </a:cubicBezTo>
                  <a:cubicBezTo>
                    <a:pt x="5547" y="15723"/>
                    <a:pt x="5540" y="15718"/>
                    <a:pt x="5532" y="15714"/>
                  </a:cubicBezTo>
                  <a:cubicBezTo>
                    <a:pt x="5525" y="15710"/>
                    <a:pt x="5518" y="15706"/>
                    <a:pt x="5513" y="15703"/>
                  </a:cubicBezTo>
                  <a:cubicBezTo>
                    <a:pt x="5508" y="15700"/>
                    <a:pt x="5505" y="15699"/>
                    <a:pt x="5503" y="15698"/>
                  </a:cubicBezTo>
                  <a:cubicBezTo>
                    <a:pt x="5508" y="15699"/>
                    <a:pt x="5517" y="15701"/>
                    <a:pt x="5531" y="15704"/>
                  </a:cubicBezTo>
                  <a:cubicBezTo>
                    <a:pt x="5546" y="15707"/>
                    <a:pt x="5565" y="15711"/>
                    <a:pt x="5587" y="15715"/>
                  </a:cubicBezTo>
                  <a:lnTo>
                    <a:pt x="5902" y="15774"/>
                  </a:lnTo>
                  <a:lnTo>
                    <a:pt x="5922" y="15734"/>
                  </a:lnTo>
                  <a:lnTo>
                    <a:pt x="5671" y="15507"/>
                  </a:lnTo>
                  <a:cubicBezTo>
                    <a:pt x="5666" y="15502"/>
                    <a:pt x="5660" y="15497"/>
                    <a:pt x="5655" y="15492"/>
                  </a:cubicBezTo>
                  <a:cubicBezTo>
                    <a:pt x="5649" y="15487"/>
                    <a:pt x="5643" y="15483"/>
                    <a:pt x="5638" y="15478"/>
                  </a:cubicBezTo>
                  <a:cubicBezTo>
                    <a:pt x="5632" y="15474"/>
                    <a:pt x="5628" y="15470"/>
                    <a:pt x="5624" y="15467"/>
                  </a:cubicBezTo>
                  <a:cubicBezTo>
                    <a:pt x="5621" y="15464"/>
                    <a:pt x="5618" y="15462"/>
                    <a:pt x="5618" y="15461"/>
                  </a:cubicBezTo>
                  <a:cubicBezTo>
                    <a:pt x="5619" y="15462"/>
                    <a:pt x="5621" y="15463"/>
                    <a:pt x="5626" y="15465"/>
                  </a:cubicBezTo>
                  <a:cubicBezTo>
                    <a:pt x="5631" y="15467"/>
                    <a:pt x="5636" y="15469"/>
                    <a:pt x="5643" y="15473"/>
                  </a:cubicBezTo>
                  <a:cubicBezTo>
                    <a:pt x="5650" y="15476"/>
                    <a:pt x="5657" y="15479"/>
                    <a:pt x="5665" y="15482"/>
                  </a:cubicBezTo>
                  <a:cubicBezTo>
                    <a:pt x="5672" y="15485"/>
                    <a:pt x="5679" y="15488"/>
                    <a:pt x="5685" y="15491"/>
                  </a:cubicBezTo>
                  <a:lnTo>
                    <a:pt x="5983" y="15609"/>
                  </a:lnTo>
                  <a:lnTo>
                    <a:pt x="6006" y="15562"/>
                  </a:lnTo>
                  <a:close/>
                  <a:moveTo>
                    <a:pt x="5791" y="15014"/>
                  </a:moveTo>
                  <a:lnTo>
                    <a:pt x="5768" y="15060"/>
                  </a:lnTo>
                  <a:lnTo>
                    <a:pt x="6040" y="15194"/>
                  </a:lnTo>
                  <a:cubicBezTo>
                    <a:pt x="6053" y="15201"/>
                    <a:pt x="6064" y="15207"/>
                    <a:pt x="6073" y="15213"/>
                  </a:cubicBezTo>
                  <a:cubicBezTo>
                    <a:pt x="6081" y="15220"/>
                    <a:pt x="6088" y="15228"/>
                    <a:pt x="6094" y="15239"/>
                  </a:cubicBezTo>
                  <a:cubicBezTo>
                    <a:pt x="6099" y="15249"/>
                    <a:pt x="6101" y="15261"/>
                    <a:pt x="6099" y="15275"/>
                  </a:cubicBezTo>
                  <a:cubicBezTo>
                    <a:pt x="6097" y="15288"/>
                    <a:pt x="6092" y="15304"/>
                    <a:pt x="6084" y="15320"/>
                  </a:cubicBezTo>
                  <a:cubicBezTo>
                    <a:pt x="6078" y="15332"/>
                    <a:pt x="6072" y="15342"/>
                    <a:pt x="6066" y="15350"/>
                  </a:cubicBezTo>
                  <a:cubicBezTo>
                    <a:pt x="6059" y="15357"/>
                    <a:pt x="6052" y="15363"/>
                    <a:pt x="6046" y="15367"/>
                  </a:cubicBezTo>
                  <a:cubicBezTo>
                    <a:pt x="6039" y="15371"/>
                    <a:pt x="6032" y="15374"/>
                    <a:pt x="6026" y="15376"/>
                  </a:cubicBezTo>
                  <a:cubicBezTo>
                    <a:pt x="6020" y="15377"/>
                    <a:pt x="6014" y="15378"/>
                    <a:pt x="6009" y="15377"/>
                  </a:cubicBezTo>
                  <a:cubicBezTo>
                    <a:pt x="6001" y="15377"/>
                    <a:pt x="5992" y="15375"/>
                    <a:pt x="5981" y="15370"/>
                  </a:cubicBezTo>
                  <a:cubicBezTo>
                    <a:pt x="5969" y="15366"/>
                    <a:pt x="5959" y="15361"/>
                    <a:pt x="5949" y="15357"/>
                  </a:cubicBezTo>
                  <a:lnTo>
                    <a:pt x="5686" y="15227"/>
                  </a:lnTo>
                  <a:lnTo>
                    <a:pt x="5663" y="15273"/>
                  </a:lnTo>
                  <a:lnTo>
                    <a:pt x="5943" y="15411"/>
                  </a:lnTo>
                  <a:cubicBezTo>
                    <a:pt x="5952" y="15415"/>
                    <a:pt x="5962" y="15420"/>
                    <a:pt x="5974" y="15424"/>
                  </a:cubicBezTo>
                  <a:cubicBezTo>
                    <a:pt x="5986" y="15428"/>
                    <a:pt x="5998" y="15430"/>
                    <a:pt x="6010" y="15430"/>
                  </a:cubicBezTo>
                  <a:cubicBezTo>
                    <a:pt x="6034" y="15429"/>
                    <a:pt x="6056" y="15421"/>
                    <a:pt x="6074" y="15408"/>
                  </a:cubicBezTo>
                  <a:cubicBezTo>
                    <a:pt x="6092" y="15394"/>
                    <a:pt x="6108" y="15372"/>
                    <a:pt x="6123" y="15342"/>
                  </a:cubicBezTo>
                  <a:cubicBezTo>
                    <a:pt x="6135" y="15318"/>
                    <a:pt x="6142" y="15297"/>
                    <a:pt x="6145" y="15278"/>
                  </a:cubicBezTo>
                  <a:cubicBezTo>
                    <a:pt x="6148" y="15259"/>
                    <a:pt x="6148" y="15242"/>
                    <a:pt x="6143" y="15224"/>
                  </a:cubicBezTo>
                  <a:cubicBezTo>
                    <a:pt x="6139" y="15208"/>
                    <a:pt x="6132" y="15194"/>
                    <a:pt x="6121" y="15184"/>
                  </a:cubicBezTo>
                  <a:cubicBezTo>
                    <a:pt x="6109" y="15173"/>
                    <a:pt x="6092" y="15162"/>
                    <a:pt x="6069" y="15151"/>
                  </a:cubicBezTo>
                  <a:lnTo>
                    <a:pt x="5791" y="15014"/>
                  </a:lnTo>
                  <a:close/>
                  <a:moveTo>
                    <a:pt x="5633" y="15145"/>
                  </a:moveTo>
                  <a:cubicBezTo>
                    <a:pt x="5625" y="15148"/>
                    <a:pt x="5619" y="15153"/>
                    <a:pt x="5615" y="15162"/>
                  </a:cubicBezTo>
                  <a:cubicBezTo>
                    <a:pt x="5611" y="15170"/>
                    <a:pt x="5610" y="15178"/>
                    <a:pt x="5613" y="15186"/>
                  </a:cubicBezTo>
                  <a:cubicBezTo>
                    <a:pt x="5616" y="15195"/>
                    <a:pt x="5621" y="15201"/>
                    <a:pt x="5629" y="15205"/>
                  </a:cubicBezTo>
                  <a:cubicBezTo>
                    <a:pt x="5638" y="15209"/>
                    <a:pt x="5646" y="15210"/>
                    <a:pt x="5655" y="15207"/>
                  </a:cubicBezTo>
                  <a:cubicBezTo>
                    <a:pt x="5664" y="15204"/>
                    <a:pt x="5670" y="15198"/>
                    <a:pt x="5674" y="15190"/>
                  </a:cubicBezTo>
                  <a:cubicBezTo>
                    <a:pt x="5678" y="15182"/>
                    <a:pt x="5679" y="15173"/>
                    <a:pt x="5675" y="15165"/>
                  </a:cubicBezTo>
                  <a:cubicBezTo>
                    <a:pt x="5672" y="15157"/>
                    <a:pt x="5667" y="15150"/>
                    <a:pt x="5658" y="15146"/>
                  </a:cubicBezTo>
                  <a:cubicBezTo>
                    <a:pt x="5650" y="15142"/>
                    <a:pt x="5642" y="15142"/>
                    <a:pt x="5633" y="15145"/>
                  </a:cubicBezTo>
                  <a:close/>
                  <a:moveTo>
                    <a:pt x="5691" y="15028"/>
                  </a:moveTo>
                  <a:cubicBezTo>
                    <a:pt x="5682" y="15031"/>
                    <a:pt x="5676" y="15036"/>
                    <a:pt x="5672" y="15045"/>
                  </a:cubicBezTo>
                  <a:cubicBezTo>
                    <a:pt x="5668" y="15053"/>
                    <a:pt x="5668" y="15061"/>
                    <a:pt x="5670" y="15069"/>
                  </a:cubicBezTo>
                  <a:cubicBezTo>
                    <a:pt x="5673" y="15078"/>
                    <a:pt x="5679" y="15084"/>
                    <a:pt x="5687" y="15088"/>
                  </a:cubicBezTo>
                  <a:cubicBezTo>
                    <a:pt x="5695" y="15092"/>
                    <a:pt x="5704" y="15093"/>
                    <a:pt x="5712" y="15090"/>
                  </a:cubicBezTo>
                  <a:cubicBezTo>
                    <a:pt x="5721" y="15087"/>
                    <a:pt x="5727" y="15082"/>
                    <a:pt x="5732" y="15073"/>
                  </a:cubicBezTo>
                  <a:cubicBezTo>
                    <a:pt x="5736" y="15065"/>
                    <a:pt x="5736" y="15057"/>
                    <a:pt x="5733" y="15048"/>
                  </a:cubicBezTo>
                  <a:cubicBezTo>
                    <a:pt x="5730" y="15040"/>
                    <a:pt x="5724" y="15034"/>
                    <a:pt x="5716" y="15029"/>
                  </a:cubicBezTo>
                  <a:cubicBezTo>
                    <a:pt x="5708" y="15025"/>
                    <a:pt x="5699" y="15025"/>
                    <a:pt x="5691" y="15028"/>
                  </a:cubicBezTo>
                  <a:close/>
                  <a:moveTo>
                    <a:pt x="6365" y="14834"/>
                  </a:moveTo>
                  <a:lnTo>
                    <a:pt x="5974" y="14641"/>
                  </a:lnTo>
                  <a:lnTo>
                    <a:pt x="5951" y="14687"/>
                  </a:lnTo>
                  <a:lnTo>
                    <a:pt x="6165" y="14790"/>
                  </a:lnTo>
                  <a:cubicBezTo>
                    <a:pt x="6179" y="14797"/>
                    <a:pt x="6193" y="14804"/>
                    <a:pt x="6207" y="14810"/>
                  </a:cubicBezTo>
                  <a:cubicBezTo>
                    <a:pt x="6221" y="14817"/>
                    <a:pt x="6234" y="14822"/>
                    <a:pt x="6246" y="14827"/>
                  </a:cubicBezTo>
                  <a:cubicBezTo>
                    <a:pt x="6257" y="14832"/>
                    <a:pt x="6267" y="14836"/>
                    <a:pt x="6274" y="14839"/>
                  </a:cubicBezTo>
                  <a:cubicBezTo>
                    <a:pt x="6282" y="14842"/>
                    <a:pt x="6286" y="14844"/>
                    <a:pt x="6286" y="14844"/>
                  </a:cubicBezTo>
                  <a:cubicBezTo>
                    <a:pt x="6285" y="14844"/>
                    <a:pt x="6281" y="14843"/>
                    <a:pt x="6275" y="14843"/>
                  </a:cubicBezTo>
                  <a:cubicBezTo>
                    <a:pt x="6269" y="14842"/>
                    <a:pt x="6261" y="14842"/>
                    <a:pt x="6252" y="14841"/>
                  </a:cubicBezTo>
                  <a:cubicBezTo>
                    <a:pt x="6243" y="14841"/>
                    <a:pt x="6232" y="14840"/>
                    <a:pt x="6221" y="14840"/>
                  </a:cubicBezTo>
                  <a:cubicBezTo>
                    <a:pt x="6209" y="14839"/>
                    <a:pt x="6198" y="14839"/>
                    <a:pt x="6186" y="14840"/>
                  </a:cubicBezTo>
                  <a:lnTo>
                    <a:pt x="5873" y="14847"/>
                  </a:lnTo>
                  <a:lnTo>
                    <a:pt x="5846" y="14901"/>
                  </a:lnTo>
                  <a:lnTo>
                    <a:pt x="6237" y="15093"/>
                  </a:lnTo>
                  <a:lnTo>
                    <a:pt x="6261" y="15045"/>
                  </a:lnTo>
                  <a:lnTo>
                    <a:pt x="6033" y="14936"/>
                  </a:lnTo>
                  <a:cubicBezTo>
                    <a:pt x="6021" y="14930"/>
                    <a:pt x="6010" y="14925"/>
                    <a:pt x="5998" y="14920"/>
                  </a:cubicBezTo>
                  <a:cubicBezTo>
                    <a:pt x="5987" y="14915"/>
                    <a:pt x="5976" y="14910"/>
                    <a:pt x="5966" y="14906"/>
                  </a:cubicBezTo>
                  <a:cubicBezTo>
                    <a:pt x="5956" y="14902"/>
                    <a:pt x="5947" y="14898"/>
                    <a:pt x="5940" y="14895"/>
                  </a:cubicBezTo>
                  <a:cubicBezTo>
                    <a:pt x="5933" y="14892"/>
                    <a:pt x="5928" y="14890"/>
                    <a:pt x="5924" y="14889"/>
                  </a:cubicBezTo>
                  <a:cubicBezTo>
                    <a:pt x="5928" y="14889"/>
                    <a:pt x="5934" y="14890"/>
                    <a:pt x="5941" y="14890"/>
                  </a:cubicBezTo>
                  <a:cubicBezTo>
                    <a:pt x="5949" y="14890"/>
                    <a:pt x="5958" y="14891"/>
                    <a:pt x="5968" y="14891"/>
                  </a:cubicBezTo>
                  <a:cubicBezTo>
                    <a:pt x="5978" y="14891"/>
                    <a:pt x="5989" y="14891"/>
                    <a:pt x="6001" y="14891"/>
                  </a:cubicBezTo>
                  <a:cubicBezTo>
                    <a:pt x="6013" y="14891"/>
                    <a:pt x="6026" y="14891"/>
                    <a:pt x="6040" y="14890"/>
                  </a:cubicBezTo>
                  <a:lnTo>
                    <a:pt x="6341" y="14883"/>
                  </a:lnTo>
                  <a:lnTo>
                    <a:pt x="6365" y="14834"/>
                  </a:lnTo>
                  <a:close/>
                  <a:moveTo>
                    <a:pt x="6389" y="14413"/>
                  </a:moveTo>
                  <a:cubicBezTo>
                    <a:pt x="6374" y="14411"/>
                    <a:pt x="6360" y="14412"/>
                    <a:pt x="6347" y="14416"/>
                  </a:cubicBezTo>
                  <a:cubicBezTo>
                    <a:pt x="6334" y="14419"/>
                    <a:pt x="6322" y="14425"/>
                    <a:pt x="6311" y="14432"/>
                  </a:cubicBezTo>
                  <a:cubicBezTo>
                    <a:pt x="6301" y="14439"/>
                    <a:pt x="6288" y="14451"/>
                    <a:pt x="6274" y="14465"/>
                  </a:cubicBezTo>
                  <a:lnTo>
                    <a:pt x="6238" y="14503"/>
                  </a:lnTo>
                  <a:cubicBezTo>
                    <a:pt x="6219" y="14523"/>
                    <a:pt x="6202" y="14535"/>
                    <a:pt x="6188" y="14541"/>
                  </a:cubicBezTo>
                  <a:cubicBezTo>
                    <a:pt x="6173" y="14546"/>
                    <a:pt x="6158" y="14545"/>
                    <a:pt x="6142" y="14537"/>
                  </a:cubicBezTo>
                  <a:cubicBezTo>
                    <a:pt x="6122" y="14527"/>
                    <a:pt x="6109" y="14512"/>
                    <a:pt x="6105" y="14493"/>
                  </a:cubicBezTo>
                  <a:cubicBezTo>
                    <a:pt x="6100" y="14474"/>
                    <a:pt x="6104" y="14452"/>
                    <a:pt x="6116" y="14427"/>
                  </a:cubicBezTo>
                  <a:cubicBezTo>
                    <a:pt x="6120" y="14419"/>
                    <a:pt x="6125" y="14411"/>
                    <a:pt x="6129" y="14404"/>
                  </a:cubicBezTo>
                  <a:cubicBezTo>
                    <a:pt x="6134" y="14398"/>
                    <a:pt x="6140" y="14391"/>
                    <a:pt x="6146" y="14385"/>
                  </a:cubicBezTo>
                  <a:cubicBezTo>
                    <a:pt x="6152" y="14379"/>
                    <a:pt x="6160" y="14373"/>
                    <a:pt x="6168" y="14367"/>
                  </a:cubicBezTo>
                  <a:cubicBezTo>
                    <a:pt x="6176" y="14361"/>
                    <a:pt x="6185" y="14355"/>
                    <a:pt x="6196" y="14348"/>
                  </a:cubicBezTo>
                  <a:lnTo>
                    <a:pt x="6172" y="14311"/>
                  </a:lnTo>
                  <a:cubicBezTo>
                    <a:pt x="6129" y="14336"/>
                    <a:pt x="6097" y="14369"/>
                    <a:pt x="6077" y="14411"/>
                  </a:cubicBezTo>
                  <a:cubicBezTo>
                    <a:pt x="6067" y="14430"/>
                    <a:pt x="6062" y="14448"/>
                    <a:pt x="6059" y="14467"/>
                  </a:cubicBezTo>
                  <a:cubicBezTo>
                    <a:pt x="6057" y="14485"/>
                    <a:pt x="6059" y="14502"/>
                    <a:pt x="6063" y="14518"/>
                  </a:cubicBezTo>
                  <a:cubicBezTo>
                    <a:pt x="6067" y="14534"/>
                    <a:pt x="6075" y="14548"/>
                    <a:pt x="6086" y="14561"/>
                  </a:cubicBezTo>
                  <a:cubicBezTo>
                    <a:pt x="6096" y="14574"/>
                    <a:pt x="6110" y="14584"/>
                    <a:pt x="6127" y="14592"/>
                  </a:cubicBezTo>
                  <a:cubicBezTo>
                    <a:pt x="6152" y="14605"/>
                    <a:pt x="6177" y="14607"/>
                    <a:pt x="6203" y="14599"/>
                  </a:cubicBezTo>
                  <a:cubicBezTo>
                    <a:pt x="6214" y="14596"/>
                    <a:pt x="6225" y="14590"/>
                    <a:pt x="6235" y="14582"/>
                  </a:cubicBezTo>
                  <a:cubicBezTo>
                    <a:pt x="6245" y="14574"/>
                    <a:pt x="6257" y="14562"/>
                    <a:pt x="6272" y="14547"/>
                  </a:cubicBezTo>
                  <a:lnTo>
                    <a:pt x="6303" y="14513"/>
                  </a:lnTo>
                  <a:cubicBezTo>
                    <a:pt x="6340" y="14474"/>
                    <a:pt x="6376" y="14462"/>
                    <a:pt x="6410" y="14479"/>
                  </a:cubicBezTo>
                  <a:cubicBezTo>
                    <a:pt x="6433" y="14491"/>
                    <a:pt x="6448" y="14509"/>
                    <a:pt x="6452" y="14535"/>
                  </a:cubicBezTo>
                  <a:cubicBezTo>
                    <a:pt x="6455" y="14546"/>
                    <a:pt x="6455" y="14557"/>
                    <a:pt x="6453" y="14567"/>
                  </a:cubicBezTo>
                  <a:cubicBezTo>
                    <a:pt x="6451" y="14578"/>
                    <a:pt x="6446" y="14590"/>
                    <a:pt x="6439" y="14605"/>
                  </a:cubicBezTo>
                  <a:cubicBezTo>
                    <a:pt x="6429" y="14625"/>
                    <a:pt x="6418" y="14642"/>
                    <a:pt x="6404" y="14656"/>
                  </a:cubicBezTo>
                  <a:cubicBezTo>
                    <a:pt x="6390" y="14671"/>
                    <a:pt x="6374" y="14683"/>
                    <a:pt x="6354" y="14693"/>
                  </a:cubicBezTo>
                  <a:lnTo>
                    <a:pt x="6380" y="14732"/>
                  </a:lnTo>
                  <a:cubicBezTo>
                    <a:pt x="6402" y="14719"/>
                    <a:pt x="6420" y="14703"/>
                    <a:pt x="6436" y="14686"/>
                  </a:cubicBezTo>
                  <a:cubicBezTo>
                    <a:pt x="6452" y="14668"/>
                    <a:pt x="6466" y="14648"/>
                    <a:pt x="6477" y="14624"/>
                  </a:cubicBezTo>
                  <a:cubicBezTo>
                    <a:pt x="6486" y="14606"/>
                    <a:pt x="6492" y="14589"/>
                    <a:pt x="6495" y="14573"/>
                  </a:cubicBezTo>
                  <a:cubicBezTo>
                    <a:pt x="6498" y="14558"/>
                    <a:pt x="6498" y="14541"/>
                    <a:pt x="6496" y="14524"/>
                  </a:cubicBezTo>
                  <a:cubicBezTo>
                    <a:pt x="6494" y="14502"/>
                    <a:pt x="6487" y="14481"/>
                    <a:pt x="6475" y="14464"/>
                  </a:cubicBezTo>
                  <a:cubicBezTo>
                    <a:pt x="6462" y="14446"/>
                    <a:pt x="6447" y="14433"/>
                    <a:pt x="6429" y="14424"/>
                  </a:cubicBezTo>
                  <a:cubicBezTo>
                    <a:pt x="6417" y="14418"/>
                    <a:pt x="6403" y="14414"/>
                    <a:pt x="6389" y="14413"/>
                  </a:cubicBezTo>
                  <a:close/>
                  <a:moveTo>
                    <a:pt x="6306" y="13966"/>
                  </a:moveTo>
                  <a:lnTo>
                    <a:pt x="6179" y="14225"/>
                  </a:lnTo>
                  <a:lnTo>
                    <a:pt x="6218" y="14244"/>
                  </a:lnTo>
                  <a:lnTo>
                    <a:pt x="6270" y="14139"/>
                  </a:lnTo>
                  <a:lnTo>
                    <a:pt x="6621" y="14312"/>
                  </a:lnTo>
                  <a:lnTo>
                    <a:pt x="6643" y="14267"/>
                  </a:lnTo>
                  <a:lnTo>
                    <a:pt x="6292" y="14094"/>
                  </a:lnTo>
                  <a:lnTo>
                    <a:pt x="6344" y="13988"/>
                  </a:lnTo>
                  <a:lnTo>
                    <a:pt x="6306" y="13966"/>
                  </a:lnTo>
                  <a:close/>
                  <a:moveTo>
                    <a:pt x="6838" y="13872"/>
                  </a:moveTo>
                  <a:lnTo>
                    <a:pt x="6798" y="13852"/>
                  </a:lnTo>
                  <a:lnTo>
                    <a:pt x="6713" y="14024"/>
                  </a:lnTo>
                  <a:lnTo>
                    <a:pt x="6570" y="13954"/>
                  </a:lnTo>
                  <a:lnTo>
                    <a:pt x="6636" y="13820"/>
                  </a:lnTo>
                  <a:lnTo>
                    <a:pt x="6595" y="13800"/>
                  </a:lnTo>
                  <a:lnTo>
                    <a:pt x="6529" y="13934"/>
                  </a:lnTo>
                  <a:lnTo>
                    <a:pt x="6401" y="13871"/>
                  </a:lnTo>
                  <a:lnTo>
                    <a:pt x="6480" y="13711"/>
                  </a:lnTo>
                  <a:lnTo>
                    <a:pt x="6444" y="13685"/>
                  </a:lnTo>
                  <a:lnTo>
                    <a:pt x="6339" y="13899"/>
                  </a:lnTo>
                  <a:lnTo>
                    <a:pt x="6730" y="14091"/>
                  </a:lnTo>
                  <a:lnTo>
                    <a:pt x="6838" y="13872"/>
                  </a:lnTo>
                  <a:close/>
                  <a:moveTo>
                    <a:pt x="7001" y="13541"/>
                  </a:moveTo>
                  <a:lnTo>
                    <a:pt x="6965" y="13546"/>
                  </a:lnTo>
                  <a:cubicBezTo>
                    <a:pt x="6948" y="13548"/>
                    <a:pt x="6930" y="13550"/>
                    <a:pt x="6912" y="13553"/>
                  </a:cubicBezTo>
                  <a:cubicBezTo>
                    <a:pt x="6893" y="13555"/>
                    <a:pt x="6875" y="13558"/>
                    <a:pt x="6859" y="13560"/>
                  </a:cubicBezTo>
                  <a:cubicBezTo>
                    <a:pt x="6842" y="13562"/>
                    <a:pt x="6831" y="13564"/>
                    <a:pt x="6824" y="13565"/>
                  </a:cubicBezTo>
                  <a:cubicBezTo>
                    <a:pt x="6814" y="13567"/>
                    <a:pt x="6803" y="13570"/>
                    <a:pt x="6791" y="13573"/>
                  </a:cubicBezTo>
                  <a:cubicBezTo>
                    <a:pt x="6779" y="13576"/>
                    <a:pt x="6769" y="13579"/>
                    <a:pt x="6761" y="13583"/>
                  </a:cubicBezTo>
                  <a:lnTo>
                    <a:pt x="6763" y="13578"/>
                  </a:lnTo>
                  <a:cubicBezTo>
                    <a:pt x="6771" y="13562"/>
                    <a:pt x="6775" y="13547"/>
                    <a:pt x="6777" y="13531"/>
                  </a:cubicBezTo>
                  <a:cubicBezTo>
                    <a:pt x="6778" y="13516"/>
                    <a:pt x="6776" y="13502"/>
                    <a:pt x="6771" y="13488"/>
                  </a:cubicBezTo>
                  <a:cubicBezTo>
                    <a:pt x="6766" y="13474"/>
                    <a:pt x="6758" y="13462"/>
                    <a:pt x="6748" y="13450"/>
                  </a:cubicBezTo>
                  <a:cubicBezTo>
                    <a:pt x="6737" y="13439"/>
                    <a:pt x="6723" y="13429"/>
                    <a:pt x="6707" y="13421"/>
                  </a:cubicBezTo>
                  <a:cubicBezTo>
                    <a:pt x="6697" y="13416"/>
                    <a:pt x="6687" y="13413"/>
                    <a:pt x="6677" y="13411"/>
                  </a:cubicBezTo>
                  <a:cubicBezTo>
                    <a:pt x="6668" y="13409"/>
                    <a:pt x="6658" y="13408"/>
                    <a:pt x="6650" y="13409"/>
                  </a:cubicBezTo>
                  <a:cubicBezTo>
                    <a:pt x="6641" y="13409"/>
                    <a:pt x="6633" y="13410"/>
                    <a:pt x="6626" y="13412"/>
                  </a:cubicBezTo>
                  <a:cubicBezTo>
                    <a:pt x="6618" y="13414"/>
                    <a:pt x="6612" y="13417"/>
                    <a:pt x="6606" y="13419"/>
                  </a:cubicBezTo>
                  <a:cubicBezTo>
                    <a:pt x="6600" y="13422"/>
                    <a:pt x="6594" y="13426"/>
                    <a:pt x="6588" y="13430"/>
                  </a:cubicBezTo>
                  <a:cubicBezTo>
                    <a:pt x="6582" y="13434"/>
                    <a:pt x="6576" y="13440"/>
                    <a:pt x="6570" y="13447"/>
                  </a:cubicBezTo>
                  <a:cubicBezTo>
                    <a:pt x="6564" y="13453"/>
                    <a:pt x="6558" y="13462"/>
                    <a:pt x="6552" y="13471"/>
                  </a:cubicBezTo>
                  <a:cubicBezTo>
                    <a:pt x="6546" y="13481"/>
                    <a:pt x="6539" y="13492"/>
                    <a:pt x="6533" y="13506"/>
                  </a:cubicBezTo>
                  <a:lnTo>
                    <a:pt x="6488" y="13597"/>
                  </a:lnTo>
                  <a:lnTo>
                    <a:pt x="6879" y="13789"/>
                  </a:lnTo>
                  <a:lnTo>
                    <a:pt x="6901" y="13744"/>
                  </a:lnTo>
                  <a:lnTo>
                    <a:pt x="6724" y="13657"/>
                  </a:lnTo>
                  <a:cubicBezTo>
                    <a:pt x="6730" y="13647"/>
                    <a:pt x="6735" y="13640"/>
                    <a:pt x="6742" y="13635"/>
                  </a:cubicBezTo>
                  <a:cubicBezTo>
                    <a:pt x="6748" y="13631"/>
                    <a:pt x="6758" y="13627"/>
                    <a:pt x="6771" y="13625"/>
                  </a:cubicBezTo>
                  <a:cubicBezTo>
                    <a:pt x="6794" y="13620"/>
                    <a:pt x="6816" y="13616"/>
                    <a:pt x="6837" y="13612"/>
                  </a:cubicBezTo>
                  <a:cubicBezTo>
                    <a:pt x="6858" y="13609"/>
                    <a:pt x="6877" y="13606"/>
                    <a:pt x="6894" y="13604"/>
                  </a:cubicBezTo>
                  <a:cubicBezTo>
                    <a:pt x="6912" y="13602"/>
                    <a:pt x="6927" y="13601"/>
                    <a:pt x="6940" y="13600"/>
                  </a:cubicBezTo>
                  <a:cubicBezTo>
                    <a:pt x="6954" y="13600"/>
                    <a:pt x="6964" y="13599"/>
                    <a:pt x="6972" y="13599"/>
                  </a:cubicBezTo>
                  <a:lnTo>
                    <a:pt x="7001" y="13541"/>
                  </a:lnTo>
                  <a:close/>
                  <a:moveTo>
                    <a:pt x="6715" y="13492"/>
                  </a:moveTo>
                  <a:cubicBezTo>
                    <a:pt x="6723" y="13500"/>
                    <a:pt x="6729" y="13509"/>
                    <a:pt x="6732" y="13519"/>
                  </a:cubicBezTo>
                  <a:cubicBezTo>
                    <a:pt x="6735" y="13530"/>
                    <a:pt x="6735" y="13541"/>
                    <a:pt x="6733" y="13554"/>
                  </a:cubicBezTo>
                  <a:cubicBezTo>
                    <a:pt x="6731" y="13567"/>
                    <a:pt x="6725" y="13582"/>
                    <a:pt x="6717" y="13599"/>
                  </a:cubicBezTo>
                  <a:lnTo>
                    <a:pt x="6695" y="13642"/>
                  </a:lnTo>
                  <a:lnTo>
                    <a:pt x="6550" y="13571"/>
                  </a:lnTo>
                  <a:lnTo>
                    <a:pt x="6573" y="13524"/>
                  </a:lnTo>
                  <a:cubicBezTo>
                    <a:pt x="6578" y="13513"/>
                    <a:pt x="6583" y="13504"/>
                    <a:pt x="6588" y="13497"/>
                  </a:cubicBezTo>
                  <a:cubicBezTo>
                    <a:pt x="6593" y="13490"/>
                    <a:pt x="6599" y="13484"/>
                    <a:pt x="6605" y="13479"/>
                  </a:cubicBezTo>
                  <a:cubicBezTo>
                    <a:pt x="6615" y="13470"/>
                    <a:pt x="6627" y="13465"/>
                    <a:pt x="6641" y="13463"/>
                  </a:cubicBezTo>
                  <a:cubicBezTo>
                    <a:pt x="6656" y="13461"/>
                    <a:pt x="6670" y="13463"/>
                    <a:pt x="6683" y="13470"/>
                  </a:cubicBezTo>
                  <a:cubicBezTo>
                    <a:pt x="6696" y="13476"/>
                    <a:pt x="6706" y="13484"/>
                    <a:pt x="6715" y="13492"/>
                  </a:cubicBezTo>
                  <a:close/>
                  <a:moveTo>
                    <a:pt x="7213" y="13329"/>
                  </a:moveTo>
                  <a:lnTo>
                    <a:pt x="6664" y="13059"/>
                  </a:lnTo>
                  <a:lnTo>
                    <a:pt x="6645" y="13097"/>
                  </a:lnTo>
                  <a:lnTo>
                    <a:pt x="7194" y="13367"/>
                  </a:lnTo>
                  <a:lnTo>
                    <a:pt x="7213" y="13329"/>
                  </a:lnTo>
                  <a:close/>
                  <a:moveTo>
                    <a:pt x="7058" y="12438"/>
                  </a:moveTo>
                  <a:lnTo>
                    <a:pt x="7035" y="12485"/>
                  </a:lnTo>
                  <a:lnTo>
                    <a:pt x="7238" y="12645"/>
                  </a:lnTo>
                  <a:cubicBezTo>
                    <a:pt x="7251" y="12655"/>
                    <a:pt x="7264" y="12665"/>
                    <a:pt x="7276" y="12675"/>
                  </a:cubicBezTo>
                  <a:cubicBezTo>
                    <a:pt x="7289" y="12684"/>
                    <a:pt x="7300" y="12693"/>
                    <a:pt x="7311" y="12700"/>
                  </a:cubicBezTo>
                  <a:cubicBezTo>
                    <a:pt x="7321" y="12708"/>
                    <a:pt x="7329" y="12714"/>
                    <a:pt x="7336" y="12719"/>
                  </a:cubicBezTo>
                  <a:cubicBezTo>
                    <a:pt x="7341" y="12723"/>
                    <a:pt x="7345" y="12725"/>
                    <a:pt x="7346" y="12726"/>
                  </a:cubicBezTo>
                  <a:cubicBezTo>
                    <a:pt x="7344" y="12726"/>
                    <a:pt x="7341" y="12725"/>
                    <a:pt x="7336" y="12724"/>
                  </a:cubicBezTo>
                  <a:cubicBezTo>
                    <a:pt x="7330" y="12722"/>
                    <a:pt x="7322" y="12719"/>
                    <a:pt x="7312" y="12716"/>
                  </a:cubicBezTo>
                  <a:cubicBezTo>
                    <a:pt x="7302" y="12713"/>
                    <a:pt x="7290" y="12710"/>
                    <a:pt x="7277" y="12707"/>
                  </a:cubicBezTo>
                  <a:cubicBezTo>
                    <a:pt x="7264" y="12703"/>
                    <a:pt x="7249" y="12699"/>
                    <a:pt x="7233" y="12695"/>
                  </a:cubicBezTo>
                  <a:lnTo>
                    <a:pt x="6964" y="12630"/>
                  </a:lnTo>
                  <a:lnTo>
                    <a:pt x="6938" y="12683"/>
                  </a:lnTo>
                  <a:lnTo>
                    <a:pt x="7146" y="12850"/>
                  </a:lnTo>
                  <a:cubicBezTo>
                    <a:pt x="7156" y="12858"/>
                    <a:pt x="7167" y="12866"/>
                    <a:pt x="7178" y="12875"/>
                  </a:cubicBezTo>
                  <a:cubicBezTo>
                    <a:pt x="7190" y="12884"/>
                    <a:pt x="7201" y="12892"/>
                    <a:pt x="7211" y="12900"/>
                  </a:cubicBezTo>
                  <a:cubicBezTo>
                    <a:pt x="7221" y="12907"/>
                    <a:pt x="7229" y="12914"/>
                    <a:pt x="7236" y="12919"/>
                  </a:cubicBezTo>
                  <a:cubicBezTo>
                    <a:pt x="7243" y="12925"/>
                    <a:pt x="7247" y="12927"/>
                    <a:pt x="7248" y="12928"/>
                  </a:cubicBezTo>
                  <a:cubicBezTo>
                    <a:pt x="7246" y="12927"/>
                    <a:pt x="7241" y="12926"/>
                    <a:pt x="7233" y="12923"/>
                  </a:cubicBezTo>
                  <a:cubicBezTo>
                    <a:pt x="7224" y="12920"/>
                    <a:pt x="7214" y="12917"/>
                    <a:pt x="7201" y="12913"/>
                  </a:cubicBezTo>
                  <a:cubicBezTo>
                    <a:pt x="7189" y="12910"/>
                    <a:pt x="7176" y="12906"/>
                    <a:pt x="7161" y="12902"/>
                  </a:cubicBezTo>
                  <a:cubicBezTo>
                    <a:pt x="7147" y="12898"/>
                    <a:pt x="7133" y="12894"/>
                    <a:pt x="7119" y="12891"/>
                  </a:cubicBezTo>
                  <a:lnTo>
                    <a:pt x="6866" y="12828"/>
                  </a:lnTo>
                  <a:lnTo>
                    <a:pt x="6842" y="12878"/>
                  </a:lnTo>
                  <a:lnTo>
                    <a:pt x="7278" y="12978"/>
                  </a:lnTo>
                  <a:lnTo>
                    <a:pt x="7308" y="12917"/>
                  </a:lnTo>
                  <a:lnTo>
                    <a:pt x="7111" y="12761"/>
                  </a:lnTo>
                  <a:cubicBezTo>
                    <a:pt x="7099" y="12752"/>
                    <a:pt x="7088" y="12743"/>
                    <a:pt x="7077" y="12735"/>
                  </a:cubicBezTo>
                  <a:cubicBezTo>
                    <a:pt x="7065" y="12726"/>
                    <a:pt x="7055" y="12719"/>
                    <a:pt x="7046" y="12712"/>
                  </a:cubicBezTo>
                  <a:cubicBezTo>
                    <a:pt x="7037" y="12706"/>
                    <a:pt x="7030" y="12700"/>
                    <a:pt x="7024" y="12696"/>
                  </a:cubicBezTo>
                  <a:cubicBezTo>
                    <a:pt x="7018" y="12692"/>
                    <a:pt x="7015" y="12690"/>
                    <a:pt x="7014" y="12689"/>
                  </a:cubicBezTo>
                  <a:cubicBezTo>
                    <a:pt x="7015" y="12689"/>
                    <a:pt x="7020" y="12691"/>
                    <a:pt x="7026" y="12693"/>
                  </a:cubicBezTo>
                  <a:cubicBezTo>
                    <a:pt x="7033" y="12695"/>
                    <a:pt x="7042" y="12697"/>
                    <a:pt x="7052" y="12700"/>
                  </a:cubicBezTo>
                  <a:cubicBezTo>
                    <a:pt x="7063" y="12703"/>
                    <a:pt x="7075" y="12707"/>
                    <a:pt x="7089" y="12711"/>
                  </a:cubicBezTo>
                  <a:cubicBezTo>
                    <a:pt x="7103" y="12714"/>
                    <a:pt x="7118" y="12718"/>
                    <a:pt x="7134" y="12722"/>
                  </a:cubicBezTo>
                  <a:lnTo>
                    <a:pt x="7375" y="12781"/>
                  </a:lnTo>
                  <a:lnTo>
                    <a:pt x="7405" y="12720"/>
                  </a:lnTo>
                  <a:lnTo>
                    <a:pt x="7058" y="12438"/>
                  </a:lnTo>
                  <a:close/>
                  <a:moveTo>
                    <a:pt x="7595" y="12332"/>
                  </a:moveTo>
                  <a:lnTo>
                    <a:pt x="7555" y="12313"/>
                  </a:lnTo>
                  <a:lnTo>
                    <a:pt x="7470" y="12485"/>
                  </a:lnTo>
                  <a:lnTo>
                    <a:pt x="7327" y="12414"/>
                  </a:lnTo>
                  <a:lnTo>
                    <a:pt x="7393" y="12280"/>
                  </a:lnTo>
                  <a:lnTo>
                    <a:pt x="7353" y="12260"/>
                  </a:lnTo>
                  <a:lnTo>
                    <a:pt x="7287" y="12394"/>
                  </a:lnTo>
                  <a:lnTo>
                    <a:pt x="7159" y="12331"/>
                  </a:lnTo>
                  <a:lnTo>
                    <a:pt x="7237" y="12171"/>
                  </a:lnTo>
                  <a:lnTo>
                    <a:pt x="7202" y="12146"/>
                  </a:lnTo>
                  <a:lnTo>
                    <a:pt x="7097" y="12360"/>
                  </a:lnTo>
                  <a:lnTo>
                    <a:pt x="7488" y="12552"/>
                  </a:lnTo>
                  <a:lnTo>
                    <a:pt x="7595" y="12332"/>
                  </a:lnTo>
                  <a:close/>
                  <a:moveTo>
                    <a:pt x="7611" y="11928"/>
                  </a:moveTo>
                  <a:cubicBezTo>
                    <a:pt x="7597" y="11927"/>
                    <a:pt x="7583" y="11928"/>
                    <a:pt x="7570" y="11931"/>
                  </a:cubicBezTo>
                  <a:cubicBezTo>
                    <a:pt x="7557" y="11935"/>
                    <a:pt x="7545" y="11940"/>
                    <a:pt x="7534" y="11948"/>
                  </a:cubicBezTo>
                  <a:cubicBezTo>
                    <a:pt x="7523" y="11955"/>
                    <a:pt x="7511" y="11966"/>
                    <a:pt x="7497" y="11981"/>
                  </a:cubicBezTo>
                  <a:lnTo>
                    <a:pt x="7460" y="12019"/>
                  </a:lnTo>
                  <a:cubicBezTo>
                    <a:pt x="7441" y="12038"/>
                    <a:pt x="7425" y="12051"/>
                    <a:pt x="7410" y="12056"/>
                  </a:cubicBezTo>
                  <a:cubicBezTo>
                    <a:pt x="7396" y="12061"/>
                    <a:pt x="7381" y="12060"/>
                    <a:pt x="7365" y="12052"/>
                  </a:cubicBezTo>
                  <a:cubicBezTo>
                    <a:pt x="7344" y="12042"/>
                    <a:pt x="7332" y="12028"/>
                    <a:pt x="7327" y="12009"/>
                  </a:cubicBezTo>
                  <a:cubicBezTo>
                    <a:pt x="7323" y="11989"/>
                    <a:pt x="7326" y="11967"/>
                    <a:pt x="7339" y="11943"/>
                  </a:cubicBezTo>
                  <a:cubicBezTo>
                    <a:pt x="7343" y="11934"/>
                    <a:pt x="7347" y="11927"/>
                    <a:pt x="7352" y="11920"/>
                  </a:cubicBezTo>
                  <a:cubicBezTo>
                    <a:pt x="7357" y="11913"/>
                    <a:pt x="7362" y="11907"/>
                    <a:pt x="7369" y="11900"/>
                  </a:cubicBezTo>
                  <a:cubicBezTo>
                    <a:pt x="7375" y="11894"/>
                    <a:pt x="7382" y="11888"/>
                    <a:pt x="7390" y="11882"/>
                  </a:cubicBezTo>
                  <a:cubicBezTo>
                    <a:pt x="7398" y="11876"/>
                    <a:pt x="7408" y="11870"/>
                    <a:pt x="7418" y="11864"/>
                  </a:cubicBezTo>
                  <a:lnTo>
                    <a:pt x="7395" y="11827"/>
                  </a:lnTo>
                  <a:cubicBezTo>
                    <a:pt x="7352" y="11852"/>
                    <a:pt x="7320" y="11885"/>
                    <a:pt x="7299" y="11926"/>
                  </a:cubicBezTo>
                  <a:cubicBezTo>
                    <a:pt x="7290" y="11945"/>
                    <a:pt x="7284" y="11964"/>
                    <a:pt x="7282" y="11982"/>
                  </a:cubicBezTo>
                  <a:cubicBezTo>
                    <a:pt x="7280" y="12000"/>
                    <a:pt x="7281" y="12017"/>
                    <a:pt x="7286" y="12033"/>
                  </a:cubicBezTo>
                  <a:cubicBezTo>
                    <a:pt x="7290" y="12049"/>
                    <a:pt x="7298" y="12063"/>
                    <a:pt x="7308" y="12076"/>
                  </a:cubicBezTo>
                  <a:cubicBezTo>
                    <a:pt x="7319" y="12089"/>
                    <a:pt x="7333" y="12100"/>
                    <a:pt x="7349" y="12108"/>
                  </a:cubicBezTo>
                  <a:cubicBezTo>
                    <a:pt x="7374" y="12120"/>
                    <a:pt x="7400" y="12122"/>
                    <a:pt x="7425" y="12115"/>
                  </a:cubicBezTo>
                  <a:cubicBezTo>
                    <a:pt x="7437" y="12111"/>
                    <a:pt x="7448" y="12105"/>
                    <a:pt x="7458" y="12097"/>
                  </a:cubicBezTo>
                  <a:cubicBezTo>
                    <a:pt x="7468" y="12089"/>
                    <a:pt x="7480" y="12078"/>
                    <a:pt x="7494" y="12062"/>
                  </a:cubicBezTo>
                  <a:lnTo>
                    <a:pt x="7525" y="12029"/>
                  </a:lnTo>
                  <a:cubicBezTo>
                    <a:pt x="7563" y="11989"/>
                    <a:pt x="7598" y="11978"/>
                    <a:pt x="7633" y="11995"/>
                  </a:cubicBezTo>
                  <a:cubicBezTo>
                    <a:pt x="7656" y="12006"/>
                    <a:pt x="7670" y="12025"/>
                    <a:pt x="7675" y="12050"/>
                  </a:cubicBezTo>
                  <a:cubicBezTo>
                    <a:pt x="7677" y="12062"/>
                    <a:pt x="7677" y="12073"/>
                    <a:pt x="7675" y="12083"/>
                  </a:cubicBezTo>
                  <a:cubicBezTo>
                    <a:pt x="7673" y="12093"/>
                    <a:pt x="7669" y="12106"/>
                    <a:pt x="7661" y="12121"/>
                  </a:cubicBezTo>
                  <a:cubicBezTo>
                    <a:pt x="7652" y="12140"/>
                    <a:pt x="7640" y="12157"/>
                    <a:pt x="7626" y="12172"/>
                  </a:cubicBezTo>
                  <a:cubicBezTo>
                    <a:pt x="7613" y="12186"/>
                    <a:pt x="7596" y="12198"/>
                    <a:pt x="7576" y="12209"/>
                  </a:cubicBezTo>
                  <a:lnTo>
                    <a:pt x="7603" y="12247"/>
                  </a:lnTo>
                  <a:cubicBezTo>
                    <a:pt x="7624" y="12234"/>
                    <a:pt x="7643" y="12219"/>
                    <a:pt x="7659" y="12201"/>
                  </a:cubicBezTo>
                  <a:cubicBezTo>
                    <a:pt x="7674" y="12184"/>
                    <a:pt x="7688" y="12163"/>
                    <a:pt x="7700" y="12139"/>
                  </a:cubicBezTo>
                  <a:cubicBezTo>
                    <a:pt x="7709" y="12121"/>
                    <a:pt x="7715" y="12104"/>
                    <a:pt x="7718" y="12089"/>
                  </a:cubicBezTo>
                  <a:cubicBezTo>
                    <a:pt x="7720" y="12073"/>
                    <a:pt x="7721" y="12057"/>
                    <a:pt x="7719" y="12040"/>
                  </a:cubicBezTo>
                  <a:cubicBezTo>
                    <a:pt x="7716" y="12017"/>
                    <a:pt x="7709" y="11997"/>
                    <a:pt x="7697" y="11979"/>
                  </a:cubicBezTo>
                  <a:cubicBezTo>
                    <a:pt x="7685" y="11962"/>
                    <a:pt x="7670" y="11948"/>
                    <a:pt x="7652" y="11939"/>
                  </a:cubicBezTo>
                  <a:cubicBezTo>
                    <a:pt x="7639" y="11934"/>
                    <a:pt x="7626" y="11930"/>
                    <a:pt x="7611" y="11928"/>
                  </a:cubicBezTo>
                  <a:close/>
                  <a:moveTo>
                    <a:pt x="7529" y="11481"/>
                  </a:moveTo>
                  <a:lnTo>
                    <a:pt x="7401" y="11740"/>
                  </a:lnTo>
                  <a:lnTo>
                    <a:pt x="7441" y="11760"/>
                  </a:lnTo>
                  <a:lnTo>
                    <a:pt x="7492" y="11655"/>
                  </a:lnTo>
                  <a:lnTo>
                    <a:pt x="7844" y="11828"/>
                  </a:lnTo>
                  <a:lnTo>
                    <a:pt x="7866" y="11783"/>
                  </a:lnTo>
                  <a:lnTo>
                    <a:pt x="7514" y="11610"/>
                  </a:lnTo>
                  <a:lnTo>
                    <a:pt x="7567" y="11504"/>
                  </a:lnTo>
                  <a:lnTo>
                    <a:pt x="7529" y="11481"/>
                  </a:lnTo>
                  <a:close/>
                  <a:moveTo>
                    <a:pt x="7663" y="11209"/>
                  </a:moveTo>
                  <a:lnTo>
                    <a:pt x="7562" y="11414"/>
                  </a:lnTo>
                  <a:lnTo>
                    <a:pt x="7953" y="11607"/>
                  </a:lnTo>
                  <a:lnTo>
                    <a:pt x="7976" y="11559"/>
                  </a:lnTo>
                  <a:lnTo>
                    <a:pt x="7790" y="11468"/>
                  </a:lnTo>
                  <a:lnTo>
                    <a:pt x="7852" y="11343"/>
                  </a:lnTo>
                  <a:lnTo>
                    <a:pt x="7814" y="11324"/>
                  </a:lnTo>
                  <a:lnTo>
                    <a:pt x="7752" y="11449"/>
                  </a:lnTo>
                  <a:lnTo>
                    <a:pt x="7624" y="11386"/>
                  </a:lnTo>
                  <a:lnTo>
                    <a:pt x="7698" y="11235"/>
                  </a:lnTo>
                  <a:lnTo>
                    <a:pt x="7663" y="11209"/>
                  </a:lnTo>
                  <a:close/>
                  <a:moveTo>
                    <a:pt x="8210" y="11083"/>
                  </a:moveTo>
                  <a:lnTo>
                    <a:pt x="7756" y="11020"/>
                  </a:lnTo>
                  <a:lnTo>
                    <a:pt x="7726" y="11081"/>
                  </a:lnTo>
                  <a:lnTo>
                    <a:pt x="8052" y="11404"/>
                  </a:lnTo>
                  <a:lnTo>
                    <a:pt x="8076" y="11357"/>
                  </a:lnTo>
                  <a:lnTo>
                    <a:pt x="7974" y="11260"/>
                  </a:lnTo>
                  <a:lnTo>
                    <a:pt x="8046" y="11114"/>
                  </a:lnTo>
                  <a:lnTo>
                    <a:pt x="8184" y="11136"/>
                  </a:lnTo>
                  <a:lnTo>
                    <a:pt x="8210" y="11083"/>
                  </a:lnTo>
                  <a:close/>
                  <a:moveTo>
                    <a:pt x="8002" y="11107"/>
                  </a:moveTo>
                  <a:lnTo>
                    <a:pt x="7942" y="11229"/>
                  </a:lnTo>
                  <a:lnTo>
                    <a:pt x="7781" y="11073"/>
                  </a:lnTo>
                  <a:lnTo>
                    <a:pt x="8002" y="11107"/>
                  </a:lnTo>
                  <a:close/>
                  <a:moveTo>
                    <a:pt x="7648" y="11051"/>
                  </a:moveTo>
                  <a:cubicBezTo>
                    <a:pt x="7639" y="11054"/>
                    <a:pt x="7633" y="11060"/>
                    <a:pt x="7629" y="11068"/>
                  </a:cubicBezTo>
                  <a:cubicBezTo>
                    <a:pt x="7625" y="11076"/>
                    <a:pt x="7624" y="11085"/>
                    <a:pt x="7627" y="11093"/>
                  </a:cubicBezTo>
                  <a:cubicBezTo>
                    <a:pt x="7630" y="11102"/>
                    <a:pt x="7635" y="11108"/>
                    <a:pt x="7643" y="11112"/>
                  </a:cubicBezTo>
                  <a:cubicBezTo>
                    <a:pt x="7652" y="11116"/>
                    <a:pt x="7660" y="11116"/>
                    <a:pt x="7669" y="11114"/>
                  </a:cubicBezTo>
                  <a:cubicBezTo>
                    <a:pt x="7678" y="11111"/>
                    <a:pt x="7684" y="11105"/>
                    <a:pt x="7688" y="11097"/>
                  </a:cubicBezTo>
                  <a:cubicBezTo>
                    <a:pt x="7692" y="11089"/>
                    <a:pt x="7693" y="11080"/>
                    <a:pt x="7690" y="11072"/>
                  </a:cubicBezTo>
                  <a:cubicBezTo>
                    <a:pt x="7686" y="11063"/>
                    <a:pt x="7681" y="11057"/>
                    <a:pt x="7672" y="11053"/>
                  </a:cubicBezTo>
                  <a:cubicBezTo>
                    <a:pt x="7664" y="11049"/>
                    <a:pt x="7656" y="11049"/>
                    <a:pt x="7648" y="11051"/>
                  </a:cubicBezTo>
                  <a:close/>
                  <a:moveTo>
                    <a:pt x="7705" y="10934"/>
                  </a:moveTo>
                  <a:cubicBezTo>
                    <a:pt x="7697" y="10937"/>
                    <a:pt x="7691" y="10943"/>
                    <a:pt x="7686" y="10951"/>
                  </a:cubicBezTo>
                  <a:cubicBezTo>
                    <a:pt x="7683" y="10959"/>
                    <a:pt x="7682" y="10967"/>
                    <a:pt x="7685" y="10976"/>
                  </a:cubicBezTo>
                  <a:cubicBezTo>
                    <a:pt x="7688" y="10984"/>
                    <a:pt x="7693" y="10990"/>
                    <a:pt x="7701" y="10994"/>
                  </a:cubicBezTo>
                  <a:cubicBezTo>
                    <a:pt x="7710" y="10998"/>
                    <a:pt x="7718" y="10999"/>
                    <a:pt x="7727" y="10996"/>
                  </a:cubicBezTo>
                  <a:cubicBezTo>
                    <a:pt x="7736" y="10993"/>
                    <a:pt x="7742" y="10988"/>
                    <a:pt x="7746" y="10979"/>
                  </a:cubicBezTo>
                  <a:cubicBezTo>
                    <a:pt x="7750" y="10971"/>
                    <a:pt x="7751" y="10963"/>
                    <a:pt x="7747" y="10954"/>
                  </a:cubicBezTo>
                  <a:cubicBezTo>
                    <a:pt x="7744" y="10946"/>
                    <a:pt x="7738" y="10940"/>
                    <a:pt x="7730" y="10936"/>
                  </a:cubicBezTo>
                  <a:cubicBezTo>
                    <a:pt x="7722" y="10932"/>
                    <a:pt x="7714" y="10931"/>
                    <a:pt x="7705" y="10934"/>
                  </a:cubicBezTo>
                  <a:close/>
                  <a:moveTo>
                    <a:pt x="8306" y="10789"/>
                  </a:moveTo>
                  <a:lnTo>
                    <a:pt x="8230" y="10943"/>
                  </a:lnTo>
                  <a:lnTo>
                    <a:pt x="7879" y="10770"/>
                  </a:lnTo>
                  <a:lnTo>
                    <a:pt x="7856" y="10817"/>
                  </a:lnTo>
                  <a:lnTo>
                    <a:pt x="8247" y="11009"/>
                  </a:lnTo>
                  <a:lnTo>
                    <a:pt x="8342" y="10815"/>
                  </a:lnTo>
                  <a:lnTo>
                    <a:pt x="8306" y="10789"/>
                  </a:lnTo>
                  <a:close/>
                  <a:moveTo>
                    <a:pt x="8405" y="10687"/>
                  </a:moveTo>
                  <a:lnTo>
                    <a:pt x="8014" y="10495"/>
                  </a:lnTo>
                  <a:lnTo>
                    <a:pt x="7992" y="10541"/>
                  </a:lnTo>
                  <a:lnTo>
                    <a:pt x="8383" y="10733"/>
                  </a:lnTo>
                  <a:lnTo>
                    <a:pt x="8405" y="10687"/>
                  </a:lnTo>
                  <a:close/>
                  <a:moveTo>
                    <a:pt x="8429" y="10267"/>
                  </a:moveTo>
                  <a:cubicBezTo>
                    <a:pt x="8414" y="10265"/>
                    <a:pt x="8401" y="10266"/>
                    <a:pt x="8388" y="10270"/>
                  </a:cubicBezTo>
                  <a:cubicBezTo>
                    <a:pt x="8375" y="10273"/>
                    <a:pt x="8363" y="10278"/>
                    <a:pt x="8352" y="10286"/>
                  </a:cubicBezTo>
                  <a:cubicBezTo>
                    <a:pt x="8341" y="10293"/>
                    <a:pt x="8328" y="10304"/>
                    <a:pt x="8314" y="10319"/>
                  </a:cubicBezTo>
                  <a:lnTo>
                    <a:pt x="8278" y="10357"/>
                  </a:lnTo>
                  <a:cubicBezTo>
                    <a:pt x="8259" y="10377"/>
                    <a:pt x="8242" y="10389"/>
                    <a:pt x="8228" y="10394"/>
                  </a:cubicBezTo>
                  <a:cubicBezTo>
                    <a:pt x="8213" y="10400"/>
                    <a:pt x="8198" y="10399"/>
                    <a:pt x="8182" y="10391"/>
                  </a:cubicBezTo>
                  <a:cubicBezTo>
                    <a:pt x="8162" y="10381"/>
                    <a:pt x="8150" y="10366"/>
                    <a:pt x="8145" y="10347"/>
                  </a:cubicBezTo>
                  <a:cubicBezTo>
                    <a:pt x="8140" y="10328"/>
                    <a:pt x="8144" y="10306"/>
                    <a:pt x="8156" y="10281"/>
                  </a:cubicBezTo>
                  <a:cubicBezTo>
                    <a:pt x="8160" y="10273"/>
                    <a:pt x="8165" y="10265"/>
                    <a:pt x="8170" y="10258"/>
                  </a:cubicBezTo>
                  <a:cubicBezTo>
                    <a:pt x="8174" y="10251"/>
                    <a:pt x="8180" y="10245"/>
                    <a:pt x="8186" y="10239"/>
                  </a:cubicBezTo>
                  <a:cubicBezTo>
                    <a:pt x="8193" y="10233"/>
                    <a:pt x="8200" y="10227"/>
                    <a:pt x="8208" y="10221"/>
                  </a:cubicBezTo>
                  <a:cubicBezTo>
                    <a:pt x="8216" y="10215"/>
                    <a:pt x="8225" y="10209"/>
                    <a:pt x="8236" y="10202"/>
                  </a:cubicBezTo>
                  <a:lnTo>
                    <a:pt x="8213" y="10165"/>
                  </a:lnTo>
                  <a:cubicBezTo>
                    <a:pt x="8169" y="10190"/>
                    <a:pt x="8137" y="10223"/>
                    <a:pt x="8117" y="10264"/>
                  </a:cubicBezTo>
                  <a:cubicBezTo>
                    <a:pt x="8108" y="10283"/>
                    <a:pt x="8102" y="10302"/>
                    <a:pt x="8100" y="10320"/>
                  </a:cubicBezTo>
                  <a:cubicBezTo>
                    <a:pt x="8098" y="10339"/>
                    <a:pt x="8099" y="10356"/>
                    <a:pt x="8103" y="10372"/>
                  </a:cubicBezTo>
                  <a:cubicBezTo>
                    <a:pt x="8108" y="10387"/>
                    <a:pt x="8115" y="10402"/>
                    <a:pt x="8126" y="10415"/>
                  </a:cubicBezTo>
                  <a:cubicBezTo>
                    <a:pt x="8137" y="10427"/>
                    <a:pt x="8150" y="10438"/>
                    <a:pt x="8167" y="10446"/>
                  </a:cubicBezTo>
                  <a:cubicBezTo>
                    <a:pt x="8192" y="10458"/>
                    <a:pt x="8217" y="10461"/>
                    <a:pt x="8243" y="10453"/>
                  </a:cubicBezTo>
                  <a:cubicBezTo>
                    <a:pt x="8255" y="10449"/>
                    <a:pt x="8265" y="10444"/>
                    <a:pt x="8276" y="10436"/>
                  </a:cubicBezTo>
                  <a:cubicBezTo>
                    <a:pt x="8286" y="10428"/>
                    <a:pt x="8298" y="10416"/>
                    <a:pt x="8312" y="10401"/>
                  </a:cubicBezTo>
                  <a:lnTo>
                    <a:pt x="8343" y="10367"/>
                  </a:lnTo>
                  <a:cubicBezTo>
                    <a:pt x="8380" y="10327"/>
                    <a:pt x="8416" y="10316"/>
                    <a:pt x="8451" y="10333"/>
                  </a:cubicBezTo>
                  <a:cubicBezTo>
                    <a:pt x="8474" y="10344"/>
                    <a:pt x="8488" y="10363"/>
                    <a:pt x="8493" y="10388"/>
                  </a:cubicBezTo>
                  <a:cubicBezTo>
                    <a:pt x="8495" y="10400"/>
                    <a:pt x="8495" y="10411"/>
                    <a:pt x="8493" y="10421"/>
                  </a:cubicBezTo>
                  <a:cubicBezTo>
                    <a:pt x="8491" y="10432"/>
                    <a:pt x="8486" y="10444"/>
                    <a:pt x="8479" y="10459"/>
                  </a:cubicBezTo>
                  <a:cubicBezTo>
                    <a:pt x="8469" y="10479"/>
                    <a:pt x="8458" y="10496"/>
                    <a:pt x="8444" y="10510"/>
                  </a:cubicBezTo>
                  <a:cubicBezTo>
                    <a:pt x="8430" y="10524"/>
                    <a:pt x="8414" y="10537"/>
                    <a:pt x="8394" y="10547"/>
                  </a:cubicBezTo>
                  <a:lnTo>
                    <a:pt x="8420" y="10586"/>
                  </a:lnTo>
                  <a:cubicBezTo>
                    <a:pt x="8442" y="10572"/>
                    <a:pt x="8461" y="10557"/>
                    <a:pt x="8476" y="10539"/>
                  </a:cubicBezTo>
                  <a:cubicBezTo>
                    <a:pt x="8492" y="10522"/>
                    <a:pt x="8506" y="10501"/>
                    <a:pt x="8517" y="10478"/>
                  </a:cubicBezTo>
                  <a:cubicBezTo>
                    <a:pt x="8526" y="10459"/>
                    <a:pt x="8532" y="10443"/>
                    <a:pt x="8535" y="10427"/>
                  </a:cubicBezTo>
                  <a:cubicBezTo>
                    <a:pt x="8538" y="10412"/>
                    <a:pt x="8539" y="10395"/>
                    <a:pt x="8537" y="10378"/>
                  </a:cubicBezTo>
                  <a:cubicBezTo>
                    <a:pt x="8534" y="10355"/>
                    <a:pt x="8527" y="10335"/>
                    <a:pt x="8515" y="10318"/>
                  </a:cubicBezTo>
                  <a:cubicBezTo>
                    <a:pt x="8503" y="10300"/>
                    <a:pt x="8487" y="10287"/>
                    <a:pt x="8469" y="10278"/>
                  </a:cubicBezTo>
                  <a:cubicBezTo>
                    <a:pt x="8457" y="10272"/>
                    <a:pt x="8444" y="10268"/>
                    <a:pt x="8429" y="10267"/>
                  </a:cubicBezTo>
                  <a:close/>
                  <a:moveTo>
                    <a:pt x="8680" y="9984"/>
                  </a:moveTo>
                  <a:cubicBezTo>
                    <a:pt x="8683" y="10001"/>
                    <a:pt x="8683" y="10016"/>
                    <a:pt x="8681" y="10030"/>
                  </a:cubicBezTo>
                  <a:cubicBezTo>
                    <a:pt x="8679" y="10044"/>
                    <a:pt x="8675" y="10058"/>
                    <a:pt x="8668" y="10073"/>
                  </a:cubicBezTo>
                  <a:cubicBezTo>
                    <a:pt x="8657" y="10095"/>
                    <a:pt x="8641" y="10113"/>
                    <a:pt x="8619" y="10126"/>
                  </a:cubicBezTo>
                  <a:cubicBezTo>
                    <a:pt x="8598" y="10139"/>
                    <a:pt x="8573" y="10144"/>
                    <a:pt x="8543" y="10142"/>
                  </a:cubicBezTo>
                  <a:cubicBezTo>
                    <a:pt x="8530" y="10141"/>
                    <a:pt x="8516" y="10138"/>
                    <a:pt x="8503" y="10134"/>
                  </a:cubicBezTo>
                  <a:cubicBezTo>
                    <a:pt x="8490" y="10130"/>
                    <a:pt x="8473" y="10123"/>
                    <a:pt x="8454" y="10114"/>
                  </a:cubicBezTo>
                  <a:cubicBezTo>
                    <a:pt x="8431" y="10102"/>
                    <a:pt x="8412" y="10091"/>
                    <a:pt x="8397" y="10081"/>
                  </a:cubicBezTo>
                  <a:cubicBezTo>
                    <a:pt x="8382" y="10070"/>
                    <a:pt x="8369" y="10058"/>
                    <a:pt x="8359" y="10046"/>
                  </a:cubicBezTo>
                  <a:cubicBezTo>
                    <a:pt x="8341" y="10026"/>
                    <a:pt x="8331" y="10005"/>
                    <a:pt x="8327" y="9983"/>
                  </a:cubicBezTo>
                  <a:cubicBezTo>
                    <a:pt x="8324" y="9962"/>
                    <a:pt x="8328" y="9940"/>
                    <a:pt x="8339" y="9917"/>
                  </a:cubicBezTo>
                  <a:cubicBezTo>
                    <a:pt x="8346" y="9902"/>
                    <a:pt x="8354" y="9890"/>
                    <a:pt x="8364" y="9881"/>
                  </a:cubicBezTo>
                  <a:cubicBezTo>
                    <a:pt x="8373" y="9871"/>
                    <a:pt x="8385" y="9862"/>
                    <a:pt x="8400" y="9855"/>
                  </a:cubicBezTo>
                  <a:lnTo>
                    <a:pt x="8382" y="9815"/>
                  </a:lnTo>
                  <a:cubicBezTo>
                    <a:pt x="8365" y="9823"/>
                    <a:pt x="8350" y="9834"/>
                    <a:pt x="8336" y="9848"/>
                  </a:cubicBezTo>
                  <a:cubicBezTo>
                    <a:pt x="8323" y="9862"/>
                    <a:pt x="8311" y="9879"/>
                    <a:pt x="8302" y="9898"/>
                  </a:cubicBezTo>
                  <a:cubicBezTo>
                    <a:pt x="8290" y="9921"/>
                    <a:pt x="8284" y="9946"/>
                    <a:pt x="8285" y="9971"/>
                  </a:cubicBezTo>
                  <a:cubicBezTo>
                    <a:pt x="8285" y="9996"/>
                    <a:pt x="8290" y="10020"/>
                    <a:pt x="8301" y="10044"/>
                  </a:cubicBezTo>
                  <a:cubicBezTo>
                    <a:pt x="8312" y="10067"/>
                    <a:pt x="8328" y="10089"/>
                    <a:pt x="8348" y="10109"/>
                  </a:cubicBezTo>
                  <a:cubicBezTo>
                    <a:pt x="8369" y="10130"/>
                    <a:pt x="8394" y="10147"/>
                    <a:pt x="8423" y="10161"/>
                  </a:cubicBezTo>
                  <a:cubicBezTo>
                    <a:pt x="8452" y="10175"/>
                    <a:pt x="8481" y="10185"/>
                    <a:pt x="8510" y="10191"/>
                  </a:cubicBezTo>
                  <a:cubicBezTo>
                    <a:pt x="8539" y="10196"/>
                    <a:pt x="8567" y="10195"/>
                    <a:pt x="8594" y="10188"/>
                  </a:cubicBezTo>
                  <a:cubicBezTo>
                    <a:pt x="8619" y="10181"/>
                    <a:pt x="8640" y="10170"/>
                    <a:pt x="8659" y="10154"/>
                  </a:cubicBezTo>
                  <a:cubicBezTo>
                    <a:pt x="8677" y="10139"/>
                    <a:pt x="8692" y="10120"/>
                    <a:pt x="8702" y="10099"/>
                  </a:cubicBezTo>
                  <a:cubicBezTo>
                    <a:pt x="8712" y="10080"/>
                    <a:pt x="8718" y="10059"/>
                    <a:pt x="8722" y="10038"/>
                  </a:cubicBezTo>
                  <a:cubicBezTo>
                    <a:pt x="8726" y="10017"/>
                    <a:pt x="8726" y="9996"/>
                    <a:pt x="8724" y="9975"/>
                  </a:cubicBezTo>
                  <a:lnTo>
                    <a:pt x="8680" y="9984"/>
                  </a:lnTo>
                  <a:close/>
                  <a:moveTo>
                    <a:pt x="8916" y="9649"/>
                  </a:moveTo>
                  <a:lnTo>
                    <a:pt x="8525" y="9457"/>
                  </a:lnTo>
                  <a:lnTo>
                    <a:pt x="8502" y="9503"/>
                  </a:lnTo>
                  <a:lnTo>
                    <a:pt x="8666" y="9584"/>
                  </a:lnTo>
                  <a:lnTo>
                    <a:pt x="8585" y="9748"/>
                  </a:lnTo>
                  <a:lnTo>
                    <a:pt x="8421" y="9668"/>
                  </a:lnTo>
                  <a:lnTo>
                    <a:pt x="8399" y="9714"/>
                  </a:lnTo>
                  <a:lnTo>
                    <a:pt x="8789" y="9906"/>
                  </a:lnTo>
                  <a:lnTo>
                    <a:pt x="8812" y="9860"/>
                  </a:lnTo>
                  <a:lnTo>
                    <a:pt x="8623" y="9767"/>
                  </a:lnTo>
                  <a:lnTo>
                    <a:pt x="8704" y="9603"/>
                  </a:lnTo>
                  <a:lnTo>
                    <a:pt x="8893" y="9696"/>
                  </a:lnTo>
                  <a:lnTo>
                    <a:pt x="8916" y="9649"/>
                  </a:lnTo>
                  <a:close/>
                  <a:moveTo>
                    <a:pt x="5421" y="18254"/>
                  </a:moveTo>
                  <a:lnTo>
                    <a:pt x="5119" y="18105"/>
                  </a:lnTo>
                  <a:lnTo>
                    <a:pt x="5096" y="18151"/>
                  </a:lnTo>
                  <a:lnTo>
                    <a:pt x="5306" y="18254"/>
                  </a:lnTo>
                  <a:lnTo>
                    <a:pt x="5421" y="18254"/>
                  </a:lnTo>
                  <a:close/>
                  <a:moveTo>
                    <a:pt x="9002" y="10906"/>
                  </a:moveTo>
                  <a:lnTo>
                    <a:pt x="9002" y="10850"/>
                  </a:lnTo>
                  <a:lnTo>
                    <a:pt x="8789" y="10745"/>
                  </a:lnTo>
                  <a:lnTo>
                    <a:pt x="8841" y="10639"/>
                  </a:lnTo>
                  <a:lnTo>
                    <a:pt x="8803" y="10617"/>
                  </a:lnTo>
                  <a:lnTo>
                    <a:pt x="8676" y="10876"/>
                  </a:lnTo>
                  <a:lnTo>
                    <a:pt x="8715" y="10895"/>
                  </a:lnTo>
                  <a:lnTo>
                    <a:pt x="8767" y="10790"/>
                  </a:lnTo>
                  <a:lnTo>
                    <a:pt x="9002" y="10906"/>
                  </a:lnTo>
                  <a:close/>
                  <a:moveTo>
                    <a:pt x="9002" y="10631"/>
                  </a:moveTo>
                  <a:lnTo>
                    <a:pt x="9002" y="10573"/>
                  </a:lnTo>
                  <a:lnTo>
                    <a:pt x="8898" y="10522"/>
                  </a:lnTo>
                  <a:lnTo>
                    <a:pt x="8977" y="10361"/>
                  </a:lnTo>
                  <a:lnTo>
                    <a:pt x="8942" y="10336"/>
                  </a:lnTo>
                  <a:lnTo>
                    <a:pt x="8836" y="10550"/>
                  </a:lnTo>
                  <a:lnTo>
                    <a:pt x="9002" y="10631"/>
                  </a:lnTo>
                  <a:close/>
                  <a:moveTo>
                    <a:pt x="5626" y="17962"/>
                  </a:moveTo>
                  <a:lnTo>
                    <a:pt x="5550" y="18117"/>
                  </a:lnTo>
                  <a:lnTo>
                    <a:pt x="5198" y="17944"/>
                  </a:lnTo>
                  <a:lnTo>
                    <a:pt x="5175" y="17991"/>
                  </a:lnTo>
                  <a:lnTo>
                    <a:pt x="5566" y="18183"/>
                  </a:lnTo>
                  <a:lnTo>
                    <a:pt x="5662" y="17988"/>
                  </a:lnTo>
                  <a:lnTo>
                    <a:pt x="5626" y="17962"/>
                  </a:lnTo>
                  <a:close/>
                  <a:moveTo>
                    <a:pt x="5828" y="17650"/>
                  </a:moveTo>
                  <a:lnTo>
                    <a:pt x="5438" y="17457"/>
                  </a:lnTo>
                  <a:lnTo>
                    <a:pt x="5415" y="17504"/>
                  </a:lnTo>
                  <a:lnTo>
                    <a:pt x="5578" y="17584"/>
                  </a:lnTo>
                  <a:lnTo>
                    <a:pt x="5497" y="17749"/>
                  </a:lnTo>
                  <a:lnTo>
                    <a:pt x="5334" y="17669"/>
                  </a:lnTo>
                  <a:lnTo>
                    <a:pt x="5311" y="17714"/>
                  </a:lnTo>
                  <a:lnTo>
                    <a:pt x="5702" y="17906"/>
                  </a:lnTo>
                  <a:lnTo>
                    <a:pt x="5724" y="17861"/>
                  </a:lnTo>
                  <a:lnTo>
                    <a:pt x="5535" y="17768"/>
                  </a:lnTo>
                  <a:lnTo>
                    <a:pt x="5616" y="17603"/>
                  </a:lnTo>
                  <a:lnTo>
                    <a:pt x="5805" y="17696"/>
                  </a:lnTo>
                  <a:lnTo>
                    <a:pt x="5828" y="17650"/>
                  </a:lnTo>
                  <a:close/>
                  <a:moveTo>
                    <a:pt x="5993" y="17316"/>
                  </a:moveTo>
                  <a:lnTo>
                    <a:pt x="5952" y="17296"/>
                  </a:lnTo>
                  <a:lnTo>
                    <a:pt x="5868" y="17468"/>
                  </a:lnTo>
                  <a:lnTo>
                    <a:pt x="5725" y="17398"/>
                  </a:lnTo>
                  <a:lnTo>
                    <a:pt x="5790" y="17264"/>
                  </a:lnTo>
                  <a:lnTo>
                    <a:pt x="5750" y="17244"/>
                  </a:lnTo>
                  <a:lnTo>
                    <a:pt x="5684" y="17378"/>
                  </a:lnTo>
                  <a:lnTo>
                    <a:pt x="5556" y="17315"/>
                  </a:lnTo>
                  <a:lnTo>
                    <a:pt x="5635" y="17154"/>
                  </a:lnTo>
                  <a:lnTo>
                    <a:pt x="5599" y="17129"/>
                  </a:lnTo>
                  <a:lnTo>
                    <a:pt x="5494" y="17343"/>
                  </a:lnTo>
                  <a:lnTo>
                    <a:pt x="5885" y="17535"/>
                  </a:lnTo>
                  <a:lnTo>
                    <a:pt x="5993" y="17316"/>
                  </a:lnTo>
                  <a:close/>
                  <a:moveTo>
                    <a:pt x="6093" y="17013"/>
                  </a:moveTo>
                  <a:lnTo>
                    <a:pt x="6017" y="17167"/>
                  </a:lnTo>
                  <a:lnTo>
                    <a:pt x="5665" y="16994"/>
                  </a:lnTo>
                  <a:lnTo>
                    <a:pt x="5642" y="17041"/>
                  </a:lnTo>
                  <a:lnTo>
                    <a:pt x="6033" y="17233"/>
                  </a:lnTo>
                  <a:lnTo>
                    <a:pt x="6129" y="17038"/>
                  </a:lnTo>
                  <a:lnTo>
                    <a:pt x="6093" y="17013"/>
                  </a:lnTo>
                  <a:close/>
                  <a:moveTo>
                    <a:pt x="6352" y="16585"/>
                  </a:moveTo>
                  <a:lnTo>
                    <a:pt x="5945" y="16427"/>
                  </a:lnTo>
                  <a:lnTo>
                    <a:pt x="5911" y="16496"/>
                  </a:lnTo>
                  <a:lnTo>
                    <a:pt x="6134" y="16697"/>
                  </a:lnTo>
                  <a:cubicBezTo>
                    <a:pt x="6148" y="16709"/>
                    <a:pt x="6160" y="16719"/>
                    <a:pt x="6172" y="16728"/>
                  </a:cubicBezTo>
                  <a:cubicBezTo>
                    <a:pt x="6183" y="16736"/>
                    <a:pt x="6189" y="16741"/>
                    <a:pt x="6191" y="16742"/>
                  </a:cubicBezTo>
                  <a:cubicBezTo>
                    <a:pt x="6189" y="16742"/>
                    <a:pt x="6181" y="16740"/>
                    <a:pt x="6167" y="16736"/>
                  </a:cubicBezTo>
                  <a:cubicBezTo>
                    <a:pt x="6153" y="16732"/>
                    <a:pt x="6136" y="16728"/>
                    <a:pt x="6115" y="16724"/>
                  </a:cubicBezTo>
                  <a:lnTo>
                    <a:pt x="5825" y="16670"/>
                  </a:lnTo>
                  <a:lnTo>
                    <a:pt x="5791" y="16738"/>
                  </a:lnTo>
                  <a:lnTo>
                    <a:pt x="6165" y="16965"/>
                  </a:lnTo>
                  <a:lnTo>
                    <a:pt x="6187" y="16920"/>
                  </a:lnTo>
                  <a:lnTo>
                    <a:pt x="5920" y="16761"/>
                  </a:lnTo>
                  <a:cubicBezTo>
                    <a:pt x="5915" y="16758"/>
                    <a:pt x="5908" y="16754"/>
                    <a:pt x="5901" y="16750"/>
                  </a:cubicBezTo>
                  <a:cubicBezTo>
                    <a:pt x="5893" y="16746"/>
                    <a:pt x="5886" y="16741"/>
                    <a:pt x="5878" y="16737"/>
                  </a:cubicBezTo>
                  <a:cubicBezTo>
                    <a:pt x="5871" y="16733"/>
                    <a:pt x="5864" y="16729"/>
                    <a:pt x="5859" y="16726"/>
                  </a:cubicBezTo>
                  <a:cubicBezTo>
                    <a:pt x="5854" y="16723"/>
                    <a:pt x="5851" y="16722"/>
                    <a:pt x="5849" y="16721"/>
                  </a:cubicBezTo>
                  <a:cubicBezTo>
                    <a:pt x="5854" y="16722"/>
                    <a:pt x="5863" y="16724"/>
                    <a:pt x="5877" y="16727"/>
                  </a:cubicBezTo>
                  <a:cubicBezTo>
                    <a:pt x="5892" y="16730"/>
                    <a:pt x="5910" y="16733"/>
                    <a:pt x="5932" y="16738"/>
                  </a:cubicBezTo>
                  <a:lnTo>
                    <a:pt x="6248" y="16797"/>
                  </a:lnTo>
                  <a:lnTo>
                    <a:pt x="6268" y="16757"/>
                  </a:lnTo>
                  <a:lnTo>
                    <a:pt x="6017" y="16530"/>
                  </a:lnTo>
                  <a:cubicBezTo>
                    <a:pt x="6012" y="16525"/>
                    <a:pt x="6006" y="16520"/>
                    <a:pt x="6000" y="16515"/>
                  </a:cubicBezTo>
                  <a:cubicBezTo>
                    <a:pt x="5995" y="16510"/>
                    <a:pt x="5989" y="16506"/>
                    <a:pt x="5984" y="16501"/>
                  </a:cubicBezTo>
                  <a:cubicBezTo>
                    <a:pt x="5978" y="16497"/>
                    <a:pt x="5974" y="16493"/>
                    <a:pt x="5970" y="16490"/>
                  </a:cubicBezTo>
                  <a:cubicBezTo>
                    <a:pt x="5966" y="16487"/>
                    <a:pt x="5964" y="16485"/>
                    <a:pt x="5964" y="16484"/>
                  </a:cubicBezTo>
                  <a:cubicBezTo>
                    <a:pt x="5965" y="16485"/>
                    <a:pt x="5967" y="16486"/>
                    <a:pt x="5972" y="16488"/>
                  </a:cubicBezTo>
                  <a:cubicBezTo>
                    <a:pt x="5977" y="16490"/>
                    <a:pt x="5982" y="16492"/>
                    <a:pt x="5989" y="16496"/>
                  </a:cubicBezTo>
                  <a:cubicBezTo>
                    <a:pt x="5996" y="16499"/>
                    <a:pt x="6003" y="16502"/>
                    <a:pt x="6010" y="16505"/>
                  </a:cubicBezTo>
                  <a:cubicBezTo>
                    <a:pt x="6018" y="16508"/>
                    <a:pt x="6025" y="16511"/>
                    <a:pt x="6031" y="16514"/>
                  </a:cubicBezTo>
                  <a:lnTo>
                    <a:pt x="6329" y="16632"/>
                  </a:lnTo>
                  <a:lnTo>
                    <a:pt x="6352" y="16585"/>
                  </a:lnTo>
                  <a:close/>
                  <a:moveTo>
                    <a:pt x="6372" y="16174"/>
                  </a:moveTo>
                  <a:cubicBezTo>
                    <a:pt x="6357" y="16172"/>
                    <a:pt x="6343" y="16173"/>
                    <a:pt x="6330" y="16176"/>
                  </a:cubicBezTo>
                  <a:cubicBezTo>
                    <a:pt x="6317" y="16180"/>
                    <a:pt x="6305" y="16185"/>
                    <a:pt x="6294" y="16193"/>
                  </a:cubicBezTo>
                  <a:cubicBezTo>
                    <a:pt x="6283" y="16200"/>
                    <a:pt x="6271" y="16211"/>
                    <a:pt x="6257" y="16226"/>
                  </a:cubicBezTo>
                  <a:lnTo>
                    <a:pt x="6221" y="16264"/>
                  </a:lnTo>
                  <a:cubicBezTo>
                    <a:pt x="6202" y="16284"/>
                    <a:pt x="6185" y="16296"/>
                    <a:pt x="6171" y="16301"/>
                  </a:cubicBezTo>
                  <a:cubicBezTo>
                    <a:pt x="6156" y="16307"/>
                    <a:pt x="6141" y="16306"/>
                    <a:pt x="6125" y="16298"/>
                  </a:cubicBezTo>
                  <a:cubicBezTo>
                    <a:pt x="6105" y="16288"/>
                    <a:pt x="6092" y="16273"/>
                    <a:pt x="6088" y="16254"/>
                  </a:cubicBezTo>
                  <a:cubicBezTo>
                    <a:pt x="6083" y="16235"/>
                    <a:pt x="6087" y="16213"/>
                    <a:pt x="6099" y="16188"/>
                  </a:cubicBezTo>
                  <a:cubicBezTo>
                    <a:pt x="6103" y="16180"/>
                    <a:pt x="6107" y="16172"/>
                    <a:pt x="6112" y="16165"/>
                  </a:cubicBezTo>
                  <a:cubicBezTo>
                    <a:pt x="6117" y="16158"/>
                    <a:pt x="6123" y="16152"/>
                    <a:pt x="6129" y="16146"/>
                  </a:cubicBezTo>
                  <a:cubicBezTo>
                    <a:pt x="6135" y="16140"/>
                    <a:pt x="6142" y="16134"/>
                    <a:pt x="6151" y="16128"/>
                  </a:cubicBezTo>
                  <a:cubicBezTo>
                    <a:pt x="6159" y="16122"/>
                    <a:pt x="6168" y="16116"/>
                    <a:pt x="6179" y="16109"/>
                  </a:cubicBezTo>
                  <a:lnTo>
                    <a:pt x="6155" y="16072"/>
                  </a:lnTo>
                  <a:cubicBezTo>
                    <a:pt x="6112" y="16097"/>
                    <a:pt x="6080" y="16130"/>
                    <a:pt x="6060" y="16171"/>
                  </a:cubicBezTo>
                  <a:cubicBezTo>
                    <a:pt x="6050" y="16190"/>
                    <a:pt x="6045" y="16209"/>
                    <a:pt x="6042" y="16227"/>
                  </a:cubicBezTo>
                  <a:cubicBezTo>
                    <a:pt x="6040" y="16246"/>
                    <a:pt x="6041" y="16263"/>
                    <a:pt x="6046" y="16279"/>
                  </a:cubicBezTo>
                  <a:cubicBezTo>
                    <a:pt x="6050" y="16294"/>
                    <a:pt x="6058" y="16309"/>
                    <a:pt x="6069" y="16322"/>
                  </a:cubicBezTo>
                  <a:cubicBezTo>
                    <a:pt x="6079" y="16334"/>
                    <a:pt x="6093" y="16345"/>
                    <a:pt x="6110" y="16353"/>
                  </a:cubicBezTo>
                  <a:cubicBezTo>
                    <a:pt x="6135" y="16365"/>
                    <a:pt x="6160" y="16368"/>
                    <a:pt x="6186" y="16360"/>
                  </a:cubicBezTo>
                  <a:cubicBezTo>
                    <a:pt x="6197" y="16356"/>
                    <a:pt x="6208" y="16351"/>
                    <a:pt x="6218" y="16342"/>
                  </a:cubicBezTo>
                  <a:cubicBezTo>
                    <a:pt x="6228" y="16334"/>
                    <a:pt x="6240" y="16323"/>
                    <a:pt x="6254" y="16308"/>
                  </a:cubicBezTo>
                  <a:lnTo>
                    <a:pt x="6286" y="16274"/>
                  </a:lnTo>
                  <a:cubicBezTo>
                    <a:pt x="6323" y="16234"/>
                    <a:pt x="6359" y="16223"/>
                    <a:pt x="6393" y="16240"/>
                  </a:cubicBezTo>
                  <a:cubicBezTo>
                    <a:pt x="6416" y="16251"/>
                    <a:pt x="6430" y="16270"/>
                    <a:pt x="6435" y="16295"/>
                  </a:cubicBezTo>
                  <a:cubicBezTo>
                    <a:pt x="6438" y="16307"/>
                    <a:pt x="6438" y="16318"/>
                    <a:pt x="6436" y="16328"/>
                  </a:cubicBezTo>
                  <a:cubicBezTo>
                    <a:pt x="6434" y="16339"/>
                    <a:pt x="6429" y="16351"/>
                    <a:pt x="6422" y="16366"/>
                  </a:cubicBezTo>
                  <a:cubicBezTo>
                    <a:pt x="6412" y="16386"/>
                    <a:pt x="6400" y="16403"/>
                    <a:pt x="6387" y="16417"/>
                  </a:cubicBezTo>
                  <a:cubicBezTo>
                    <a:pt x="6373" y="16431"/>
                    <a:pt x="6356" y="16444"/>
                    <a:pt x="6337" y="16454"/>
                  </a:cubicBezTo>
                  <a:lnTo>
                    <a:pt x="6363" y="16493"/>
                  </a:lnTo>
                  <a:cubicBezTo>
                    <a:pt x="6385" y="16479"/>
                    <a:pt x="6403" y="16464"/>
                    <a:pt x="6419" y="16446"/>
                  </a:cubicBezTo>
                  <a:cubicBezTo>
                    <a:pt x="6435" y="16429"/>
                    <a:pt x="6448" y="16408"/>
                    <a:pt x="6460" y="16385"/>
                  </a:cubicBezTo>
                  <a:cubicBezTo>
                    <a:pt x="6469" y="16366"/>
                    <a:pt x="6475" y="16350"/>
                    <a:pt x="6478" y="16334"/>
                  </a:cubicBezTo>
                  <a:cubicBezTo>
                    <a:pt x="6481" y="16318"/>
                    <a:pt x="6481" y="16302"/>
                    <a:pt x="6479" y="16285"/>
                  </a:cubicBezTo>
                  <a:cubicBezTo>
                    <a:pt x="6477" y="16262"/>
                    <a:pt x="6470" y="16242"/>
                    <a:pt x="6457" y="16225"/>
                  </a:cubicBezTo>
                  <a:cubicBezTo>
                    <a:pt x="6445" y="16207"/>
                    <a:pt x="6430" y="16194"/>
                    <a:pt x="6412" y="16185"/>
                  </a:cubicBezTo>
                  <a:cubicBezTo>
                    <a:pt x="6400" y="16179"/>
                    <a:pt x="6386" y="16175"/>
                    <a:pt x="6372" y="16174"/>
                  </a:cubicBezTo>
                  <a:close/>
                  <a:moveTo>
                    <a:pt x="6486" y="15984"/>
                  </a:moveTo>
                  <a:lnTo>
                    <a:pt x="6443" y="15962"/>
                  </a:lnTo>
                  <a:lnTo>
                    <a:pt x="6389" y="16071"/>
                  </a:lnTo>
                  <a:lnTo>
                    <a:pt x="6433" y="16092"/>
                  </a:lnTo>
                  <a:lnTo>
                    <a:pt x="6486" y="15984"/>
                  </a:lnTo>
                  <a:close/>
                  <a:moveTo>
                    <a:pt x="6403" y="15496"/>
                  </a:moveTo>
                  <a:lnTo>
                    <a:pt x="6380" y="15542"/>
                  </a:lnTo>
                  <a:lnTo>
                    <a:pt x="6652" y="15676"/>
                  </a:lnTo>
                  <a:cubicBezTo>
                    <a:pt x="6665" y="15683"/>
                    <a:pt x="6676" y="15689"/>
                    <a:pt x="6685" y="15696"/>
                  </a:cubicBezTo>
                  <a:cubicBezTo>
                    <a:pt x="6693" y="15702"/>
                    <a:pt x="6700" y="15710"/>
                    <a:pt x="6706" y="15721"/>
                  </a:cubicBezTo>
                  <a:cubicBezTo>
                    <a:pt x="6711" y="15731"/>
                    <a:pt x="6712" y="15743"/>
                    <a:pt x="6711" y="15757"/>
                  </a:cubicBezTo>
                  <a:cubicBezTo>
                    <a:pt x="6709" y="15771"/>
                    <a:pt x="6704" y="15786"/>
                    <a:pt x="6696" y="15802"/>
                  </a:cubicBezTo>
                  <a:cubicBezTo>
                    <a:pt x="6690" y="15814"/>
                    <a:pt x="6684" y="15824"/>
                    <a:pt x="6678" y="15832"/>
                  </a:cubicBezTo>
                  <a:cubicBezTo>
                    <a:pt x="6671" y="15839"/>
                    <a:pt x="6664" y="15845"/>
                    <a:pt x="6657" y="15850"/>
                  </a:cubicBezTo>
                  <a:cubicBezTo>
                    <a:pt x="6651" y="15854"/>
                    <a:pt x="6644" y="15857"/>
                    <a:pt x="6638" y="15858"/>
                  </a:cubicBezTo>
                  <a:cubicBezTo>
                    <a:pt x="6631" y="15859"/>
                    <a:pt x="6626" y="15860"/>
                    <a:pt x="6621" y="15860"/>
                  </a:cubicBezTo>
                  <a:cubicBezTo>
                    <a:pt x="6613" y="15859"/>
                    <a:pt x="6604" y="15857"/>
                    <a:pt x="6593" y="15853"/>
                  </a:cubicBezTo>
                  <a:cubicBezTo>
                    <a:pt x="6581" y="15848"/>
                    <a:pt x="6571" y="15844"/>
                    <a:pt x="6561" y="15839"/>
                  </a:cubicBezTo>
                  <a:lnTo>
                    <a:pt x="6298" y="15709"/>
                  </a:lnTo>
                  <a:lnTo>
                    <a:pt x="6275" y="15755"/>
                  </a:lnTo>
                  <a:lnTo>
                    <a:pt x="6555" y="15893"/>
                  </a:lnTo>
                  <a:cubicBezTo>
                    <a:pt x="6564" y="15898"/>
                    <a:pt x="6574" y="15902"/>
                    <a:pt x="6586" y="15906"/>
                  </a:cubicBezTo>
                  <a:cubicBezTo>
                    <a:pt x="6598" y="15911"/>
                    <a:pt x="6610" y="15913"/>
                    <a:pt x="6622" y="15912"/>
                  </a:cubicBezTo>
                  <a:cubicBezTo>
                    <a:pt x="6646" y="15911"/>
                    <a:pt x="6668" y="15904"/>
                    <a:pt x="6686" y="15890"/>
                  </a:cubicBezTo>
                  <a:cubicBezTo>
                    <a:pt x="6704" y="15876"/>
                    <a:pt x="6720" y="15854"/>
                    <a:pt x="6735" y="15824"/>
                  </a:cubicBezTo>
                  <a:cubicBezTo>
                    <a:pt x="6747" y="15800"/>
                    <a:pt x="6754" y="15779"/>
                    <a:pt x="6757" y="15760"/>
                  </a:cubicBezTo>
                  <a:cubicBezTo>
                    <a:pt x="6760" y="15742"/>
                    <a:pt x="6760" y="15724"/>
                    <a:pt x="6755" y="15707"/>
                  </a:cubicBezTo>
                  <a:cubicBezTo>
                    <a:pt x="6751" y="15690"/>
                    <a:pt x="6744" y="15676"/>
                    <a:pt x="6733" y="15666"/>
                  </a:cubicBezTo>
                  <a:cubicBezTo>
                    <a:pt x="6721" y="15656"/>
                    <a:pt x="6704" y="15645"/>
                    <a:pt x="6681" y="15633"/>
                  </a:cubicBezTo>
                  <a:lnTo>
                    <a:pt x="6403" y="15496"/>
                  </a:lnTo>
                  <a:close/>
                  <a:moveTo>
                    <a:pt x="6977" y="15316"/>
                  </a:moveTo>
                  <a:lnTo>
                    <a:pt x="6586" y="15124"/>
                  </a:lnTo>
                  <a:lnTo>
                    <a:pt x="6563" y="15170"/>
                  </a:lnTo>
                  <a:lnTo>
                    <a:pt x="6776" y="15273"/>
                  </a:lnTo>
                  <a:cubicBezTo>
                    <a:pt x="6791" y="15280"/>
                    <a:pt x="6805" y="15286"/>
                    <a:pt x="6819" y="15293"/>
                  </a:cubicBezTo>
                  <a:cubicBezTo>
                    <a:pt x="6833" y="15299"/>
                    <a:pt x="6846" y="15305"/>
                    <a:pt x="6858" y="15309"/>
                  </a:cubicBezTo>
                  <a:cubicBezTo>
                    <a:pt x="6869" y="15314"/>
                    <a:pt x="6879" y="15318"/>
                    <a:pt x="6886" y="15321"/>
                  </a:cubicBezTo>
                  <a:cubicBezTo>
                    <a:pt x="6894" y="15324"/>
                    <a:pt x="6898" y="15326"/>
                    <a:pt x="6898" y="15326"/>
                  </a:cubicBezTo>
                  <a:cubicBezTo>
                    <a:pt x="6897" y="15326"/>
                    <a:pt x="6893" y="15326"/>
                    <a:pt x="6887" y="15325"/>
                  </a:cubicBezTo>
                  <a:cubicBezTo>
                    <a:pt x="6881" y="15325"/>
                    <a:pt x="6873" y="15324"/>
                    <a:pt x="6864" y="15324"/>
                  </a:cubicBezTo>
                  <a:cubicBezTo>
                    <a:pt x="6855" y="15323"/>
                    <a:pt x="6844" y="15323"/>
                    <a:pt x="6833" y="15322"/>
                  </a:cubicBezTo>
                  <a:cubicBezTo>
                    <a:pt x="6821" y="15322"/>
                    <a:pt x="6810" y="15322"/>
                    <a:pt x="6798" y="15322"/>
                  </a:cubicBezTo>
                  <a:lnTo>
                    <a:pt x="6485" y="15329"/>
                  </a:lnTo>
                  <a:lnTo>
                    <a:pt x="6458" y="15383"/>
                  </a:lnTo>
                  <a:lnTo>
                    <a:pt x="6849" y="15576"/>
                  </a:lnTo>
                  <a:lnTo>
                    <a:pt x="6873" y="15527"/>
                  </a:lnTo>
                  <a:lnTo>
                    <a:pt x="6645" y="15418"/>
                  </a:lnTo>
                  <a:cubicBezTo>
                    <a:pt x="6633" y="15412"/>
                    <a:pt x="6622" y="15407"/>
                    <a:pt x="6610" y="15402"/>
                  </a:cubicBezTo>
                  <a:cubicBezTo>
                    <a:pt x="6599" y="15397"/>
                    <a:pt x="6588" y="15392"/>
                    <a:pt x="6578" y="15388"/>
                  </a:cubicBezTo>
                  <a:cubicBezTo>
                    <a:pt x="6568" y="15384"/>
                    <a:pt x="6559" y="15380"/>
                    <a:pt x="6552" y="15377"/>
                  </a:cubicBezTo>
                  <a:cubicBezTo>
                    <a:pt x="6545" y="15374"/>
                    <a:pt x="6540" y="15372"/>
                    <a:pt x="6536" y="15371"/>
                  </a:cubicBezTo>
                  <a:cubicBezTo>
                    <a:pt x="6540" y="15372"/>
                    <a:pt x="6546" y="15372"/>
                    <a:pt x="6553" y="15372"/>
                  </a:cubicBezTo>
                  <a:cubicBezTo>
                    <a:pt x="6561" y="15373"/>
                    <a:pt x="6569" y="15373"/>
                    <a:pt x="6580" y="15373"/>
                  </a:cubicBezTo>
                  <a:cubicBezTo>
                    <a:pt x="6590" y="15373"/>
                    <a:pt x="6601" y="15373"/>
                    <a:pt x="6613" y="15373"/>
                  </a:cubicBezTo>
                  <a:cubicBezTo>
                    <a:pt x="6625" y="15373"/>
                    <a:pt x="6638" y="15373"/>
                    <a:pt x="6652" y="15373"/>
                  </a:cubicBezTo>
                  <a:lnTo>
                    <a:pt x="6953" y="15365"/>
                  </a:lnTo>
                  <a:lnTo>
                    <a:pt x="6977" y="15316"/>
                  </a:lnTo>
                  <a:close/>
                  <a:moveTo>
                    <a:pt x="7055" y="15156"/>
                  </a:moveTo>
                  <a:lnTo>
                    <a:pt x="6665" y="14964"/>
                  </a:lnTo>
                  <a:lnTo>
                    <a:pt x="6642" y="15009"/>
                  </a:lnTo>
                  <a:lnTo>
                    <a:pt x="7033" y="15202"/>
                  </a:lnTo>
                  <a:lnTo>
                    <a:pt x="7055" y="15156"/>
                  </a:lnTo>
                  <a:close/>
                  <a:moveTo>
                    <a:pt x="6855" y="14576"/>
                  </a:moveTo>
                  <a:lnTo>
                    <a:pt x="6832" y="14624"/>
                  </a:lnTo>
                  <a:lnTo>
                    <a:pt x="7048" y="14835"/>
                  </a:lnTo>
                  <a:cubicBezTo>
                    <a:pt x="7066" y="14852"/>
                    <a:pt x="7081" y="14866"/>
                    <a:pt x="7093" y="14877"/>
                  </a:cubicBezTo>
                  <a:cubicBezTo>
                    <a:pt x="7105" y="14888"/>
                    <a:pt x="7113" y="14895"/>
                    <a:pt x="7118" y="14899"/>
                  </a:cubicBezTo>
                  <a:cubicBezTo>
                    <a:pt x="7115" y="14898"/>
                    <a:pt x="7110" y="14896"/>
                    <a:pt x="7103" y="14895"/>
                  </a:cubicBezTo>
                  <a:cubicBezTo>
                    <a:pt x="7096" y="14893"/>
                    <a:pt x="7088" y="14891"/>
                    <a:pt x="7079" y="14889"/>
                  </a:cubicBezTo>
                  <a:cubicBezTo>
                    <a:pt x="7070" y="14887"/>
                    <a:pt x="7060" y="14885"/>
                    <a:pt x="7050" y="14884"/>
                  </a:cubicBezTo>
                  <a:cubicBezTo>
                    <a:pt x="7039" y="14882"/>
                    <a:pt x="7029" y="14880"/>
                    <a:pt x="7019" y="14879"/>
                  </a:cubicBezTo>
                  <a:lnTo>
                    <a:pt x="6727" y="14837"/>
                  </a:lnTo>
                  <a:lnTo>
                    <a:pt x="6702" y="14888"/>
                  </a:lnTo>
                  <a:lnTo>
                    <a:pt x="7157" y="14949"/>
                  </a:lnTo>
                  <a:lnTo>
                    <a:pt x="7180" y="14903"/>
                  </a:lnTo>
                  <a:lnTo>
                    <a:pt x="6855" y="14576"/>
                  </a:lnTo>
                  <a:close/>
                  <a:moveTo>
                    <a:pt x="7391" y="14474"/>
                  </a:moveTo>
                  <a:lnTo>
                    <a:pt x="7351" y="14454"/>
                  </a:lnTo>
                  <a:lnTo>
                    <a:pt x="7266" y="14626"/>
                  </a:lnTo>
                  <a:lnTo>
                    <a:pt x="7123" y="14556"/>
                  </a:lnTo>
                  <a:lnTo>
                    <a:pt x="7189" y="14422"/>
                  </a:lnTo>
                  <a:lnTo>
                    <a:pt x="7148" y="14402"/>
                  </a:lnTo>
                  <a:lnTo>
                    <a:pt x="7083" y="14536"/>
                  </a:lnTo>
                  <a:lnTo>
                    <a:pt x="6954" y="14473"/>
                  </a:lnTo>
                  <a:lnTo>
                    <a:pt x="7033" y="14312"/>
                  </a:lnTo>
                  <a:lnTo>
                    <a:pt x="6997" y="14287"/>
                  </a:lnTo>
                  <a:lnTo>
                    <a:pt x="6892" y="14501"/>
                  </a:lnTo>
                  <a:lnTo>
                    <a:pt x="7283" y="14693"/>
                  </a:lnTo>
                  <a:lnTo>
                    <a:pt x="7391" y="14474"/>
                  </a:lnTo>
                  <a:close/>
                  <a:moveTo>
                    <a:pt x="7554" y="14143"/>
                  </a:moveTo>
                  <a:lnTo>
                    <a:pt x="7518" y="14147"/>
                  </a:lnTo>
                  <a:cubicBezTo>
                    <a:pt x="7501" y="14150"/>
                    <a:pt x="7483" y="14152"/>
                    <a:pt x="7465" y="14155"/>
                  </a:cubicBezTo>
                  <a:cubicBezTo>
                    <a:pt x="7446" y="14157"/>
                    <a:pt x="7428" y="14160"/>
                    <a:pt x="7412" y="14162"/>
                  </a:cubicBezTo>
                  <a:cubicBezTo>
                    <a:pt x="7395" y="14164"/>
                    <a:pt x="7384" y="14166"/>
                    <a:pt x="7377" y="14167"/>
                  </a:cubicBezTo>
                  <a:cubicBezTo>
                    <a:pt x="7367" y="14169"/>
                    <a:pt x="7356" y="14172"/>
                    <a:pt x="7344" y="14175"/>
                  </a:cubicBezTo>
                  <a:cubicBezTo>
                    <a:pt x="7332" y="14178"/>
                    <a:pt x="7322" y="14181"/>
                    <a:pt x="7314" y="14185"/>
                  </a:cubicBezTo>
                  <a:lnTo>
                    <a:pt x="7317" y="14179"/>
                  </a:lnTo>
                  <a:cubicBezTo>
                    <a:pt x="7324" y="14164"/>
                    <a:pt x="7329" y="14148"/>
                    <a:pt x="7330" y="14133"/>
                  </a:cubicBezTo>
                  <a:cubicBezTo>
                    <a:pt x="7331" y="14118"/>
                    <a:pt x="7329" y="14103"/>
                    <a:pt x="7324" y="14090"/>
                  </a:cubicBezTo>
                  <a:cubicBezTo>
                    <a:pt x="7319" y="14076"/>
                    <a:pt x="7312" y="14063"/>
                    <a:pt x="7301" y="14052"/>
                  </a:cubicBezTo>
                  <a:cubicBezTo>
                    <a:pt x="7290" y="14040"/>
                    <a:pt x="7276" y="14031"/>
                    <a:pt x="7260" y="14023"/>
                  </a:cubicBezTo>
                  <a:cubicBezTo>
                    <a:pt x="7250" y="14018"/>
                    <a:pt x="7240" y="14015"/>
                    <a:pt x="7230" y="14013"/>
                  </a:cubicBezTo>
                  <a:cubicBezTo>
                    <a:pt x="7221" y="14011"/>
                    <a:pt x="7211" y="14010"/>
                    <a:pt x="7203" y="14011"/>
                  </a:cubicBezTo>
                  <a:cubicBezTo>
                    <a:pt x="7194" y="14011"/>
                    <a:pt x="7186" y="14012"/>
                    <a:pt x="7179" y="14014"/>
                  </a:cubicBezTo>
                  <a:cubicBezTo>
                    <a:pt x="7172" y="14016"/>
                    <a:pt x="7165" y="14018"/>
                    <a:pt x="7159" y="14021"/>
                  </a:cubicBezTo>
                  <a:cubicBezTo>
                    <a:pt x="7153" y="14024"/>
                    <a:pt x="7147" y="14028"/>
                    <a:pt x="7141" y="14032"/>
                  </a:cubicBezTo>
                  <a:cubicBezTo>
                    <a:pt x="7135" y="14036"/>
                    <a:pt x="7129" y="14042"/>
                    <a:pt x="7123" y="14049"/>
                  </a:cubicBezTo>
                  <a:cubicBezTo>
                    <a:pt x="7117" y="14055"/>
                    <a:pt x="7111" y="14063"/>
                    <a:pt x="7105" y="14073"/>
                  </a:cubicBezTo>
                  <a:cubicBezTo>
                    <a:pt x="7099" y="14083"/>
                    <a:pt x="7092" y="14094"/>
                    <a:pt x="7086" y="14108"/>
                  </a:cubicBezTo>
                  <a:lnTo>
                    <a:pt x="7041" y="14199"/>
                  </a:lnTo>
                  <a:lnTo>
                    <a:pt x="7432" y="14391"/>
                  </a:lnTo>
                  <a:lnTo>
                    <a:pt x="7454" y="14345"/>
                  </a:lnTo>
                  <a:lnTo>
                    <a:pt x="7278" y="14259"/>
                  </a:lnTo>
                  <a:cubicBezTo>
                    <a:pt x="7283" y="14249"/>
                    <a:pt x="7289" y="14242"/>
                    <a:pt x="7295" y="14237"/>
                  </a:cubicBezTo>
                  <a:cubicBezTo>
                    <a:pt x="7301" y="14233"/>
                    <a:pt x="7311" y="14229"/>
                    <a:pt x="7325" y="14226"/>
                  </a:cubicBezTo>
                  <a:cubicBezTo>
                    <a:pt x="7348" y="14222"/>
                    <a:pt x="7370" y="14218"/>
                    <a:pt x="7390" y="14214"/>
                  </a:cubicBezTo>
                  <a:cubicBezTo>
                    <a:pt x="7411" y="14211"/>
                    <a:pt x="7430" y="14208"/>
                    <a:pt x="7448" y="14206"/>
                  </a:cubicBezTo>
                  <a:cubicBezTo>
                    <a:pt x="7465" y="14204"/>
                    <a:pt x="7480" y="14203"/>
                    <a:pt x="7493" y="14202"/>
                  </a:cubicBezTo>
                  <a:cubicBezTo>
                    <a:pt x="7507" y="14201"/>
                    <a:pt x="7517" y="14201"/>
                    <a:pt x="7525" y="14201"/>
                  </a:cubicBezTo>
                  <a:lnTo>
                    <a:pt x="7554" y="14143"/>
                  </a:lnTo>
                  <a:close/>
                  <a:moveTo>
                    <a:pt x="7268" y="14094"/>
                  </a:moveTo>
                  <a:cubicBezTo>
                    <a:pt x="7276" y="14102"/>
                    <a:pt x="7282" y="14111"/>
                    <a:pt x="7285" y="14121"/>
                  </a:cubicBezTo>
                  <a:cubicBezTo>
                    <a:pt x="7288" y="14131"/>
                    <a:pt x="7288" y="14143"/>
                    <a:pt x="7286" y="14156"/>
                  </a:cubicBezTo>
                  <a:cubicBezTo>
                    <a:pt x="7284" y="14168"/>
                    <a:pt x="7278" y="14184"/>
                    <a:pt x="7270" y="14201"/>
                  </a:cubicBezTo>
                  <a:lnTo>
                    <a:pt x="7248" y="14244"/>
                  </a:lnTo>
                  <a:lnTo>
                    <a:pt x="7103" y="14173"/>
                  </a:lnTo>
                  <a:lnTo>
                    <a:pt x="7126" y="14126"/>
                  </a:lnTo>
                  <a:cubicBezTo>
                    <a:pt x="7131" y="14115"/>
                    <a:pt x="7136" y="14106"/>
                    <a:pt x="7141" y="14099"/>
                  </a:cubicBezTo>
                  <a:cubicBezTo>
                    <a:pt x="7146" y="14092"/>
                    <a:pt x="7152" y="14086"/>
                    <a:pt x="7158" y="14081"/>
                  </a:cubicBezTo>
                  <a:cubicBezTo>
                    <a:pt x="7168" y="14072"/>
                    <a:pt x="7180" y="14067"/>
                    <a:pt x="7195" y="14065"/>
                  </a:cubicBezTo>
                  <a:cubicBezTo>
                    <a:pt x="7209" y="14063"/>
                    <a:pt x="7223" y="14065"/>
                    <a:pt x="7236" y="14072"/>
                  </a:cubicBezTo>
                  <a:cubicBezTo>
                    <a:pt x="7249" y="14078"/>
                    <a:pt x="7259" y="14085"/>
                    <a:pt x="7268" y="14094"/>
                  </a:cubicBezTo>
                  <a:close/>
                  <a:moveTo>
                    <a:pt x="7565" y="13749"/>
                  </a:moveTo>
                  <a:cubicBezTo>
                    <a:pt x="7550" y="13747"/>
                    <a:pt x="7537" y="13748"/>
                    <a:pt x="7523" y="13752"/>
                  </a:cubicBezTo>
                  <a:cubicBezTo>
                    <a:pt x="7510" y="13755"/>
                    <a:pt x="7498" y="13761"/>
                    <a:pt x="7488" y="13768"/>
                  </a:cubicBezTo>
                  <a:cubicBezTo>
                    <a:pt x="7477" y="13775"/>
                    <a:pt x="7464" y="13786"/>
                    <a:pt x="7450" y="13801"/>
                  </a:cubicBezTo>
                  <a:lnTo>
                    <a:pt x="7414" y="13839"/>
                  </a:lnTo>
                  <a:cubicBezTo>
                    <a:pt x="7395" y="13859"/>
                    <a:pt x="7378" y="13871"/>
                    <a:pt x="7364" y="13876"/>
                  </a:cubicBezTo>
                  <a:cubicBezTo>
                    <a:pt x="7349" y="13882"/>
                    <a:pt x="7334" y="13881"/>
                    <a:pt x="7318" y="13873"/>
                  </a:cubicBezTo>
                  <a:cubicBezTo>
                    <a:pt x="7298" y="13863"/>
                    <a:pt x="7286" y="13848"/>
                    <a:pt x="7281" y="13829"/>
                  </a:cubicBezTo>
                  <a:cubicBezTo>
                    <a:pt x="7276" y="13810"/>
                    <a:pt x="7280" y="13788"/>
                    <a:pt x="7292" y="13763"/>
                  </a:cubicBezTo>
                  <a:cubicBezTo>
                    <a:pt x="7296" y="13755"/>
                    <a:pt x="7301" y="13747"/>
                    <a:pt x="7305" y="13740"/>
                  </a:cubicBezTo>
                  <a:cubicBezTo>
                    <a:pt x="7310" y="13733"/>
                    <a:pt x="7316" y="13727"/>
                    <a:pt x="7322" y="13721"/>
                  </a:cubicBezTo>
                  <a:cubicBezTo>
                    <a:pt x="7328" y="13715"/>
                    <a:pt x="7336" y="13709"/>
                    <a:pt x="7344" y="13703"/>
                  </a:cubicBezTo>
                  <a:cubicBezTo>
                    <a:pt x="7352" y="13697"/>
                    <a:pt x="7361" y="13691"/>
                    <a:pt x="7372" y="13684"/>
                  </a:cubicBezTo>
                  <a:lnTo>
                    <a:pt x="7348" y="13647"/>
                  </a:lnTo>
                  <a:cubicBezTo>
                    <a:pt x="7305" y="13672"/>
                    <a:pt x="7273" y="13705"/>
                    <a:pt x="7253" y="13747"/>
                  </a:cubicBezTo>
                  <a:cubicBezTo>
                    <a:pt x="7243" y="13766"/>
                    <a:pt x="7238" y="13784"/>
                    <a:pt x="7236" y="13802"/>
                  </a:cubicBezTo>
                  <a:cubicBezTo>
                    <a:pt x="7233" y="13821"/>
                    <a:pt x="7235" y="13838"/>
                    <a:pt x="7239" y="13854"/>
                  </a:cubicBezTo>
                  <a:cubicBezTo>
                    <a:pt x="7243" y="13870"/>
                    <a:pt x="7251" y="13884"/>
                    <a:pt x="7262" y="13897"/>
                  </a:cubicBezTo>
                  <a:cubicBezTo>
                    <a:pt x="7272" y="13910"/>
                    <a:pt x="7286" y="13920"/>
                    <a:pt x="7303" y="13928"/>
                  </a:cubicBezTo>
                  <a:cubicBezTo>
                    <a:pt x="7328" y="13941"/>
                    <a:pt x="7353" y="13943"/>
                    <a:pt x="7379" y="13935"/>
                  </a:cubicBezTo>
                  <a:cubicBezTo>
                    <a:pt x="7390" y="13931"/>
                    <a:pt x="7401" y="13926"/>
                    <a:pt x="7411" y="13918"/>
                  </a:cubicBezTo>
                  <a:cubicBezTo>
                    <a:pt x="7421" y="13910"/>
                    <a:pt x="7434" y="13898"/>
                    <a:pt x="7448" y="13883"/>
                  </a:cubicBezTo>
                  <a:lnTo>
                    <a:pt x="7479" y="13849"/>
                  </a:lnTo>
                  <a:cubicBezTo>
                    <a:pt x="7516" y="13810"/>
                    <a:pt x="7552" y="13798"/>
                    <a:pt x="7586" y="13815"/>
                  </a:cubicBezTo>
                  <a:cubicBezTo>
                    <a:pt x="7610" y="13827"/>
                    <a:pt x="7624" y="13845"/>
                    <a:pt x="7628" y="13871"/>
                  </a:cubicBezTo>
                  <a:cubicBezTo>
                    <a:pt x="7631" y="13882"/>
                    <a:pt x="7631" y="13893"/>
                    <a:pt x="7629" y="13903"/>
                  </a:cubicBezTo>
                  <a:cubicBezTo>
                    <a:pt x="7627" y="13914"/>
                    <a:pt x="7622" y="13926"/>
                    <a:pt x="7615" y="13941"/>
                  </a:cubicBezTo>
                  <a:cubicBezTo>
                    <a:pt x="7605" y="13961"/>
                    <a:pt x="7594" y="13978"/>
                    <a:pt x="7580" y="13992"/>
                  </a:cubicBezTo>
                  <a:cubicBezTo>
                    <a:pt x="7566" y="14006"/>
                    <a:pt x="7550" y="14019"/>
                    <a:pt x="7530" y="14029"/>
                  </a:cubicBezTo>
                  <a:lnTo>
                    <a:pt x="7556" y="14068"/>
                  </a:lnTo>
                  <a:cubicBezTo>
                    <a:pt x="7578" y="14054"/>
                    <a:pt x="7597" y="14039"/>
                    <a:pt x="7612" y="14021"/>
                  </a:cubicBezTo>
                  <a:cubicBezTo>
                    <a:pt x="7628" y="14004"/>
                    <a:pt x="7642" y="13983"/>
                    <a:pt x="7653" y="13960"/>
                  </a:cubicBezTo>
                  <a:cubicBezTo>
                    <a:pt x="7662" y="13942"/>
                    <a:pt x="7668" y="13925"/>
                    <a:pt x="7671" y="13909"/>
                  </a:cubicBezTo>
                  <a:cubicBezTo>
                    <a:pt x="7674" y="13894"/>
                    <a:pt x="7674" y="13877"/>
                    <a:pt x="7672" y="13860"/>
                  </a:cubicBezTo>
                  <a:cubicBezTo>
                    <a:pt x="7670" y="13837"/>
                    <a:pt x="7663" y="13817"/>
                    <a:pt x="7651" y="13800"/>
                  </a:cubicBezTo>
                  <a:cubicBezTo>
                    <a:pt x="7638" y="13782"/>
                    <a:pt x="7623" y="13769"/>
                    <a:pt x="7605" y="13760"/>
                  </a:cubicBezTo>
                  <a:cubicBezTo>
                    <a:pt x="7593" y="13754"/>
                    <a:pt x="7580" y="13750"/>
                    <a:pt x="7565" y="13749"/>
                  </a:cubicBezTo>
                  <a:close/>
                  <a:moveTo>
                    <a:pt x="7783" y="13678"/>
                  </a:moveTo>
                  <a:lnTo>
                    <a:pt x="7392" y="13486"/>
                  </a:lnTo>
                  <a:lnTo>
                    <a:pt x="7369" y="13532"/>
                  </a:lnTo>
                  <a:lnTo>
                    <a:pt x="7760" y="13724"/>
                  </a:lnTo>
                  <a:lnTo>
                    <a:pt x="7783" y="13678"/>
                  </a:lnTo>
                  <a:close/>
                  <a:moveTo>
                    <a:pt x="7558" y="13149"/>
                  </a:moveTo>
                  <a:lnTo>
                    <a:pt x="7430" y="13407"/>
                  </a:lnTo>
                  <a:lnTo>
                    <a:pt x="7470" y="13427"/>
                  </a:lnTo>
                  <a:lnTo>
                    <a:pt x="7521" y="13322"/>
                  </a:lnTo>
                  <a:lnTo>
                    <a:pt x="7873" y="13495"/>
                  </a:lnTo>
                  <a:lnTo>
                    <a:pt x="7895" y="13450"/>
                  </a:lnTo>
                  <a:lnTo>
                    <a:pt x="7543" y="13277"/>
                  </a:lnTo>
                  <a:lnTo>
                    <a:pt x="7595" y="13171"/>
                  </a:lnTo>
                  <a:lnTo>
                    <a:pt x="7558" y="13149"/>
                  </a:lnTo>
                  <a:close/>
                  <a:moveTo>
                    <a:pt x="8100" y="13032"/>
                  </a:moveTo>
                  <a:lnTo>
                    <a:pt x="7646" y="12969"/>
                  </a:lnTo>
                  <a:lnTo>
                    <a:pt x="7616" y="13030"/>
                  </a:lnTo>
                  <a:lnTo>
                    <a:pt x="7943" y="13353"/>
                  </a:lnTo>
                  <a:lnTo>
                    <a:pt x="7966" y="13306"/>
                  </a:lnTo>
                  <a:lnTo>
                    <a:pt x="7864" y="13209"/>
                  </a:lnTo>
                  <a:lnTo>
                    <a:pt x="7936" y="13063"/>
                  </a:lnTo>
                  <a:lnTo>
                    <a:pt x="8074" y="13085"/>
                  </a:lnTo>
                  <a:lnTo>
                    <a:pt x="8100" y="13032"/>
                  </a:lnTo>
                  <a:close/>
                  <a:moveTo>
                    <a:pt x="7892" y="13056"/>
                  </a:moveTo>
                  <a:lnTo>
                    <a:pt x="7832" y="13178"/>
                  </a:lnTo>
                  <a:lnTo>
                    <a:pt x="7671" y="13022"/>
                  </a:lnTo>
                  <a:lnTo>
                    <a:pt x="7892" y="13056"/>
                  </a:lnTo>
                  <a:close/>
                  <a:moveTo>
                    <a:pt x="7538" y="13000"/>
                  </a:moveTo>
                  <a:cubicBezTo>
                    <a:pt x="7529" y="13003"/>
                    <a:pt x="7523" y="13009"/>
                    <a:pt x="7519" y="13017"/>
                  </a:cubicBezTo>
                  <a:cubicBezTo>
                    <a:pt x="7515" y="13025"/>
                    <a:pt x="7515" y="13033"/>
                    <a:pt x="7517" y="13042"/>
                  </a:cubicBezTo>
                  <a:cubicBezTo>
                    <a:pt x="7520" y="13050"/>
                    <a:pt x="7526" y="13057"/>
                    <a:pt x="7534" y="13060"/>
                  </a:cubicBezTo>
                  <a:cubicBezTo>
                    <a:pt x="7542" y="13065"/>
                    <a:pt x="7551" y="13065"/>
                    <a:pt x="7559" y="13062"/>
                  </a:cubicBezTo>
                  <a:cubicBezTo>
                    <a:pt x="7568" y="13060"/>
                    <a:pt x="7574" y="13054"/>
                    <a:pt x="7579" y="13046"/>
                  </a:cubicBezTo>
                  <a:cubicBezTo>
                    <a:pt x="7583" y="13037"/>
                    <a:pt x="7583" y="13029"/>
                    <a:pt x="7580" y="13021"/>
                  </a:cubicBezTo>
                  <a:cubicBezTo>
                    <a:pt x="7577" y="13012"/>
                    <a:pt x="7571" y="13006"/>
                    <a:pt x="7563" y="13002"/>
                  </a:cubicBezTo>
                  <a:cubicBezTo>
                    <a:pt x="7555" y="12998"/>
                    <a:pt x="7546" y="12997"/>
                    <a:pt x="7538" y="13000"/>
                  </a:cubicBezTo>
                  <a:close/>
                  <a:moveTo>
                    <a:pt x="7596" y="12883"/>
                  </a:moveTo>
                  <a:cubicBezTo>
                    <a:pt x="7587" y="12886"/>
                    <a:pt x="7581" y="12891"/>
                    <a:pt x="7577" y="12900"/>
                  </a:cubicBezTo>
                  <a:cubicBezTo>
                    <a:pt x="7573" y="12908"/>
                    <a:pt x="7572" y="12916"/>
                    <a:pt x="7575" y="12924"/>
                  </a:cubicBezTo>
                  <a:cubicBezTo>
                    <a:pt x="7578" y="12933"/>
                    <a:pt x="7584" y="12939"/>
                    <a:pt x="7592" y="12943"/>
                  </a:cubicBezTo>
                  <a:cubicBezTo>
                    <a:pt x="7600" y="12947"/>
                    <a:pt x="7608" y="12948"/>
                    <a:pt x="7617" y="12945"/>
                  </a:cubicBezTo>
                  <a:cubicBezTo>
                    <a:pt x="7626" y="12942"/>
                    <a:pt x="7632" y="12937"/>
                    <a:pt x="7636" y="12928"/>
                  </a:cubicBezTo>
                  <a:cubicBezTo>
                    <a:pt x="7640" y="12920"/>
                    <a:pt x="7641" y="12912"/>
                    <a:pt x="7638" y="12903"/>
                  </a:cubicBezTo>
                  <a:cubicBezTo>
                    <a:pt x="7635" y="12895"/>
                    <a:pt x="7629" y="12889"/>
                    <a:pt x="7620" y="12884"/>
                  </a:cubicBezTo>
                  <a:cubicBezTo>
                    <a:pt x="7612" y="12880"/>
                    <a:pt x="7604" y="12880"/>
                    <a:pt x="7596" y="12883"/>
                  </a:cubicBezTo>
                  <a:close/>
                  <a:moveTo>
                    <a:pt x="7837" y="12580"/>
                  </a:moveTo>
                  <a:lnTo>
                    <a:pt x="7710" y="12839"/>
                  </a:lnTo>
                  <a:lnTo>
                    <a:pt x="7750" y="12858"/>
                  </a:lnTo>
                  <a:lnTo>
                    <a:pt x="7801" y="12753"/>
                  </a:lnTo>
                  <a:lnTo>
                    <a:pt x="8153" y="12926"/>
                  </a:lnTo>
                  <a:lnTo>
                    <a:pt x="8175" y="12881"/>
                  </a:lnTo>
                  <a:lnTo>
                    <a:pt x="7823" y="12708"/>
                  </a:lnTo>
                  <a:lnTo>
                    <a:pt x="7875" y="12602"/>
                  </a:lnTo>
                  <a:lnTo>
                    <a:pt x="7837" y="12580"/>
                  </a:lnTo>
                  <a:close/>
                  <a:moveTo>
                    <a:pt x="8503" y="12213"/>
                  </a:moveTo>
                  <a:lnTo>
                    <a:pt x="8096" y="12055"/>
                  </a:lnTo>
                  <a:lnTo>
                    <a:pt x="8062" y="12124"/>
                  </a:lnTo>
                  <a:lnTo>
                    <a:pt x="8286" y="12325"/>
                  </a:lnTo>
                  <a:cubicBezTo>
                    <a:pt x="8299" y="12337"/>
                    <a:pt x="8312" y="12347"/>
                    <a:pt x="8323" y="12356"/>
                  </a:cubicBezTo>
                  <a:cubicBezTo>
                    <a:pt x="8334" y="12364"/>
                    <a:pt x="8341" y="12369"/>
                    <a:pt x="8342" y="12370"/>
                  </a:cubicBezTo>
                  <a:cubicBezTo>
                    <a:pt x="8340" y="12370"/>
                    <a:pt x="8332" y="12368"/>
                    <a:pt x="8318" y="12364"/>
                  </a:cubicBezTo>
                  <a:cubicBezTo>
                    <a:pt x="8304" y="12360"/>
                    <a:pt x="8287" y="12356"/>
                    <a:pt x="8267" y="12352"/>
                  </a:cubicBezTo>
                  <a:lnTo>
                    <a:pt x="7976" y="12298"/>
                  </a:lnTo>
                  <a:lnTo>
                    <a:pt x="7943" y="12366"/>
                  </a:lnTo>
                  <a:lnTo>
                    <a:pt x="8317" y="12593"/>
                  </a:lnTo>
                  <a:lnTo>
                    <a:pt x="8339" y="12548"/>
                  </a:lnTo>
                  <a:lnTo>
                    <a:pt x="8071" y="12389"/>
                  </a:lnTo>
                  <a:cubicBezTo>
                    <a:pt x="8066" y="12386"/>
                    <a:pt x="8059" y="12382"/>
                    <a:pt x="8052" y="12378"/>
                  </a:cubicBezTo>
                  <a:cubicBezTo>
                    <a:pt x="8044" y="12374"/>
                    <a:pt x="8037" y="12369"/>
                    <a:pt x="8030" y="12365"/>
                  </a:cubicBezTo>
                  <a:cubicBezTo>
                    <a:pt x="8022" y="12361"/>
                    <a:pt x="8016" y="12357"/>
                    <a:pt x="8010" y="12354"/>
                  </a:cubicBezTo>
                  <a:cubicBezTo>
                    <a:pt x="8005" y="12351"/>
                    <a:pt x="8002" y="12350"/>
                    <a:pt x="8001" y="12349"/>
                  </a:cubicBezTo>
                  <a:cubicBezTo>
                    <a:pt x="8005" y="12350"/>
                    <a:pt x="8014" y="12352"/>
                    <a:pt x="8028" y="12355"/>
                  </a:cubicBezTo>
                  <a:cubicBezTo>
                    <a:pt x="8043" y="12358"/>
                    <a:pt x="8062" y="12361"/>
                    <a:pt x="8084" y="12366"/>
                  </a:cubicBezTo>
                  <a:lnTo>
                    <a:pt x="8399" y="12425"/>
                  </a:lnTo>
                  <a:lnTo>
                    <a:pt x="8419" y="12385"/>
                  </a:lnTo>
                  <a:lnTo>
                    <a:pt x="8168" y="12158"/>
                  </a:lnTo>
                  <a:cubicBezTo>
                    <a:pt x="8163" y="12153"/>
                    <a:pt x="8158" y="12148"/>
                    <a:pt x="8152" y="12143"/>
                  </a:cubicBezTo>
                  <a:cubicBezTo>
                    <a:pt x="8146" y="12138"/>
                    <a:pt x="8140" y="12134"/>
                    <a:pt x="8135" y="12129"/>
                  </a:cubicBezTo>
                  <a:cubicBezTo>
                    <a:pt x="8130" y="12125"/>
                    <a:pt x="8125" y="12121"/>
                    <a:pt x="8122" y="12118"/>
                  </a:cubicBezTo>
                  <a:cubicBezTo>
                    <a:pt x="8118" y="12115"/>
                    <a:pt x="8116" y="12113"/>
                    <a:pt x="8115" y="12112"/>
                  </a:cubicBezTo>
                  <a:cubicBezTo>
                    <a:pt x="8116" y="12112"/>
                    <a:pt x="8119" y="12114"/>
                    <a:pt x="8123" y="12116"/>
                  </a:cubicBezTo>
                  <a:cubicBezTo>
                    <a:pt x="8128" y="12118"/>
                    <a:pt x="8134" y="12120"/>
                    <a:pt x="8140" y="12123"/>
                  </a:cubicBezTo>
                  <a:cubicBezTo>
                    <a:pt x="8147" y="12127"/>
                    <a:pt x="8154" y="12130"/>
                    <a:pt x="8162" y="12133"/>
                  </a:cubicBezTo>
                  <a:cubicBezTo>
                    <a:pt x="8169" y="12136"/>
                    <a:pt x="8176" y="12139"/>
                    <a:pt x="8183" y="12142"/>
                  </a:cubicBezTo>
                  <a:lnTo>
                    <a:pt x="8480" y="12260"/>
                  </a:lnTo>
                  <a:lnTo>
                    <a:pt x="8503" y="12213"/>
                  </a:lnTo>
                  <a:close/>
                  <a:moveTo>
                    <a:pt x="8288" y="11665"/>
                  </a:moveTo>
                  <a:lnTo>
                    <a:pt x="8265" y="11711"/>
                  </a:lnTo>
                  <a:lnTo>
                    <a:pt x="8537" y="11845"/>
                  </a:lnTo>
                  <a:cubicBezTo>
                    <a:pt x="8551" y="11851"/>
                    <a:pt x="8562" y="11858"/>
                    <a:pt x="8570" y="11864"/>
                  </a:cubicBezTo>
                  <a:cubicBezTo>
                    <a:pt x="8579" y="11870"/>
                    <a:pt x="8586" y="11879"/>
                    <a:pt x="8591" y="11890"/>
                  </a:cubicBezTo>
                  <a:cubicBezTo>
                    <a:pt x="8596" y="11900"/>
                    <a:pt x="8598" y="11912"/>
                    <a:pt x="8596" y="11925"/>
                  </a:cubicBezTo>
                  <a:cubicBezTo>
                    <a:pt x="8595" y="11939"/>
                    <a:pt x="8590" y="11954"/>
                    <a:pt x="8582" y="11971"/>
                  </a:cubicBezTo>
                  <a:cubicBezTo>
                    <a:pt x="8576" y="11983"/>
                    <a:pt x="8569" y="11993"/>
                    <a:pt x="8563" y="12000"/>
                  </a:cubicBezTo>
                  <a:cubicBezTo>
                    <a:pt x="8556" y="12008"/>
                    <a:pt x="8550" y="12014"/>
                    <a:pt x="8543" y="12018"/>
                  </a:cubicBezTo>
                  <a:cubicBezTo>
                    <a:pt x="8536" y="12022"/>
                    <a:pt x="8529" y="12025"/>
                    <a:pt x="8523" y="12026"/>
                  </a:cubicBezTo>
                  <a:cubicBezTo>
                    <a:pt x="8517" y="12028"/>
                    <a:pt x="8511" y="12028"/>
                    <a:pt x="8506" y="12028"/>
                  </a:cubicBezTo>
                  <a:cubicBezTo>
                    <a:pt x="8499" y="12028"/>
                    <a:pt x="8489" y="12026"/>
                    <a:pt x="8478" y="12021"/>
                  </a:cubicBezTo>
                  <a:cubicBezTo>
                    <a:pt x="8467" y="12017"/>
                    <a:pt x="8456" y="12012"/>
                    <a:pt x="8446" y="12007"/>
                  </a:cubicBezTo>
                  <a:lnTo>
                    <a:pt x="8183" y="11878"/>
                  </a:lnTo>
                  <a:lnTo>
                    <a:pt x="8160" y="11924"/>
                  </a:lnTo>
                  <a:lnTo>
                    <a:pt x="8441" y="12062"/>
                  </a:lnTo>
                  <a:cubicBezTo>
                    <a:pt x="8449" y="12066"/>
                    <a:pt x="8460" y="12071"/>
                    <a:pt x="8471" y="12075"/>
                  </a:cubicBezTo>
                  <a:cubicBezTo>
                    <a:pt x="8483" y="12079"/>
                    <a:pt x="8495" y="12081"/>
                    <a:pt x="8507" y="12081"/>
                  </a:cubicBezTo>
                  <a:cubicBezTo>
                    <a:pt x="8532" y="12079"/>
                    <a:pt x="8553" y="12072"/>
                    <a:pt x="8571" y="12059"/>
                  </a:cubicBezTo>
                  <a:cubicBezTo>
                    <a:pt x="8589" y="12045"/>
                    <a:pt x="8605" y="12023"/>
                    <a:pt x="8620" y="11993"/>
                  </a:cubicBezTo>
                  <a:cubicBezTo>
                    <a:pt x="8632" y="11969"/>
                    <a:pt x="8640" y="11947"/>
                    <a:pt x="8643" y="11929"/>
                  </a:cubicBezTo>
                  <a:cubicBezTo>
                    <a:pt x="8646" y="11910"/>
                    <a:pt x="8645" y="11892"/>
                    <a:pt x="8641" y="11875"/>
                  </a:cubicBezTo>
                  <a:cubicBezTo>
                    <a:pt x="8637" y="11859"/>
                    <a:pt x="8629" y="11845"/>
                    <a:pt x="8618" y="11835"/>
                  </a:cubicBezTo>
                  <a:cubicBezTo>
                    <a:pt x="8607" y="11824"/>
                    <a:pt x="8589" y="11813"/>
                    <a:pt x="8566" y="11802"/>
                  </a:cubicBezTo>
                  <a:lnTo>
                    <a:pt x="8288" y="11665"/>
                  </a:lnTo>
                  <a:close/>
                  <a:moveTo>
                    <a:pt x="8131" y="11796"/>
                  </a:moveTo>
                  <a:cubicBezTo>
                    <a:pt x="8122" y="11798"/>
                    <a:pt x="8116" y="11804"/>
                    <a:pt x="8112" y="11812"/>
                  </a:cubicBezTo>
                  <a:cubicBezTo>
                    <a:pt x="8108" y="11820"/>
                    <a:pt x="8107" y="11829"/>
                    <a:pt x="8110" y="11837"/>
                  </a:cubicBezTo>
                  <a:cubicBezTo>
                    <a:pt x="8113" y="11846"/>
                    <a:pt x="8119" y="11852"/>
                    <a:pt x="8127" y="11856"/>
                  </a:cubicBezTo>
                  <a:cubicBezTo>
                    <a:pt x="8135" y="11860"/>
                    <a:pt x="8143" y="11861"/>
                    <a:pt x="8152" y="11858"/>
                  </a:cubicBezTo>
                  <a:cubicBezTo>
                    <a:pt x="8161" y="11855"/>
                    <a:pt x="8167" y="11849"/>
                    <a:pt x="8171" y="11841"/>
                  </a:cubicBezTo>
                  <a:cubicBezTo>
                    <a:pt x="8175" y="11833"/>
                    <a:pt x="8176" y="11824"/>
                    <a:pt x="8173" y="11816"/>
                  </a:cubicBezTo>
                  <a:cubicBezTo>
                    <a:pt x="8170" y="11807"/>
                    <a:pt x="8164" y="11801"/>
                    <a:pt x="8155" y="11797"/>
                  </a:cubicBezTo>
                  <a:cubicBezTo>
                    <a:pt x="8147" y="11793"/>
                    <a:pt x="8139" y="11793"/>
                    <a:pt x="8131" y="11796"/>
                  </a:cubicBezTo>
                  <a:close/>
                  <a:moveTo>
                    <a:pt x="8188" y="11679"/>
                  </a:moveTo>
                  <a:cubicBezTo>
                    <a:pt x="8180" y="11682"/>
                    <a:pt x="8173" y="11687"/>
                    <a:pt x="8169" y="11696"/>
                  </a:cubicBezTo>
                  <a:cubicBezTo>
                    <a:pt x="8165" y="11704"/>
                    <a:pt x="8165" y="11712"/>
                    <a:pt x="8168" y="11720"/>
                  </a:cubicBezTo>
                  <a:cubicBezTo>
                    <a:pt x="8171" y="11729"/>
                    <a:pt x="8176" y="11735"/>
                    <a:pt x="8184" y="11739"/>
                  </a:cubicBezTo>
                  <a:cubicBezTo>
                    <a:pt x="8192" y="11743"/>
                    <a:pt x="8201" y="11744"/>
                    <a:pt x="8210" y="11741"/>
                  </a:cubicBezTo>
                  <a:cubicBezTo>
                    <a:pt x="8218" y="11738"/>
                    <a:pt x="8225" y="11733"/>
                    <a:pt x="8229" y="11724"/>
                  </a:cubicBezTo>
                  <a:cubicBezTo>
                    <a:pt x="8233" y="11716"/>
                    <a:pt x="8233" y="11707"/>
                    <a:pt x="8230" y="11699"/>
                  </a:cubicBezTo>
                  <a:cubicBezTo>
                    <a:pt x="8227" y="11691"/>
                    <a:pt x="8221" y="11684"/>
                    <a:pt x="8213" y="11680"/>
                  </a:cubicBezTo>
                  <a:cubicBezTo>
                    <a:pt x="8205" y="11676"/>
                    <a:pt x="8197" y="11676"/>
                    <a:pt x="8188" y="11679"/>
                  </a:cubicBezTo>
                  <a:close/>
                  <a:moveTo>
                    <a:pt x="8862" y="11485"/>
                  </a:moveTo>
                  <a:lnTo>
                    <a:pt x="8471" y="11292"/>
                  </a:lnTo>
                  <a:lnTo>
                    <a:pt x="8448" y="11338"/>
                  </a:lnTo>
                  <a:lnTo>
                    <a:pt x="8662" y="11441"/>
                  </a:lnTo>
                  <a:cubicBezTo>
                    <a:pt x="8676" y="11448"/>
                    <a:pt x="8690" y="11455"/>
                    <a:pt x="8704" y="11461"/>
                  </a:cubicBezTo>
                  <a:cubicBezTo>
                    <a:pt x="8719" y="11467"/>
                    <a:pt x="8732" y="11473"/>
                    <a:pt x="8743" y="11478"/>
                  </a:cubicBezTo>
                  <a:cubicBezTo>
                    <a:pt x="8755" y="11483"/>
                    <a:pt x="8764" y="11487"/>
                    <a:pt x="8772" y="11490"/>
                  </a:cubicBezTo>
                  <a:cubicBezTo>
                    <a:pt x="8779" y="11493"/>
                    <a:pt x="8783" y="11495"/>
                    <a:pt x="8783" y="11495"/>
                  </a:cubicBezTo>
                  <a:cubicBezTo>
                    <a:pt x="8782" y="11495"/>
                    <a:pt x="8778" y="11494"/>
                    <a:pt x="8772" y="11494"/>
                  </a:cubicBezTo>
                  <a:cubicBezTo>
                    <a:pt x="8766" y="11493"/>
                    <a:pt x="8758" y="11493"/>
                    <a:pt x="8749" y="11492"/>
                  </a:cubicBezTo>
                  <a:cubicBezTo>
                    <a:pt x="8740" y="11492"/>
                    <a:pt x="8730" y="11491"/>
                    <a:pt x="8718" y="11491"/>
                  </a:cubicBezTo>
                  <a:cubicBezTo>
                    <a:pt x="8706" y="11490"/>
                    <a:pt x="8695" y="11490"/>
                    <a:pt x="8683" y="11491"/>
                  </a:cubicBezTo>
                  <a:lnTo>
                    <a:pt x="8370" y="11498"/>
                  </a:lnTo>
                  <a:lnTo>
                    <a:pt x="8343" y="11552"/>
                  </a:lnTo>
                  <a:lnTo>
                    <a:pt x="8734" y="11744"/>
                  </a:lnTo>
                  <a:lnTo>
                    <a:pt x="8758" y="11696"/>
                  </a:lnTo>
                  <a:lnTo>
                    <a:pt x="8530" y="11587"/>
                  </a:lnTo>
                  <a:cubicBezTo>
                    <a:pt x="8519" y="11581"/>
                    <a:pt x="8507" y="11576"/>
                    <a:pt x="8495" y="11571"/>
                  </a:cubicBezTo>
                  <a:cubicBezTo>
                    <a:pt x="8484" y="11566"/>
                    <a:pt x="8473" y="11561"/>
                    <a:pt x="8463" y="11557"/>
                  </a:cubicBezTo>
                  <a:cubicBezTo>
                    <a:pt x="8453" y="11553"/>
                    <a:pt x="8444" y="11549"/>
                    <a:pt x="8437" y="11546"/>
                  </a:cubicBezTo>
                  <a:cubicBezTo>
                    <a:pt x="8430" y="11543"/>
                    <a:pt x="8425" y="11541"/>
                    <a:pt x="8422" y="11540"/>
                  </a:cubicBezTo>
                  <a:cubicBezTo>
                    <a:pt x="8426" y="11540"/>
                    <a:pt x="8431" y="11541"/>
                    <a:pt x="8439" y="11541"/>
                  </a:cubicBezTo>
                  <a:cubicBezTo>
                    <a:pt x="8446" y="11541"/>
                    <a:pt x="8455" y="11541"/>
                    <a:pt x="8465" y="11541"/>
                  </a:cubicBezTo>
                  <a:cubicBezTo>
                    <a:pt x="8475" y="11541"/>
                    <a:pt x="8486" y="11542"/>
                    <a:pt x="8498" y="11542"/>
                  </a:cubicBezTo>
                  <a:cubicBezTo>
                    <a:pt x="8511" y="11542"/>
                    <a:pt x="8523" y="11542"/>
                    <a:pt x="8537" y="11541"/>
                  </a:cubicBezTo>
                  <a:lnTo>
                    <a:pt x="8838" y="11534"/>
                  </a:lnTo>
                  <a:lnTo>
                    <a:pt x="8862" y="11485"/>
                  </a:lnTo>
                  <a:close/>
                  <a:moveTo>
                    <a:pt x="8886" y="11064"/>
                  </a:moveTo>
                  <a:cubicBezTo>
                    <a:pt x="8872" y="11062"/>
                    <a:pt x="8858" y="11063"/>
                    <a:pt x="8845" y="11067"/>
                  </a:cubicBezTo>
                  <a:cubicBezTo>
                    <a:pt x="8832" y="11070"/>
                    <a:pt x="8820" y="11076"/>
                    <a:pt x="8809" y="11083"/>
                  </a:cubicBezTo>
                  <a:cubicBezTo>
                    <a:pt x="8798" y="11090"/>
                    <a:pt x="8785" y="11101"/>
                    <a:pt x="8771" y="11116"/>
                  </a:cubicBezTo>
                  <a:lnTo>
                    <a:pt x="8735" y="11154"/>
                  </a:lnTo>
                  <a:cubicBezTo>
                    <a:pt x="8716" y="11174"/>
                    <a:pt x="8699" y="11186"/>
                    <a:pt x="8685" y="11192"/>
                  </a:cubicBezTo>
                  <a:cubicBezTo>
                    <a:pt x="8670" y="11197"/>
                    <a:pt x="8655" y="11196"/>
                    <a:pt x="8639" y="11188"/>
                  </a:cubicBezTo>
                  <a:cubicBezTo>
                    <a:pt x="8619" y="11178"/>
                    <a:pt x="8607" y="11163"/>
                    <a:pt x="8602" y="11144"/>
                  </a:cubicBezTo>
                  <a:cubicBezTo>
                    <a:pt x="8597" y="11125"/>
                    <a:pt x="8601" y="11103"/>
                    <a:pt x="8613" y="11078"/>
                  </a:cubicBezTo>
                  <a:cubicBezTo>
                    <a:pt x="8617" y="11070"/>
                    <a:pt x="8622" y="11062"/>
                    <a:pt x="8627" y="11055"/>
                  </a:cubicBezTo>
                  <a:cubicBezTo>
                    <a:pt x="8631" y="11048"/>
                    <a:pt x="8637" y="11042"/>
                    <a:pt x="8643" y="11036"/>
                  </a:cubicBezTo>
                  <a:cubicBezTo>
                    <a:pt x="8650" y="11030"/>
                    <a:pt x="8657" y="11024"/>
                    <a:pt x="8665" y="11018"/>
                  </a:cubicBezTo>
                  <a:cubicBezTo>
                    <a:pt x="8673" y="11012"/>
                    <a:pt x="8682" y="11006"/>
                    <a:pt x="8693" y="10999"/>
                  </a:cubicBezTo>
                  <a:lnTo>
                    <a:pt x="8670" y="10962"/>
                  </a:lnTo>
                  <a:cubicBezTo>
                    <a:pt x="8626" y="10987"/>
                    <a:pt x="8594" y="11020"/>
                    <a:pt x="8574" y="11062"/>
                  </a:cubicBezTo>
                  <a:cubicBezTo>
                    <a:pt x="8565" y="11081"/>
                    <a:pt x="8559" y="11099"/>
                    <a:pt x="8557" y="11117"/>
                  </a:cubicBezTo>
                  <a:cubicBezTo>
                    <a:pt x="8555" y="11136"/>
                    <a:pt x="8556" y="11153"/>
                    <a:pt x="8560" y="11169"/>
                  </a:cubicBezTo>
                  <a:cubicBezTo>
                    <a:pt x="8565" y="11185"/>
                    <a:pt x="8572" y="11199"/>
                    <a:pt x="8583" y="11212"/>
                  </a:cubicBezTo>
                  <a:cubicBezTo>
                    <a:pt x="8594" y="11225"/>
                    <a:pt x="8607" y="11235"/>
                    <a:pt x="8624" y="11243"/>
                  </a:cubicBezTo>
                  <a:cubicBezTo>
                    <a:pt x="8649" y="11256"/>
                    <a:pt x="8674" y="11258"/>
                    <a:pt x="8700" y="11250"/>
                  </a:cubicBezTo>
                  <a:cubicBezTo>
                    <a:pt x="8712" y="11247"/>
                    <a:pt x="8722" y="11241"/>
                    <a:pt x="8733" y="11233"/>
                  </a:cubicBezTo>
                  <a:cubicBezTo>
                    <a:pt x="8743" y="11225"/>
                    <a:pt x="8755" y="11213"/>
                    <a:pt x="8769" y="11198"/>
                  </a:cubicBezTo>
                  <a:lnTo>
                    <a:pt x="8800" y="11164"/>
                  </a:lnTo>
                  <a:cubicBezTo>
                    <a:pt x="8837" y="11125"/>
                    <a:pt x="8873" y="11113"/>
                    <a:pt x="8908" y="11130"/>
                  </a:cubicBezTo>
                  <a:cubicBezTo>
                    <a:pt x="8931" y="11142"/>
                    <a:pt x="8945" y="11160"/>
                    <a:pt x="8950" y="11186"/>
                  </a:cubicBezTo>
                  <a:cubicBezTo>
                    <a:pt x="8952" y="11197"/>
                    <a:pt x="8952" y="11208"/>
                    <a:pt x="8950" y="11218"/>
                  </a:cubicBezTo>
                  <a:cubicBezTo>
                    <a:pt x="8948" y="11229"/>
                    <a:pt x="8943" y="11241"/>
                    <a:pt x="8936" y="11256"/>
                  </a:cubicBezTo>
                  <a:cubicBezTo>
                    <a:pt x="8926" y="11276"/>
                    <a:pt x="8915" y="11293"/>
                    <a:pt x="8901" y="11307"/>
                  </a:cubicBezTo>
                  <a:cubicBezTo>
                    <a:pt x="8888" y="11321"/>
                    <a:pt x="8871" y="11334"/>
                    <a:pt x="8851" y="11344"/>
                  </a:cubicBezTo>
                  <a:lnTo>
                    <a:pt x="8877" y="11383"/>
                  </a:lnTo>
                  <a:cubicBezTo>
                    <a:pt x="8899" y="11369"/>
                    <a:pt x="8918" y="11354"/>
                    <a:pt x="8933" y="11336"/>
                  </a:cubicBezTo>
                  <a:cubicBezTo>
                    <a:pt x="8949" y="11319"/>
                    <a:pt x="8963" y="11298"/>
                    <a:pt x="8974" y="11275"/>
                  </a:cubicBezTo>
                  <a:cubicBezTo>
                    <a:pt x="8983" y="11257"/>
                    <a:pt x="8989" y="11240"/>
                    <a:pt x="8992" y="11224"/>
                  </a:cubicBezTo>
                  <a:cubicBezTo>
                    <a:pt x="8995" y="11209"/>
                    <a:pt x="8996" y="11192"/>
                    <a:pt x="8994" y="11175"/>
                  </a:cubicBezTo>
                  <a:cubicBezTo>
                    <a:pt x="8991" y="11152"/>
                    <a:pt x="8984" y="11132"/>
                    <a:pt x="8972" y="11115"/>
                  </a:cubicBezTo>
                  <a:cubicBezTo>
                    <a:pt x="8960" y="11097"/>
                    <a:pt x="8944" y="11084"/>
                    <a:pt x="8926" y="11075"/>
                  </a:cubicBezTo>
                  <a:cubicBezTo>
                    <a:pt x="8914" y="11069"/>
                    <a:pt x="8901" y="11065"/>
                    <a:pt x="8886" y="11064"/>
                  </a:cubicBezTo>
                  <a:close/>
                  <a:moveTo>
                    <a:pt x="6440" y="18132"/>
                  </a:moveTo>
                  <a:lnTo>
                    <a:pt x="6404" y="18137"/>
                  </a:lnTo>
                  <a:cubicBezTo>
                    <a:pt x="6387" y="18139"/>
                    <a:pt x="6370" y="18141"/>
                    <a:pt x="6351" y="18144"/>
                  </a:cubicBezTo>
                  <a:cubicBezTo>
                    <a:pt x="6332" y="18147"/>
                    <a:pt x="6315" y="18149"/>
                    <a:pt x="6298" y="18151"/>
                  </a:cubicBezTo>
                  <a:cubicBezTo>
                    <a:pt x="6282" y="18154"/>
                    <a:pt x="6270" y="18155"/>
                    <a:pt x="6263" y="18157"/>
                  </a:cubicBezTo>
                  <a:cubicBezTo>
                    <a:pt x="6253" y="18159"/>
                    <a:pt x="6242" y="18161"/>
                    <a:pt x="6231" y="18164"/>
                  </a:cubicBezTo>
                  <a:cubicBezTo>
                    <a:pt x="6219" y="18167"/>
                    <a:pt x="6208" y="18171"/>
                    <a:pt x="6200" y="18175"/>
                  </a:cubicBezTo>
                  <a:lnTo>
                    <a:pt x="6203" y="18169"/>
                  </a:lnTo>
                  <a:cubicBezTo>
                    <a:pt x="6210" y="18153"/>
                    <a:pt x="6215" y="18138"/>
                    <a:pt x="6216" y="18123"/>
                  </a:cubicBezTo>
                  <a:cubicBezTo>
                    <a:pt x="6217" y="18107"/>
                    <a:pt x="6215" y="18093"/>
                    <a:pt x="6210" y="18079"/>
                  </a:cubicBezTo>
                  <a:cubicBezTo>
                    <a:pt x="6206" y="18065"/>
                    <a:pt x="6198" y="18053"/>
                    <a:pt x="6187" y="18041"/>
                  </a:cubicBezTo>
                  <a:cubicBezTo>
                    <a:pt x="6176" y="18030"/>
                    <a:pt x="6163" y="18020"/>
                    <a:pt x="6147" y="18012"/>
                  </a:cubicBezTo>
                  <a:cubicBezTo>
                    <a:pt x="6136" y="18007"/>
                    <a:pt x="6126" y="18004"/>
                    <a:pt x="6117" y="18002"/>
                  </a:cubicBezTo>
                  <a:cubicBezTo>
                    <a:pt x="6107" y="18001"/>
                    <a:pt x="6098" y="18000"/>
                    <a:pt x="6089" y="18000"/>
                  </a:cubicBezTo>
                  <a:cubicBezTo>
                    <a:pt x="6080" y="18000"/>
                    <a:pt x="6072" y="18001"/>
                    <a:pt x="6065" y="18003"/>
                  </a:cubicBezTo>
                  <a:cubicBezTo>
                    <a:pt x="6058" y="18005"/>
                    <a:pt x="6051" y="18008"/>
                    <a:pt x="6046" y="18011"/>
                  </a:cubicBezTo>
                  <a:cubicBezTo>
                    <a:pt x="6039" y="18013"/>
                    <a:pt x="6034" y="18017"/>
                    <a:pt x="6028" y="18021"/>
                  </a:cubicBezTo>
                  <a:cubicBezTo>
                    <a:pt x="6022" y="18026"/>
                    <a:pt x="6016" y="18031"/>
                    <a:pt x="6010" y="18038"/>
                  </a:cubicBezTo>
                  <a:cubicBezTo>
                    <a:pt x="6003" y="18045"/>
                    <a:pt x="5997" y="18053"/>
                    <a:pt x="5991" y="18063"/>
                  </a:cubicBezTo>
                  <a:cubicBezTo>
                    <a:pt x="5985" y="18072"/>
                    <a:pt x="5978" y="18084"/>
                    <a:pt x="5972" y="18097"/>
                  </a:cubicBezTo>
                  <a:lnTo>
                    <a:pt x="5927" y="18188"/>
                  </a:lnTo>
                  <a:lnTo>
                    <a:pt x="6061" y="18254"/>
                  </a:lnTo>
                  <a:lnTo>
                    <a:pt x="6176" y="18254"/>
                  </a:lnTo>
                  <a:lnTo>
                    <a:pt x="6164" y="18248"/>
                  </a:lnTo>
                  <a:cubicBezTo>
                    <a:pt x="6169" y="18238"/>
                    <a:pt x="6175" y="18231"/>
                    <a:pt x="6181" y="18227"/>
                  </a:cubicBezTo>
                  <a:cubicBezTo>
                    <a:pt x="6187" y="18222"/>
                    <a:pt x="6197" y="18219"/>
                    <a:pt x="6211" y="18216"/>
                  </a:cubicBezTo>
                  <a:cubicBezTo>
                    <a:pt x="6234" y="18211"/>
                    <a:pt x="6256" y="18207"/>
                    <a:pt x="6277" y="18204"/>
                  </a:cubicBezTo>
                  <a:cubicBezTo>
                    <a:pt x="6297" y="18200"/>
                    <a:pt x="6316" y="18197"/>
                    <a:pt x="6334" y="18195"/>
                  </a:cubicBezTo>
                  <a:cubicBezTo>
                    <a:pt x="6351" y="18193"/>
                    <a:pt x="6366" y="18192"/>
                    <a:pt x="6380" y="18191"/>
                  </a:cubicBezTo>
                  <a:cubicBezTo>
                    <a:pt x="6393" y="18191"/>
                    <a:pt x="6403" y="18191"/>
                    <a:pt x="6411" y="18191"/>
                  </a:cubicBezTo>
                  <a:lnTo>
                    <a:pt x="6440" y="18132"/>
                  </a:lnTo>
                  <a:close/>
                  <a:moveTo>
                    <a:pt x="9002" y="12831"/>
                  </a:moveTo>
                  <a:lnTo>
                    <a:pt x="9002" y="12772"/>
                  </a:lnTo>
                  <a:lnTo>
                    <a:pt x="8835" y="12692"/>
                  </a:lnTo>
                  <a:cubicBezTo>
                    <a:pt x="8824" y="12686"/>
                    <a:pt x="8813" y="12681"/>
                    <a:pt x="8801" y="12676"/>
                  </a:cubicBezTo>
                  <a:cubicBezTo>
                    <a:pt x="8789" y="12671"/>
                    <a:pt x="8778" y="12666"/>
                    <a:pt x="8768" y="12662"/>
                  </a:cubicBezTo>
                  <a:cubicBezTo>
                    <a:pt x="8758" y="12658"/>
                    <a:pt x="8750" y="12654"/>
                    <a:pt x="8742" y="12651"/>
                  </a:cubicBezTo>
                  <a:cubicBezTo>
                    <a:pt x="8735" y="12648"/>
                    <a:pt x="8730" y="12646"/>
                    <a:pt x="8727" y="12645"/>
                  </a:cubicBezTo>
                  <a:cubicBezTo>
                    <a:pt x="8731" y="12645"/>
                    <a:pt x="8737" y="12646"/>
                    <a:pt x="8744" y="12646"/>
                  </a:cubicBezTo>
                  <a:cubicBezTo>
                    <a:pt x="8751" y="12647"/>
                    <a:pt x="8760" y="12647"/>
                    <a:pt x="8770" y="12647"/>
                  </a:cubicBezTo>
                  <a:cubicBezTo>
                    <a:pt x="8780" y="12647"/>
                    <a:pt x="8792" y="12647"/>
                    <a:pt x="8804" y="12647"/>
                  </a:cubicBezTo>
                  <a:cubicBezTo>
                    <a:pt x="8816" y="12647"/>
                    <a:pt x="8829" y="12647"/>
                    <a:pt x="8842" y="12646"/>
                  </a:cubicBezTo>
                  <a:lnTo>
                    <a:pt x="9002" y="12642"/>
                  </a:lnTo>
                  <a:lnTo>
                    <a:pt x="9002" y="12596"/>
                  </a:lnTo>
                  <a:cubicBezTo>
                    <a:pt x="8998" y="12596"/>
                    <a:pt x="8993" y="12596"/>
                    <a:pt x="8989" y="12596"/>
                  </a:cubicBezTo>
                  <a:lnTo>
                    <a:pt x="8675" y="12603"/>
                  </a:lnTo>
                  <a:lnTo>
                    <a:pt x="8649" y="12657"/>
                  </a:lnTo>
                  <a:lnTo>
                    <a:pt x="9002" y="12831"/>
                  </a:lnTo>
                  <a:close/>
                  <a:moveTo>
                    <a:pt x="9002" y="12563"/>
                  </a:moveTo>
                  <a:lnTo>
                    <a:pt x="9002" y="12508"/>
                  </a:lnTo>
                  <a:lnTo>
                    <a:pt x="8776" y="12398"/>
                  </a:lnTo>
                  <a:lnTo>
                    <a:pt x="8754" y="12444"/>
                  </a:lnTo>
                  <a:lnTo>
                    <a:pt x="8967" y="12547"/>
                  </a:lnTo>
                  <a:cubicBezTo>
                    <a:pt x="8979" y="12552"/>
                    <a:pt x="8990" y="12558"/>
                    <a:pt x="9002" y="12563"/>
                  </a:cubicBezTo>
                  <a:close/>
                  <a:moveTo>
                    <a:pt x="9002" y="12356"/>
                  </a:moveTo>
                  <a:lnTo>
                    <a:pt x="9002" y="12291"/>
                  </a:lnTo>
                  <a:cubicBezTo>
                    <a:pt x="8998" y="12294"/>
                    <a:pt x="8994" y="12295"/>
                    <a:pt x="8990" y="12297"/>
                  </a:cubicBezTo>
                  <a:cubicBezTo>
                    <a:pt x="8976" y="12302"/>
                    <a:pt x="8961" y="12301"/>
                    <a:pt x="8945" y="12293"/>
                  </a:cubicBezTo>
                  <a:cubicBezTo>
                    <a:pt x="8925" y="12283"/>
                    <a:pt x="8912" y="12269"/>
                    <a:pt x="8907" y="12249"/>
                  </a:cubicBezTo>
                  <a:cubicBezTo>
                    <a:pt x="8903" y="12230"/>
                    <a:pt x="8906" y="12208"/>
                    <a:pt x="8919" y="12183"/>
                  </a:cubicBezTo>
                  <a:cubicBezTo>
                    <a:pt x="8923" y="12175"/>
                    <a:pt x="8927" y="12167"/>
                    <a:pt x="8932" y="12161"/>
                  </a:cubicBezTo>
                  <a:cubicBezTo>
                    <a:pt x="8937" y="12154"/>
                    <a:pt x="8942" y="12147"/>
                    <a:pt x="8949" y="12141"/>
                  </a:cubicBezTo>
                  <a:cubicBezTo>
                    <a:pt x="8955" y="12135"/>
                    <a:pt x="8962" y="12129"/>
                    <a:pt x="8970" y="12123"/>
                  </a:cubicBezTo>
                  <a:cubicBezTo>
                    <a:pt x="8978" y="12117"/>
                    <a:pt x="8988" y="12111"/>
                    <a:pt x="8999" y="12104"/>
                  </a:cubicBezTo>
                  <a:lnTo>
                    <a:pt x="8975" y="12067"/>
                  </a:lnTo>
                  <a:cubicBezTo>
                    <a:pt x="8932" y="12092"/>
                    <a:pt x="8900" y="12125"/>
                    <a:pt x="8879" y="12167"/>
                  </a:cubicBezTo>
                  <a:cubicBezTo>
                    <a:pt x="8870" y="12186"/>
                    <a:pt x="8864" y="12205"/>
                    <a:pt x="8862" y="12223"/>
                  </a:cubicBezTo>
                  <a:cubicBezTo>
                    <a:pt x="8860" y="12241"/>
                    <a:pt x="8861" y="12258"/>
                    <a:pt x="8866" y="12274"/>
                  </a:cubicBezTo>
                  <a:cubicBezTo>
                    <a:pt x="8870" y="12290"/>
                    <a:pt x="8878" y="12304"/>
                    <a:pt x="8888" y="12317"/>
                  </a:cubicBezTo>
                  <a:cubicBezTo>
                    <a:pt x="8899" y="12330"/>
                    <a:pt x="8913" y="12340"/>
                    <a:pt x="8929" y="12349"/>
                  </a:cubicBezTo>
                  <a:cubicBezTo>
                    <a:pt x="8953" y="12360"/>
                    <a:pt x="8978" y="12363"/>
                    <a:pt x="9002" y="12356"/>
                  </a:cubicBezTo>
                  <a:close/>
                  <a:moveTo>
                    <a:pt x="6154" y="18083"/>
                  </a:moveTo>
                  <a:cubicBezTo>
                    <a:pt x="6162" y="18092"/>
                    <a:pt x="6168" y="18101"/>
                    <a:pt x="6171" y="18110"/>
                  </a:cubicBezTo>
                  <a:cubicBezTo>
                    <a:pt x="6174" y="18121"/>
                    <a:pt x="6174" y="18133"/>
                    <a:pt x="6172" y="18145"/>
                  </a:cubicBezTo>
                  <a:cubicBezTo>
                    <a:pt x="6170" y="18158"/>
                    <a:pt x="6165" y="18173"/>
                    <a:pt x="6156" y="18190"/>
                  </a:cubicBezTo>
                  <a:lnTo>
                    <a:pt x="6135" y="18234"/>
                  </a:lnTo>
                  <a:lnTo>
                    <a:pt x="5989" y="18162"/>
                  </a:lnTo>
                  <a:lnTo>
                    <a:pt x="6012" y="18115"/>
                  </a:lnTo>
                  <a:cubicBezTo>
                    <a:pt x="6017" y="18105"/>
                    <a:pt x="6022" y="18096"/>
                    <a:pt x="6027" y="18089"/>
                  </a:cubicBezTo>
                  <a:cubicBezTo>
                    <a:pt x="6033" y="18081"/>
                    <a:pt x="6038" y="18075"/>
                    <a:pt x="6044" y="18070"/>
                  </a:cubicBezTo>
                  <a:cubicBezTo>
                    <a:pt x="6054" y="18061"/>
                    <a:pt x="6066" y="18056"/>
                    <a:pt x="6081" y="18054"/>
                  </a:cubicBezTo>
                  <a:cubicBezTo>
                    <a:pt x="6095" y="18053"/>
                    <a:pt x="6109" y="18055"/>
                    <a:pt x="6122" y="18061"/>
                  </a:cubicBezTo>
                  <a:cubicBezTo>
                    <a:pt x="6135" y="18067"/>
                    <a:pt x="6146" y="18075"/>
                    <a:pt x="6154" y="18083"/>
                  </a:cubicBezTo>
                  <a:close/>
                  <a:moveTo>
                    <a:pt x="6652" y="17921"/>
                  </a:moveTo>
                  <a:lnTo>
                    <a:pt x="6103" y="17650"/>
                  </a:lnTo>
                  <a:lnTo>
                    <a:pt x="6084" y="17688"/>
                  </a:lnTo>
                  <a:lnTo>
                    <a:pt x="6634" y="17958"/>
                  </a:lnTo>
                  <a:lnTo>
                    <a:pt x="6652" y="17921"/>
                  </a:lnTo>
                  <a:close/>
                  <a:moveTo>
                    <a:pt x="6427" y="17173"/>
                  </a:moveTo>
                  <a:lnTo>
                    <a:pt x="6404" y="17219"/>
                  </a:lnTo>
                  <a:lnTo>
                    <a:pt x="6676" y="17353"/>
                  </a:lnTo>
                  <a:cubicBezTo>
                    <a:pt x="6690" y="17360"/>
                    <a:pt x="6701" y="17366"/>
                    <a:pt x="6709" y="17372"/>
                  </a:cubicBezTo>
                  <a:cubicBezTo>
                    <a:pt x="6717" y="17379"/>
                    <a:pt x="6724" y="17387"/>
                    <a:pt x="6730" y="17398"/>
                  </a:cubicBezTo>
                  <a:cubicBezTo>
                    <a:pt x="6735" y="17408"/>
                    <a:pt x="6737" y="17420"/>
                    <a:pt x="6735" y="17434"/>
                  </a:cubicBezTo>
                  <a:cubicBezTo>
                    <a:pt x="6733" y="17447"/>
                    <a:pt x="6729" y="17463"/>
                    <a:pt x="6721" y="17479"/>
                  </a:cubicBezTo>
                  <a:cubicBezTo>
                    <a:pt x="6715" y="17491"/>
                    <a:pt x="6708" y="17501"/>
                    <a:pt x="6702" y="17509"/>
                  </a:cubicBezTo>
                  <a:cubicBezTo>
                    <a:pt x="6695" y="17516"/>
                    <a:pt x="6688" y="17522"/>
                    <a:pt x="6682" y="17526"/>
                  </a:cubicBezTo>
                  <a:cubicBezTo>
                    <a:pt x="6675" y="17530"/>
                    <a:pt x="6668" y="17533"/>
                    <a:pt x="6662" y="17535"/>
                  </a:cubicBezTo>
                  <a:cubicBezTo>
                    <a:pt x="6656" y="17536"/>
                    <a:pt x="6650" y="17537"/>
                    <a:pt x="6645" y="17536"/>
                  </a:cubicBezTo>
                  <a:cubicBezTo>
                    <a:pt x="6637" y="17536"/>
                    <a:pt x="6628" y="17534"/>
                    <a:pt x="6617" y="17529"/>
                  </a:cubicBezTo>
                  <a:cubicBezTo>
                    <a:pt x="6606" y="17525"/>
                    <a:pt x="6595" y="17520"/>
                    <a:pt x="6585" y="17516"/>
                  </a:cubicBezTo>
                  <a:lnTo>
                    <a:pt x="6322" y="17386"/>
                  </a:lnTo>
                  <a:lnTo>
                    <a:pt x="6299" y="17432"/>
                  </a:lnTo>
                  <a:lnTo>
                    <a:pt x="6579" y="17570"/>
                  </a:lnTo>
                  <a:cubicBezTo>
                    <a:pt x="6588" y="17574"/>
                    <a:pt x="6598" y="17579"/>
                    <a:pt x="6610" y="17583"/>
                  </a:cubicBezTo>
                  <a:cubicBezTo>
                    <a:pt x="6622" y="17587"/>
                    <a:pt x="6634" y="17589"/>
                    <a:pt x="6646" y="17589"/>
                  </a:cubicBezTo>
                  <a:cubicBezTo>
                    <a:pt x="6671" y="17588"/>
                    <a:pt x="6692" y="17580"/>
                    <a:pt x="6710" y="17567"/>
                  </a:cubicBezTo>
                  <a:cubicBezTo>
                    <a:pt x="6728" y="17553"/>
                    <a:pt x="6744" y="17531"/>
                    <a:pt x="6759" y="17501"/>
                  </a:cubicBezTo>
                  <a:cubicBezTo>
                    <a:pt x="6771" y="17477"/>
                    <a:pt x="6779" y="17456"/>
                    <a:pt x="6782" y="17437"/>
                  </a:cubicBezTo>
                  <a:cubicBezTo>
                    <a:pt x="6785" y="17418"/>
                    <a:pt x="6784" y="17401"/>
                    <a:pt x="6780" y="17383"/>
                  </a:cubicBezTo>
                  <a:cubicBezTo>
                    <a:pt x="6776" y="17367"/>
                    <a:pt x="6768" y="17353"/>
                    <a:pt x="6757" y="17343"/>
                  </a:cubicBezTo>
                  <a:cubicBezTo>
                    <a:pt x="6746" y="17332"/>
                    <a:pt x="6728" y="17321"/>
                    <a:pt x="6705" y="17310"/>
                  </a:cubicBezTo>
                  <a:lnTo>
                    <a:pt x="6427" y="17173"/>
                  </a:lnTo>
                  <a:close/>
                  <a:moveTo>
                    <a:pt x="7001" y="16993"/>
                  </a:moveTo>
                  <a:lnTo>
                    <a:pt x="6610" y="16800"/>
                  </a:lnTo>
                  <a:lnTo>
                    <a:pt x="6587" y="16846"/>
                  </a:lnTo>
                  <a:lnTo>
                    <a:pt x="6801" y="16949"/>
                  </a:lnTo>
                  <a:cubicBezTo>
                    <a:pt x="6815" y="16956"/>
                    <a:pt x="6829" y="16963"/>
                    <a:pt x="6843" y="16969"/>
                  </a:cubicBezTo>
                  <a:cubicBezTo>
                    <a:pt x="6858" y="16976"/>
                    <a:pt x="6871" y="16981"/>
                    <a:pt x="6882" y="16986"/>
                  </a:cubicBezTo>
                  <a:cubicBezTo>
                    <a:pt x="6893" y="16991"/>
                    <a:pt x="6903" y="16995"/>
                    <a:pt x="6910" y="16998"/>
                  </a:cubicBezTo>
                  <a:cubicBezTo>
                    <a:pt x="6918" y="17001"/>
                    <a:pt x="6922" y="17003"/>
                    <a:pt x="6922" y="17003"/>
                  </a:cubicBezTo>
                  <a:cubicBezTo>
                    <a:pt x="6921" y="17003"/>
                    <a:pt x="6917" y="17002"/>
                    <a:pt x="6911" y="17002"/>
                  </a:cubicBezTo>
                  <a:cubicBezTo>
                    <a:pt x="6905" y="17001"/>
                    <a:pt x="6897" y="17001"/>
                    <a:pt x="6888" y="17000"/>
                  </a:cubicBezTo>
                  <a:cubicBezTo>
                    <a:pt x="6879" y="17000"/>
                    <a:pt x="6868" y="16999"/>
                    <a:pt x="6857" y="16999"/>
                  </a:cubicBezTo>
                  <a:cubicBezTo>
                    <a:pt x="6845" y="16998"/>
                    <a:pt x="6834" y="16998"/>
                    <a:pt x="6822" y="16999"/>
                  </a:cubicBezTo>
                  <a:lnTo>
                    <a:pt x="6509" y="17006"/>
                  </a:lnTo>
                  <a:lnTo>
                    <a:pt x="6482" y="17060"/>
                  </a:lnTo>
                  <a:lnTo>
                    <a:pt x="6873" y="17252"/>
                  </a:lnTo>
                  <a:lnTo>
                    <a:pt x="6897" y="17204"/>
                  </a:lnTo>
                  <a:lnTo>
                    <a:pt x="6669" y="17095"/>
                  </a:lnTo>
                  <a:cubicBezTo>
                    <a:pt x="6658" y="17089"/>
                    <a:pt x="6646" y="17084"/>
                    <a:pt x="6634" y="17079"/>
                  </a:cubicBezTo>
                  <a:cubicBezTo>
                    <a:pt x="6623" y="17074"/>
                    <a:pt x="6612" y="17069"/>
                    <a:pt x="6602" y="17065"/>
                  </a:cubicBezTo>
                  <a:cubicBezTo>
                    <a:pt x="6592" y="17061"/>
                    <a:pt x="6583" y="17057"/>
                    <a:pt x="6576" y="17054"/>
                  </a:cubicBezTo>
                  <a:cubicBezTo>
                    <a:pt x="6569" y="17051"/>
                    <a:pt x="6564" y="17049"/>
                    <a:pt x="6560" y="17048"/>
                  </a:cubicBezTo>
                  <a:cubicBezTo>
                    <a:pt x="6564" y="17048"/>
                    <a:pt x="6570" y="17049"/>
                    <a:pt x="6578" y="17049"/>
                  </a:cubicBezTo>
                  <a:cubicBezTo>
                    <a:pt x="6585" y="17049"/>
                    <a:pt x="6594" y="17050"/>
                    <a:pt x="6604" y="17050"/>
                  </a:cubicBezTo>
                  <a:cubicBezTo>
                    <a:pt x="6614" y="17050"/>
                    <a:pt x="6625" y="17050"/>
                    <a:pt x="6637" y="17050"/>
                  </a:cubicBezTo>
                  <a:cubicBezTo>
                    <a:pt x="6650" y="17050"/>
                    <a:pt x="6662" y="17050"/>
                    <a:pt x="6676" y="17049"/>
                  </a:cubicBezTo>
                  <a:lnTo>
                    <a:pt x="6977" y="17042"/>
                  </a:lnTo>
                  <a:lnTo>
                    <a:pt x="7001" y="16993"/>
                  </a:lnTo>
                  <a:close/>
                  <a:moveTo>
                    <a:pt x="7080" y="16833"/>
                  </a:moveTo>
                  <a:lnTo>
                    <a:pt x="6689" y="16640"/>
                  </a:lnTo>
                  <a:lnTo>
                    <a:pt x="6666" y="16686"/>
                  </a:lnTo>
                  <a:lnTo>
                    <a:pt x="7057" y="16878"/>
                  </a:lnTo>
                  <a:lnTo>
                    <a:pt x="7080" y="16833"/>
                  </a:lnTo>
                  <a:close/>
                  <a:moveTo>
                    <a:pt x="6879" y="16253"/>
                  </a:moveTo>
                  <a:lnTo>
                    <a:pt x="6856" y="16301"/>
                  </a:lnTo>
                  <a:lnTo>
                    <a:pt x="7072" y="16511"/>
                  </a:lnTo>
                  <a:cubicBezTo>
                    <a:pt x="7090" y="16529"/>
                    <a:pt x="7105" y="16543"/>
                    <a:pt x="7117" y="16554"/>
                  </a:cubicBezTo>
                  <a:cubicBezTo>
                    <a:pt x="7129" y="16565"/>
                    <a:pt x="7137" y="16572"/>
                    <a:pt x="7142" y="16575"/>
                  </a:cubicBezTo>
                  <a:cubicBezTo>
                    <a:pt x="7139" y="16575"/>
                    <a:pt x="7134" y="16573"/>
                    <a:pt x="7127" y="16571"/>
                  </a:cubicBezTo>
                  <a:cubicBezTo>
                    <a:pt x="7120" y="16570"/>
                    <a:pt x="7112" y="16568"/>
                    <a:pt x="7103" y="16566"/>
                  </a:cubicBezTo>
                  <a:cubicBezTo>
                    <a:pt x="7094" y="16564"/>
                    <a:pt x="7084" y="16562"/>
                    <a:pt x="7074" y="16560"/>
                  </a:cubicBezTo>
                  <a:cubicBezTo>
                    <a:pt x="7064" y="16559"/>
                    <a:pt x="7053" y="16557"/>
                    <a:pt x="7043" y="16555"/>
                  </a:cubicBezTo>
                  <a:lnTo>
                    <a:pt x="6751" y="16514"/>
                  </a:lnTo>
                  <a:lnTo>
                    <a:pt x="6726" y="16565"/>
                  </a:lnTo>
                  <a:lnTo>
                    <a:pt x="7182" y="16625"/>
                  </a:lnTo>
                  <a:lnTo>
                    <a:pt x="7204" y="16579"/>
                  </a:lnTo>
                  <a:lnTo>
                    <a:pt x="6879" y="16253"/>
                  </a:lnTo>
                  <a:close/>
                  <a:moveTo>
                    <a:pt x="7415" y="16150"/>
                  </a:moveTo>
                  <a:lnTo>
                    <a:pt x="7375" y="16131"/>
                  </a:lnTo>
                  <a:lnTo>
                    <a:pt x="7290" y="16303"/>
                  </a:lnTo>
                  <a:lnTo>
                    <a:pt x="7147" y="16232"/>
                  </a:lnTo>
                  <a:lnTo>
                    <a:pt x="7213" y="16098"/>
                  </a:lnTo>
                  <a:lnTo>
                    <a:pt x="7173" y="16078"/>
                  </a:lnTo>
                  <a:lnTo>
                    <a:pt x="7107" y="16212"/>
                  </a:lnTo>
                  <a:lnTo>
                    <a:pt x="6979" y="16149"/>
                  </a:lnTo>
                  <a:lnTo>
                    <a:pt x="7057" y="15989"/>
                  </a:lnTo>
                  <a:lnTo>
                    <a:pt x="7022" y="15964"/>
                  </a:lnTo>
                  <a:lnTo>
                    <a:pt x="6916" y="16177"/>
                  </a:lnTo>
                  <a:lnTo>
                    <a:pt x="7307" y="16370"/>
                  </a:lnTo>
                  <a:lnTo>
                    <a:pt x="7415" y="16150"/>
                  </a:lnTo>
                  <a:close/>
                  <a:moveTo>
                    <a:pt x="7578" y="15819"/>
                  </a:moveTo>
                  <a:lnTo>
                    <a:pt x="7542" y="15824"/>
                  </a:lnTo>
                  <a:cubicBezTo>
                    <a:pt x="7525" y="15826"/>
                    <a:pt x="7508" y="15829"/>
                    <a:pt x="7489" y="15831"/>
                  </a:cubicBezTo>
                  <a:cubicBezTo>
                    <a:pt x="7470" y="15834"/>
                    <a:pt x="7453" y="15836"/>
                    <a:pt x="7436" y="15839"/>
                  </a:cubicBezTo>
                  <a:cubicBezTo>
                    <a:pt x="7420" y="15841"/>
                    <a:pt x="7408" y="15843"/>
                    <a:pt x="7401" y="15844"/>
                  </a:cubicBezTo>
                  <a:cubicBezTo>
                    <a:pt x="7391" y="15846"/>
                    <a:pt x="7380" y="15848"/>
                    <a:pt x="7369" y="15851"/>
                  </a:cubicBezTo>
                  <a:cubicBezTo>
                    <a:pt x="7357" y="15854"/>
                    <a:pt x="7346" y="15858"/>
                    <a:pt x="7338" y="15862"/>
                  </a:cubicBezTo>
                  <a:lnTo>
                    <a:pt x="7341" y="15856"/>
                  </a:lnTo>
                  <a:cubicBezTo>
                    <a:pt x="7348" y="15841"/>
                    <a:pt x="7353" y="15825"/>
                    <a:pt x="7354" y="15810"/>
                  </a:cubicBezTo>
                  <a:cubicBezTo>
                    <a:pt x="7355" y="15795"/>
                    <a:pt x="7353" y="15780"/>
                    <a:pt x="7348" y="15766"/>
                  </a:cubicBezTo>
                  <a:cubicBezTo>
                    <a:pt x="7344" y="15753"/>
                    <a:pt x="7336" y="15740"/>
                    <a:pt x="7325" y="15729"/>
                  </a:cubicBezTo>
                  <a:cubicBezTo>
                    <a:pt x="7314" y="15717"/>
                    <a:pt x="7301" y="15708"/>
                    <a:pt x="7285" y="15700"/>
                  </a:cubicBezTo>
                  <a:cubicBezTo>
                    <a:pt x="7274" y="15695"/>
                    <a:pt x="7264" y="15691"/>
                    <a:pt x="7255" y="15690"/>
                  </a:cubicBezTo>
                  <a:cubicBezTo>
                    <a:pt x="7245" y="15688"/>
                    <a:pt x="7236" y="15687"/>
                    <a:pt x="7227" y="15687"/>
                  </a:cubicBezTo>
                  <a:cubicBezTo>
                    <a:pt x="7218" y="15688"/>
                    <a:pt x="7210" y="15689"/>
                    <a:pt x="7203" y="15691"/>
                  </a:cubicBezTo>
                  <a:cubicBezTo>
                    <a:pt x="7196" y="15693"/>
                    <a:pt x="7189" y="15695"/>
                    <a:pt x="7184" y="15698"/>
                  </a:cubicBezTo>
                  <a:cubicBezTo>
                    <a:pt x="7178" y="15701"/>
                    <a:pt x="7172" y="15704"/>
                    <a:pt x="7166" y="15709"/>
                  </a:cubicBezTo>
                  <a:cubicBezTo>
                    <a:pt x="7160" y="15713"/>
                    <a:pt x="7154" y="15719"/>
                    <a:pt x="7148" y="15725"/>
                  </a:cubicBezTo>
                  <a:cubicBezTo>
                    <a:pt x="7141" y="15732"/>
                    <a:pt x="7135" y="15740"/>
                    <a:pt x="7129" y="15750"/>
                  </a:cubicBezTo>
                  <a:cubicBezTo>
                    <a:pt x="7123" y="15760"/>
                    <a:pt x="7117" y="15771"/>
                    <a:pt x="7110" y="15784"/>
                  </a:cubicBezTo>
                  <a:lnTo>
                    <a:pt x="7065" y="15875"/>
                  </a:lnTo>
                  <a:lnTo>
                    <a:pt x="7456" y="16068"/>
                  </a:lnTo>
                  <a:lnTo>
                    <a:pt x="7478" y="16022"/>
                  </a:lnTo>
                  <a:lnTo>
                    <a:pt x="7302" y="15935"/>
                  </a:lnTo>
                  <a:cubicBezTo>
                    <a:pt x="7307" y="15926"/>
                    <a:pt x="7313" y="15919"/>
                    <a:pt x="7319" y="15914"/>
                  </a:cubicBezTo>
                  <a:cubicBezTo>
                    <a:pt x="7325" y="15910"/>
                    <a:pt x="7335" y="15906"/>
                    <a:pt x="7349" y="15903"/>
                  </a:cubicBezTo>
                  <a:cubicBezTo>
                    <a:pt x="7372" y="15899"/>
                    <a:pt x="7394" y="15894"/>
                    <a:pt x="7415" y="15891"/>
                  </a:cubicBezTo>
                  <a:cubicBezTo>
                    <a:pt x="7435" y="15888"/>
                    <a:pt x="7454" y="15885"/>
                    <a:pt x="7472" y="15883"/>
                  </a:cubicBezTo>
                  <a:cubicBezTo>
                    <a:pt x="7489" y="15881"/>
                    <a:pt x="7504" y="15879"/>
                    <a:pt x="7518" y="15879"/>
                  </a:cubicBezTo>
                  <a:cubicBezTo>
                    <a:pt x="7531" y="15878"/>
                    <a:pt x="7541" y="15878"/>
                    <a:pt x="7549" y="15878"/>
                  </a:cubicBezTo>
                  <a:lnTo>
                    <a:pt x="7578" y="15819"/>
                  </a:lnTo>
                  <a:close/>
                  <a:moveTo>
                    <a:pt x="7292" y="15770"/>
                  </a:moveTo>
                  <a:cubicBezTo>
                    <a:pt x="7300" y="15779"/>
                    <a:pt x="7306" y="15788"/>
                    <a:pt x="7309" y="15797"/>
                  </a:cubicBezTo>
                  <a:cubicBezTo>
                    <a:pt x="7312" y="15808"/>
                    <a:pt x="7312" y="15820"/>
                    <a:pt x="7310" y="15833"/>
                  </a:cubicBezTo>
                  <a:cubicBezTo>
                    <a:pt x="7308" y="15845"/>
                    <a:pt x="7303" y="15860"/>
                    <a:pt x="7294" y="15878"/>
                  </a:cubicBezTo>
                  <a:lnTo>
                    <a:pt x="7273" y="15921"/>
                  </a:lnTo>
                  <a:lnTo>
                    <a:pt x="7127" y="15849"/>
                  </a:lnTo>
                  <a:lnTo>
                    <a:pt x="7150" y="15802"/>
                  </a:lnTo>
                  <a:cubicBezTo>
                    <a:pt x="7155" y="15792"/>
                    <a:pt x="7160" y="15783"/>
                    <a:pt x="7165" y="15776"/>
                  </a:cubicBezTo>
                  <a:cubicBezTo>
                    <a:pt x="7171" y="15769"/>
                    <a:pt x="7176" y="15763"/>
                    <a:pt x="7182" y="15757"/>
                  </a:cubicBezTo>
                  <a:cubicBezTo>
                    <a:pt x="7192" y="15749"/>
                    <a:pt x="7204" y="15743"/>
                    <a:pt x="7219" y="15742"/>
                  </a:cubicBezTo>
                  <a:cubicBezTo>
                    <a:pt x="7233" y="15740"/>
                    <a:pt x="7247" y="15742"/>
                    <a:pt x="7260" y="15748"/>
                  </a:cubicBezTo>
                  <a:cubicBezTo>
                    <a:pt x="7273" y="15755"/>
                    <a:pt x="7284" y="15762"/>
                    <a:pt x="7292" y="15770"/>
                  </a:cubicBezTo>
                  <a:close/>
                  <a:moveTo>
                    <a:pt x="7589" y="15425"/>
                  </a:moveTo>
                  <a:cubicBezTo>
                    <a:pt x="7575" y="15424"/>
                    <a:pt x="7561" y="15425"/>
                    <a:pt x="7548" y="15428"/>
                  </a:cubicBezTo>
                  <a:cubicBezTo>
                    <a:pt x="7535" y="15432"/>
                    <a:pt x="7523" y="15437"/>
                    <a:pt x="7512" y="15445"/>
                  </a:cubicBezTo>
                  <a:cubicBezTo>
                    <a:pt x="7501" y="15452"/>
                    <a:pt x="7488" y="15463"/>
                    <a:pt x="7474" y="15478"/>
                  </a:cubicBezTo>
                  <a:lnTo>
                    <a:pt x="7438" y="15516"/>
                  </a:lnTo>
                  <a:cubicBezTo>
                    <a:pt x="7419" y="15535"/>
                    <a:pt x="7402" y="15548"/>
                    <a:pt x="7388" y="15553"/>
                  </a:cubicBezTo>
                  <a:cubicBezTo>
                    <a:pt x="7373" y="15559"/>
                    <a:pt x="7358" y="15557"/>
                    <a:pt x="7342" y="15550"/>
                  </a:cubicBezTo>
                  <a:cubicBezTo>
                    <a:pt x="7322" y="15540"/>
                    <a:pt x="7310" y="15525"/>
                    <a:pt x="7305" y="15506"/>
                  </a:cubicBezTo>
                  <a:cubicBezTo>
                    <a:pt x="7300" y="15486"/>
                    <a:pt x="7304" y="15464"/>
                    <a:pt x="7316" y="15440"/>
                  </a:cubicBezTo>
                  <a:cubicBezTo>
                    <a:pt x="7320" y="15431"/>
                    <a:pt x="7325" y="15424"/>
                    <a:pt x="7330" y="15417"/>
                  </a:cubicBezTo>
                  <a:cubicBezTo>
                    <a:pt x="7334" y="15410"/>
                    <a:pt x="7340" y="15404"/>
                    <a:pt x="7346" y="15398"/>
                  </a:cubicBezTo>
                  <a:cubicBezTo>
                    <a:pt x="7353" y="15391"/>
                    <a:pt x="7360" y="15385"/>
                    <a:pt x="7368" y="15380"/>
                  </a:cubicBezTo>
                  <a:cubicBezTo>
                    <a:pt x="7376" y="15374"/>
                    <a:pt x="7385" y="15367"/>
                    <a:pt x="7396" y="15361"/>
                  </a:cubicBezTo>
                  <a:lnTo>
                    <a:pt x="7373" y="15324"/>
                  </a:lnTo>
                  <a:cubicBezTo>
                    <a:pt x="7329" y="15349"/>
                    <a:pt x="7297" y="15382"/>
                    <a:pt x="7277" y="15423"/>
                  </a:cubicBezTo>
                  <a:cubicBezTo>
                    <a:pt x="7268" y="15442"/>
                    <a:pt x="7262" y="15461"/>
                    <a:pt x="7260" y="15479"/>
                  </a:cubicBezTo>
                  <a:cubicBezTo>
                    <a:pt x="7258" y="15497"/>
                    <a:pt x="7259" y="15515"/>
                    <a:pt x="7263" y="15530"/>
                  </a:cubicBezTo>
                  <a:cubicBezTo>
                    <a:pt x="7268" y="15546"/>
                    <a:pt x="7275" y="15561"/>
                    <a:pt x="7286" y="15573"/>
                  </a:cubicBezTo>
                  <a:cubicBezTo>
                    <a:pt x="7297" y="15586"/>
                    <a:pt x="7310" y="15597"/>
                    <a:pt x="7327" y="15605"/>
                  </a:cubicBezTo>
                  <a:cubicBezTo>
                    <a:pt x="7352" y="15617"/>
                    <a:pt x="7377" y="15620"/>
                    <a:pt x="7403" y="15612"/>
                  </a:cubicBezTo>
                  <a:cubicBezTo>
                    <a:pt x="7415" y="15608"/>
                    <a:pt x="7426" y="15602"/>
                    <a:pt x="7436" y="15594"/>
                  </a:cubicBezTo>
                  <a:cubicBezTo>
                    <a:pt x="7446" y="15586"/>
                    <a:pt x="7458" y="15575"/>
                    <a:pt x="7472" y="15559"/>
                  </a:cubicBezTo>
                  <a:lnTo>
                    <a:pt x="7503" y="15526"/>
                  </a:lnTo>
                  <a:cubicBezTo>
                    <a:pt x="7540" y="15486"/>
                    <a:pt x="7576" y="15475"/>
                    <a:pt x="7611" y="15492"/>
                  </a:cubicBezTo>
                  <a:cubicBezTo>
                    <a:pt x="7634" y="15503"/>
                    <a:pt x="7648" y="15522"/>
                    <a:pt x="7653" y="15547"/>
                  </a:cubicBezTo>
                  <a:cubicBezTo>
                    <a:pt x="7655" y="15559"/>
                    <a:pt x="7655" y="15570"/>
                    <a:pt x="7653" y="15580"/>
                  </a:cubicBezTo>
                  <a:cubicBezTo>
                    <a:pt x="7651" y="15590"/>
                    <a:pt x="7647" y="15603"/>
                    <a:pt x="7639" y="15618"/>
                  </a:cubicBezTo>
                  <a:cubicBezTo>
                    <a:pt x="7629" y="15637"/>
                    <a:pt x="7618" y="15655"/>
                    <a:pt x="7604" y="15669"/>
                  </a:cubicBezTo>
                  <a:cubicBezTo>
                    <a:pt x="7591" y="15683"/>
                    <a:pt x="7574" y="15696"/>
                    <a:pt x="7554" y="15706"/>
                  </a:cubicBezTo>
                  <a:lnTo>
                    <a:pt x="7580" y="15744"/>
                  </a:lnTo>
                  <a:cubicBezTo>
                    <a:pt x="7602" y="15731"/>
                    <a:pt x="7621" y="15716"/>
                    <a:pt x="7636" y="15698"/>
                  </a:cubicBezTo>
                  <a:cubicBezTo>
                    <a:pt x="7652" y="15681"/>
                    <a:pt x="7666" y="15660"/>
                    <a:pt x="7677" y="15637"/>
                  </a:cubicBezTo>
                  <a:cubicBezTo>
                    <a:pt x="7686" y="15618"/>
                    <a:pt x="7692" y="15601"/>
                    <a:pt x="7695" y="15586"/>
                  </a:cubicBezTo>
                  <a:cubicBezTo>
                    <a:pt x="7698" y="15570"/>
                    <a:pt x="7699" y="15554"/>
                    <a:pt x="7697" y="15537"/>
                  </a:cubicBezTo>
                  <a:cubicBezTo>
                    <a:pt x="7694" y="15514"/>
                    <a:pt x="7687" y="15494"/>
                    <a:pt x="7675" y="15476"/>
                  </a:cubicBezTo>
                  <a:cubicBezTo>
                    <a:pt x="7663" y="15459"/>
                    <a:pt x="7647" y="15446"/>
                    <a:pt x="7629" y="15437"/>
                  </a:cubicBezTo>
                  <a:cubicBezTo>
                    <a:pt x="7617" y="15431"/>
                    <a:pt x="7604" y="15427"/>
                    <a:pt x="7589" y="15425"/>
                  </a:cubicBezTo>
                  <a:close/>
                  <a:moveTo>
                    <a:pt x="7807" y="15355"/>
                  </a:moveTo>
                  <a:lnTo>
                    <a:pt x="7416" y="15163"/>
                  </a:lnTo>
                  <a:lnTo>
                    <a:pt x="7393" y="15208"/>
                  </a:lnTo>
                  <a:lnTo>
                    <a:pt x="7784" y="15401"/>
                  </a:lnTo>
                  <a:lnTo>
                    <a:pt x="7807" y="15355"/>
                  </a:lnTo>
                  <a:close/>
                  <a:moveTo>
                    <a:pt x="7582" y="14826"/>
                  </a:moveTo>
                  <a:lnTo>
                    <a:pt x="7454" y="15084"/>
                  </a:lnTo>
                  <a:lnTo>
                    <a:pt x="7494" y="15104"/>
                  </a:lnTo>
                  <a:lnTo>
                    <a:pt x="7545" y="14999"/>
                  </a:lnTo>
                  <a:lnTo>
                    <a:pt x="7897" y="15172"/>
                  </a:lnTo>
                  <a:lnTo>
                    <a:pt x="7919" y="15127"/>
                  </a:lnTo>
                  <a:lnTo>
                    <a:pt x="7568" y="14954"/>
                  </a:lnTo>
                  <a:lnTo>
                    <a:pt x="7620" y="14848"/>
                  </a:lnTo>
                  <a:lnTo>
                    <a:pt x="7582" y="14826"/>
                  </a:lnTo>
                  <a:close/>
                  <a:moveTo>
                    <a:pt x="7749" y="14485"/>
                  </a:moveTo>
                  <a:lnTo>
                    <a:pt x="7723" y="14539"/>
                  </a:lnTo>
                  <a:lnTo>
                    <a:pt x="7835" y="14687"/>
                  </a:lnTo>
                  <a:cubicBezTo>
                    <a:pt x="7842" y="14698"/>
                    <a:pt x="7849" y="14707"/>
                    <a:pt x="7856" y="14715"/>
                  </a:cubicBezTo>
                  <a:cubicBezTo>
                    <a:pt x="7863" y="14723"/>
                    <a:pt x="7867" y="14728"/>
                    <a:pt x="7869" y="14730"/>
                  </a:cubicBezTo>
                  <a:cubicBezTo>
                    <a:pt x="7859" y="14730"/>
                    <a:pt x="7850" y="14729"/>
                    <a:pt x="7842" y="14729"/>
                  </a:cubicBezTo>
                  <a:cubicBezTo>
                    <a:pt x="7833" y="14729"/>
                    <a:pt x="7824" y="14728"/>
                    <a:pt x="7815" y="14728"/>
                  </a:cubicBezTo>
                  <a:lnTo>
                    <a:pt x="7629" y="14729"/>
                  </a:lnTo>
                  <a:lnTo>
                    <a:pt x="7601" y="14787"/>
                  </a:lnTo>
                  <a:lnTo>
                    <a:pt x="7899" y="14777"/>
                  </a:lnTo>
                  <a:lnTo>
                    <a:pt x="8054" y="14853"/>
                  </a:lnTo>
                  <a:lnTo>
                    <a:pt x="8078" y="14805"/>
                  </a:lnTo>
                  <a:lnTo>
                    <a:pt x="7925" y="14730"/>
                  </a:lnTo>
                  <a:lnTo>
                    <a:pt x="7749" y="14485"/>
                  </a:lnTo>
                  <a:close/>
                  <a:moveTo>
                    <a:pt x="8109" y="14056"/>
                  </a:moveTo>
                  <a:cubicBezTo>
                    <a:pt x="8082" y="14050"/>
                    <a:pt x="8057" y="14049"/>
                    <a:pt x="8033" y="14052"/>
                  </a:cubicBezTo>
                  <a:cubicBezTo>
                    <a:pt x="8024" y="14053"/>
                    <a:pt x="8014" y="14056"/>
                    <a:pt x="8003" y="14059"/>
                  </a:cubicBezTo>
                  <a:cubicBezTo>
                    <a:pt x="7992" y="14063"/>
                    <a:pt x="7980" y="14068"/>
                    <a:pt x="7969" y="14075"/>
                  </a:cubicBezTo>
                  <a:cubicBezTo>
                    <a:pt x="7958" y="14081"/>
                    <a:pt x="7947" y="14090"/>
                    <a:pt x="7937" y="14102"/>
                  </a:cubicBezTo>
                  <a:cubicBezTo>
                    <a:pt x="7927" y="14113"/>
                    <a:pt x="7917" y="14127"/>
                    <a:pt x="7909" y="14144"/>
                  </a:cubicBezTo>
                  <a:cubicBezTo>
                    <a:pt x="7897" y="14168"/>
                    <a:pt x="7891" y="14192"/>
                    <a:pt x="7891" y="14216"/>
                  </a:cubicBezTo>
                  <a:cubicBezTo>
                    <a:pt x="7890" y="14240"/>
                    <a:pt x="7896" y="14263"/>
                    <a:pt x="7906" y="14284"/>
                  </a:cubicBezTo>
                  <a:cubicBezTo>
                    <a:pt x="7917" y="14306"/>
                    <a:pt x="7933" y="14327"/>
                    <a:pt x="7954" y="14346"/>
                  </a:cubicBezTo>
                  <a:cubicBezTo>
                    <a:pt x="7975" y="14365"/>
                    <a:pt x="8002" y="14383"/>
                    <a:pt x="8033" y="14398"/>
                  </a:cubicBezTo>
                  <a:cubicBezTo>
                    <a:pt x="8100" y="14431"/>
                    <a:pt x="8160" y="14441"/>
                    <a:pt x="8211" y="14428"/>
                  </a:cubicBezTo>
                  <a:cubicBezTo>
                    <a:pt x="8232" y="14422"/>
                    <a:pt x="8252" y="14412"/>
                    <a:pt x="8270" y="14398"/>
                  </a:cubicBezTo>
                  <a:cubicBezTo>
                    <a:pt x="8288" y="14384"/>
                    <a:pt x="8303" y="14365"/>
                    <a:pt x="8315" y="14341"/>
                  </a:cubicBezTo>
                  <a:cubicBezTo>
                    <a:pt x="8325" y="14320"/>
                    <a:pt x="8331" y="14301"/>
                    <a:pt x="8333" y="14283"/>
                  </a:cubicBezTo>
                  <a:cubicBezTo>
                    <a:pt x="8334" y="14264"/>
                    <a:pt x="8332" y="14244"/>
                    <a:pt x="8326" y="14223"/>
                  </a:cubicBezTo>
                  <a:cubicBezTo>
                    <a:pt x="8318" y="14195"/>
                    <a:pt x="8303" y="14170"/>
                    <a:pt x="8282" y="14148"/>
                  </a:cubicBezTo>
                  <a:cubicBezTo>
                    <a:pt x="8262" y="14127"/>
                    <a:pt x="8233" y="14107"/>
                    <a:pt x="8195" y="14088"/>
                  </a:cubicBezTo>
                  <a:cubicBezTo>
                    <a:pt x="8164" y="14073"/>
                    <a:pt x="8135" y="14062"/>
                    <a:pt x="8109" y="14056"/>
                  </a:cubicBezTo>
                  <a:close/>
                  <a:moveTo>
                    <a:pt x="8218" y="14167"/>
                  </a:moveTo>
                  <a:cubicBezTo>
                    <a:pt x="8230" y="14174"/>
                    <a:pt x="8240" y="14181"/>
                    <a:pt x="8248" y="14188"/>
                  </a:cubicBezTo>
                  <a:cubicBezTo>
                    <a:pt x="8256" y="14195"/>
                    <a:pt x="8263" y="14202"/>
                    <a:pt x="8269" y="14209"/>
                  </a:cubicBezTo>
                  <a:cubicBezTo>
                    <a:pt x="8274" y="14216"/>
                    <a:pt x="8279" y="14224"/>
                    <a:pt x="8282" y="14232"/>
                  </a:cubicBezTo>
                  <a:cubicBezTo>
                    <a:pt x="8289" y="14246"/>
                    <a:pt x="8292" y="14260"/>
                    <a:pt x="8292" y="14275"/>
                  </a:cubicBezTo>
                  <a:cubicBezTo>
                    <a:pt x="8292" y="14290"/>
                    <a:pt x="8288" y="14305"/>
                    <a:pt x="8280" y="14321"/>
                  </a:cubicBezTo>
                  <a:cubicBezTo>
                    <a:pt x="8276" y="14329"/>
                    <a:pt x="8271" y="14337"/>
                    <a:pt x="8265" y="14344"/>
                  </a:cubicBezTo>
                  <a:cubicBezTo>
                    <a:pt x="8259" y="14351"/>
                    <a:pt x="8252" y="14358"/>
                    <a:pt x="8245" y="14363"/>
                  </a:cubicBezTo>
                  <a:cubicBezTo>
                    <a:pt x="8237" y="14369"/>
                    <a:pt x="8230" y="14374"/>
                    <a:pt x="8222" y="14377"/>
                  </a:cubicBezTo>
                  <a:cubicBezTo>
                    <a:pt x="8214" y="14381"/>
                    <a:pt x="8205" y="14383"/>
                    <a:pt x="8197" y="14383"/>
                  </a:cubicBezTo>
                  <a:cubicBezTo>
                    <a:pt x="8180" y="14385"/>
                    <a:pt x="8158" y="14381"/>
                    <a:pt x="8132" y="14374"/>
                  </a:cubicBezTo>
                  <a:cubicBezTo>
                    <a:pt x="8106" y="14367"/>
                    <a:pt x="8078" y="14356"/>
                    <a:pt x="8048" y="14342"/>
                  </a:cubicBezTo>
                  <a:cubicBezTo>
                    <a:pt x="8024" y="14330"/>
                    <a:pt x="8004" y="14318"/>
                    <a:pt x="7988" y="14306"/>
                  </a:cubicBezTo>
                  <a:cubicBezTo>
                    <a:pt x="7973" y="14294"/>
                    <a:pt x="7960" y="14282"/>
                    <a:pt x="7951" y="14269"/>
                  </a:cubicBezTo>
                  <a:cubicBezTo>
                    <a:pt x="7940" y="14254"/>
                    <a:pt x="7935" y="14237"/>
                    <a:pt x="7934" y="14218"/>
                  </a:cubicBezTo>
                  <a:cubicBezTo>
                    <a:pt x="7933" y="14199"/>
                    <a:pt x="7937" y="14181"/>
                    <a:pt x="7946" y="14162"/>
                  </a:cubicBezTo>
                  <a:cubicBezTo>
                    <a:pt x="7957" y="14140"/>
                    <a:pt x="7972" y="14124"/>
                    <a:pt x="7990" y="14115"/>
                  </a:cubicBezTo>
                  <a:cubicBezTo>
                    <a:pt x="8007" y="14106"/>
                    <a:pt x="8025" y="14101"/>
                    <a:pt x="8043" y="14102"/>
                  </a:cubicBezTo>
                  <a:cubicBezTo>
                    <a:pt x="8060" y="14102"/>
                    <a:pt x="8079" y="14105"/>
                    <a:pt x="8100" y="14112"/>
                  </a:cubicBezTo>
                  <a:cubicBezTo>
                    <a:pt x="8122" y="14119"/>
                    <a:pt x="8147" y="14130"/>
                    <a:pt x="8176" y="14144"/>
                  </a:cubicBezTo>
                  <a:cubicBezTo>
                    <a:pt x="8192" y="14152"/>
                    <a:pt x="8206" y="14159"/>
                    <a:pt x="8218" y="14167"/>
                  </a:cubicBezTo>
                  <a:close/>
                  <a:moveTo>
                    <a:pt x="8143" y="13685"/>
                  </a:moveTo>
                  <a:lnTo>
                    <a:pt x="8042" y="13891"/>
                  </a:lnTo>
                  <a:lnTo>
                    <a:pt x="8432" y="14083"/>
                  </a:lnTo>
                  <a:lnTo>
                    <a:pt x="8456" y="14036"/>
                  </a:lnTo>
                  <a:lnTo>
                    <a:pt x="8270" y="13945"/>
                  </a:lnTo>
                  <a:lnTo>
                    <a:pt x="8332" y="13819"/>
                  </a:lnTo>
                  <a:lnTo>
                    <a:pt x="8294" y="13800"/>
                  </a:lnTo>
                  <a:lnTo>
                    <a:pt x="8232" y="13926"/>
                  </a:lnTo>
                  <a:lnTo>
                    <a:pt x="8104" y="13863"/>
                  </a:lnTo>
                  <a:lnTo>
                    <a:pt x="8178" y="13712"/>
                  </a:lnTo>
                  <a:lnTo>
                    <a:pt x="8143" y="13685"/>
                  </a:lnTo>
                  <a:close/>
                  <a:moveTo>
                    <a:pt x="8809" y="13319"/>
                  </a:moveTo>
                  <a:lnTo>
                    <a:pt x="8401" y="13160"/>
                  </a:lnTo>
                  <a:lnTo>
                    <a:pt x="8367" y="13229"/>
                  </a:lnTo>
                  <a:lnTo>
                    <a:pt x="8591" y="13430"/>
                  </a:lnTo>
                  <a:cubicBezTo>
                    <a:pt x="8605" y="13442"/>
                    <a:pt x="8617" y="13452"/>
                    <a:pt x="8628" y="13461"/>
                  </a:cubicBezTo>
                  <a:cubicBezTo>
                    <a:pt x="8640" y="13470"/>
                    <a:pt x="8646" y="13474"/>
                    <a:pt x="8647" y="13476"/>
                  </a:cubicBezTo>
                  <a:cubicBezTo>
                    <a:pt x="8645" y="13475"/>
                    <a:pt x="8637" y="13473"/>
                    <a:pt x="8624" y="13469"/>
                  </a:cubicBezTo>
                  <a:cubicBezTo>
                    <a:pt x="8610" y="13465"/>
                    <a:pt x="8593" y="13462"/>
                    <a:pt x="8572" y="13458"/>
                  </a:cubicBezTo>
                  <a:lnTo>
                    <a:pt x="8282" y="13403"/>
                  </a:lnTo>
                  <a:lnTo>
                    <a:pt x="8248" y="13472"/>
                  </a:lnTo>
                  <a:lnTo>
                    <a:pt x="8622" y="13698"/>
                  </a:lnTo>
                  <a:lnTo>
                    <a:pt x="8644" y="13653"/>
                  </a:lnTo>
                  <a:lnTo>
                    <a:pt x="8377" y="13495"/>
                  </a:lnTo>
                  <a:cubicBezTo>
                    <a:pt x="8371" y="13491"/>
                    <a:pt x="8365" y="13488"/>
                    <a:pt x="8357" y="13483"/>
                  </a:cubicBezTo>
                  <a:cubicBezTo>
                    <a:pt x="8350" y="13479"/>
                    <a:pt x="8342" y="13475"/>
                    <a:pt x="8335" y="13470"/>
                  </a:cubicBezTo>
                  <a:cubicBezTo>
                    <a:pt x="8327" y="13466"/>
                    <a:pt x="8321" y="13463"/>
                    <a:pt x="8316" y="13459"/>
                  </a:cubicBezTo>
                  <a:cubicBezTo>
                    <a:pt x="8311" y="13457"/>
                    <a:pt x="8308" y="13455"/>
                    <a:pt x="8306" y="13454"/>
                  </a:cubicBezTo>
                  <a:cubicBezTo>
                    <a:pt x="8311" y="13455"/>
                    <a:pt x="8320" y="13457"/>
                    <a:pt x="8334" y="13460"/>
                  </a:cubicBezTo>
                  <a:cubicBezTo>
                    <a:pt x="8349" y="13463"/>
                    <a:pt x="8367" y="13467"/>
                    <a:pt x="8389" y="13471"/>
                  </a:cubicBezTo>
                  <a:lnTo>
                    <a:pt x="8705" y="13530"/>
                  </a:lnTo>
                  <a:lnTo>
                    <a:pt x="8724" y="13490"/>
                  </a:lnTo>
                  <a:lnTo>
                    <a:pt x="8474" y="13263"/>
                  </a:lnTo>
                  <a:cubicBezTo>
                    <a:pt x="8469" y="13258"/>
                    <a:pt x="8463" y="13254"/>
                    <a:pt x="8457" y="13249"/>
                  </a:cubicBezTo>
                  <a:cubicBezTo>
                    <a:pt x="8451" y="13244"/>
                    <a:pt x="8446" y="13239"/>
                    <a:pt x="8440" y="13234"/>
                  </a:cubicBezTo>
                  <a:cubicBezTo>
                    <a:pt x="8435" y="13230"/>
                    <a:pt x="8431" y="13226"/>
                    <a:pt x="8427" y="13223"/>
                  </a:cubicBezTo>
                  <a:cubicBezTo>
                    <a:pt x="8423" y="13220"/>
                    <a:pt x="8421" y="13218"/>
                    <a:pt x="8420" y="13217"/>
                  </a:cubicBezTo>
                  <a:cubicBezTo>
                    <a:pt x="8421" y="13218"/>
                    <a:pt x="8424" y="13219"/>
                    <a:pt x="8429" y="13221"/>
                  </a:cubicBezTo>
                  <a:cubicBezTo>
                    <a:pt x="8433" y="13223"/>
                    <a:pt x="8439" y="13226"/>
                    <a:pt x="8446" y="13229"/>
                  </a:cubicBezTo>
                  <a:cubicBezTo>
                    <a:pt x="8452" y="13232"/>
                    <a:pt x="8460" y="13235"/>
                    <a:pt x="8467" y="13238"/>
                  </a:cubicBezTo>
                  <a:cubicBezTo>
                    <a:pt x="8475" y="13242"/>
                    <a:pt x="8482" y="13244"/>
                    <a:pt x="8488" y="13247"/>
                  </a:cubicBezTo>
                  <a:lnTo>
                    <a:pt x="8786" y="13365"/>
                  </a:lnTo>
                  <a:lnTo>
                    <a:pt x="8809" y="13319"/>
                  </a:lnTo>
                  <a:close/>
                  <a:moveTo>
                    <a:pt x="8593" y="12770"/>
                  </a:moveTo>
                  <a:lnTo>
                    <a:pt x="8570" y="12816"/>
                  </a:lnTo>
                  <a:lnTo>
                    <a:pt x="8843" y="12950"/>
                  </a:lnTo>
                  <a:cubicBezTo>
                    <a:pt x="8856" y="12957"/>
                    <a:pt x="8867" y="12963"/>
                    <a:pt x="8875" y="12969"/>
                  </a:cubicBezTo>
                  <a:cubicBezTo>
                    <a:pt x="8884" y="12976"/>
                    <a:pt x="8891" y="12984"/>
                    <a:pt x="8896" y="12995"/>
                  </a:cubicBezTo>
                  <a:cubicBezTo>
                    <a:pt x="8901" y="13005"/>
                    <a:pt x="8903" y="13017"/>
                    <a:pt x="8902" y="13031"/>
                  </a:cubicBezTo>
                  <a:cubicBezTo>
                    <a:pt x="8900" y="13045"/>
                    <a:pt x="8895" y="13060"/>
                    <a:pt x="8887" y="13076"/>
                  </a:cubicBezTo>
                  <a:cubicBezTo>
                    <a:pt x="8881" y="13088"/>
                    <a:pt x="8875" y="13098"/>
                    <a:pt x="8868" y="13106"/>
                  </a:cubicBezTo>
                  <a:cubicBezTo>
                    <a:pt x="8862" y="13113"/>
                    <a:pt x="8855" y="13119"/>
                    <a:pt x="8848" y="13123"/>
                  </a:cubicBezTo>
                  <a:cubicBezTo>
                    <a:pt x="8841" y="13128"/>
                    <a:pt x="8835" y="13130"/>
                    <a:pt x="8828" y="13132"/>
                  </a:cubicBezTo>
                  <a:cubicBezTo>
                    <a:pt x="8822" y="13133"/>
                    <a:pt x="8816" y="13134"/>
                    <a:pt x="8811" y="13134"/>
                  </a:cubicBezTo>
                  <a:cubicBezTo>
                    <a:pt x="8804" y="13133"/>
                    <a:pt x="8795" y="13131"/>
                    <a:pt x="8783" y="13127"/>
                  </a:cubicBezTo>
                  <a:cubicBezTo>
                    <a:pt x="8772" y="13122"/>
                    <a:pt x="8761" y="13118"/>
                    <a:pt x="8752" y="13113"/>
                  </a:cubicBezTo>
                  <a:lnTo>
                    <a:pt x="8488" y="12983"/>
                  </a:lnTo>
                  <a:lnTo>
                    <a:pt x="8466" y="13029"/>
                  </a:lnTo>
                  <a:lnTo>
                    <a:pt x="8746" y="13167"/>
                  </a:lnTo>
                  <a:cubicBezTo>
                    <a:pt x="8755" y="13172"/>
                    <a:pt x="8765" y="13176"/>
                    <a:pt x="8777" y="13180"/>
                  </a:cubicBezTo>
                  <a:cubicBezTo>
                    <a:pt x="8788" y="13185"/>
                    <a:pt x="8800" y="13186"/>
                    <a:pt x="8813" y="13186"/>
                  </a:cubicBezTo>
                  <a:cubicBezTo>
                    <a:pt x="8837" y="13185"/>
                    <a:pt x="8858" y="13177"/>
                    <a:pt x="8876" y="13164"/>
                  </a:cubicBezTo>
                  <a:cubicBezTo>
                    <a:pt x="8894" y="13150"/>
                    <a:pt x="8911" y="13128"/>
                    <a:pt x="8926" y="13098"/>
                  </a:cubicBezTo>
                  <a:cubicBezTo>
                    <a:pt x="8938" y="13074"/>
                    <a:pt x="8945" y="13053"/>
                    <a:pt x="8948" y="13034"/>
                  </a:cubicBezTo>
                  <a:cubicBezTo>
                    <a:pt x="8951" y="13016"/>
                    <a:pt x="8950" y="12998"/>
                    <a:pt x="8946" y="12981"/>
                  </a:cubicBezTo>
                  <a:cubicBezTo>
                    <a:pt x="8942" y="12964"/>
                    <a:pt x="8934" y="12950"/>
                    <a:pt x="8923" y="12940"/>
                  </a:cubicBezTo>
                  <a:cubicBezTo>
                    <a:pt x="8912" y="12929"/>
                    <a:pt x="8895" y="12918"/>
                    <a:pt x="8871" y="12907"/>
                  </a:cubicBezTo>
                  <a:lnTo>
                    <a:pt x="8593" y="12770"/>
                  </a:lnTo>
                  <a:close/>
                  <a:moveTo>
                    <a:pt x="8436" y="12901"/>
                  </a:moveTo>
                  <a:cubicBezTo>
                    <a:pt x="8428" y="12904"/>
                    <a:pt x="8421" y="12909"/>
                    <a:pt x="8417" y="12918"/>
                  </a:cubicBezTo>
                  <a:cubicBezTo>
                    <a:pt x="8413" y="12926"/>
                    <a:pt x="8413" y="12934"/>
                    <a:pt x="8416" y="12942"/>
                  </a:cubicBezTo>
                  <a:cubicBezTo>
                    <a:pt x="8419" y="12951"/>
                    <a:pt x="8424" y="12957"/>
                    <a:pt x="8432" y="12961"/>
                  </a:cubicBezTo>
                  <a:cubicBezTo>
                    <a:pt x="8440" y="12965"/>
                    <a:pt x="8449" y="12966"/>
                    <a:pt x="8458" y="12963"/>
                  </a:cubicBezTo>
                  <a:cubicBezTo>
                    <a:pt x="8466" y="12960"/>
                    <a:pt x="8473" y="12955"/>
                    <a:pt x="8477" y="12946"/>
                  </a:cubicBezTo>
                  <a:cubicBezTo>
                    <a:pt x="8481" y="12938"/>
                    <a:pt x="8481" y="12930"/>
                    <a:pt x="8478" y="12921"/>
                  </a:cubicBezTo>
                  <a:cubicBezTo>
                    <a:pt x="8475" y="12913"/>
                    <a:pt x="8469" y="12906"/>
                    <a:pt x="8461" y="12902"/>
                  </a:cubicBezTo>
                  <a:cubicBezTo>
                    <a:pt x="8453" y="12898"/>
                    <a:pt x="8445" y="12898"/>
                    <a:pt x="8436" y="12901"/>
                  </a:cubicBezTo>
                  <a:close/>
                  <a:moveTo>
                    <a:pt x="8494" y="12784"/>
                  </a:moveTo>
                  <a:cubicBezTo>
                    <a:pt x="8485" y="12787"/>
                    <a:pt x="8479" y="12793"/>
                    <a:pt x="8475" y="12801"/>
                  </a:cubicBezTo>
                  <a:cubicBezTo>
                    <a:pt x="8471" y="12809"/>
                    <a:pt x="8470" y="12817"/>
                    <a:pt x="8473" y="12826"/>
                  </a:cubicBezTo>
                  <a:cubicBezTo>
                    <a:pt x="8476" y="12834"/>
                    <a:pt x="8481" y="12840"/>
                    <a:pt x="8489" y="12844"/>
                  </a:cubicBezTo>
                  <a:cubicBezTo>
                    <a:pt x="8498" y="12848"/>
                    <a:pt x="8506" y="12849"/>
                    <a:pt x="8515" y="12846"/>
                  </a:cubicBezTo>
                  <a:cubicBezTo>
                    <a:pt x="8524" y="12843"/>
                    <a:pt x="8530" y="12838"/>
                    <a:pt x="8534" y="12830"/>
                  </a:cubicBezTo>
                  <a:cubicBezTo>
                    <a:pt x="8538" y="12821"/>
                    <a:pt x="8539" y="12813"/>
                    <a:pt x="8536" y="12804"/>
                  </a:cubicBezTo>
                  <a:cubicBezTo>
                    <a:pt x="8532" y="12796"/>
                    <a:pt x="8527" y="12790"/>
                    <a:pt x="8518" y="12786"/>
                  </a:cubicBezTo>
                  <a:cubicBezTo>
                    <a:pt x="8510" y="12782"/>
                    <a:pt x="8502" y="12781"/>
                    <a:pt x="8494" y="12784"/>
                  </a:cubicBezTo>
                  <a:close/>
                  <a:moveTo>
                    <a:pt x="6885" y="17967"/>
                  </a:moveTo>
                  <a:lnTo>
                    <a:pt x="6758" y="18226"/>
                  </a:lnTo>
                  <a:lnTo>
                    <a:pt x="6797" y="18245"/>
                  </a:lnTo>
                  <a:lnTo>
                    <a:pt x="6849" y="18140"/>
                  </a:lnTo>
                  <a:lnTo>
                    <a:pt x="7081" y="18254"/>
                  </a:lnTo>
                  <a:lnTo>
                    <a:pt x="7194" y="18254"/>
                  </a:lnTo>
                  <a:lnTo>
                    <a:pt x="6871" y="18095"/>
                  </a:lnTo>
                  <a:lnTo>
                    <a:pt x="6923" y="17989"/>
                  </a:lnTo>
                  <a:lnTo>
                    <a:pt x="6885" y="17967"/>
                  </a:lnTo>
                  <a:close/>
                  <a:moveTo>
                    <a:pt x="9002" y="14585"/>
                  </a:moveTo>
                  <a:lnTo>
                    <a:pt x="9002" y="14530"/>
                  </a:lnTo>
                  <a:cubicBezTo>
                    <a:pt x="8993" y="14536"/>
                    <a:pt x="8984" y="14542"/>
                    <a:pt x="8973" y="14548"/>
                  </a:cubicBezTo>
                  <a:lnTo>
                    <a:pt x="8999" y="14586"/>
                  </a:lnTo>
                  <a:lnTo>
                    <a:pt x="9002" y="14585"/>
                  </a:lnTo>
                  <a:close/>
                  <a:moveTo>
                    <a:pt x="9002" y="14326"/>
                  </a:moveTo>
                  <a:lnTo>
                    <a:pt x="9002" y="14267"/>
                  </a:lnTo>
                  <a:cubicBezTo>
                    <a:pt x="8990" y="14266"/>
                    <a:pt x="8978" y="14267"/>
                    <a:pt x="8967" y="14270"/>
                  </a:cubicBezTo>
                  <a:cubicBezTo>
                    <a:pt x="8954" y="14274"/>
                    <a:pt x="8942" y="14279"/>
                    <a:pt x="8931" y="14287"/>
                  </a:cubicBezTo>
                  <a:cubicBezTo>
                    <a:pt x="8920" y="14294"/>
                    <a:pt x="8907" y="14305"/>
                    <a:pt x="8894" y="14320"/>
                  </a:cubicBezTo>
                  <a:lnTo>
                    <a:pt x="8857" y="14358"/>
                  </a:lnTo>
                  <a:cubicBezTo>
                    <a:pt x="8838" y="14377"/>
                    <a:pt x="8821" y="14390"/>
                    <a:pt x="8807" y="14395"/>
                  </a:cubicBezTo>
                  <a:cubicBezTo>
                    <a:pt x="8793" y="14401"/>
                    <a:pt x="8777" y="14399"/>
                    <a:pt x="8761" y="14391"/>
                  </a:cubicBezTo>
                  <a:cubicBezTo>
                    <a:pt x="8741" y="14382"/>
                    <a:pt x="8729" y="14367"/>
                    <a:pt x="8724" y="14348"/>
                  </a:cubicBezTo>
                  <a:cubicBezTo>
                    <a:pt x="8720" y="14328"/>
                    <a:pt x="8723" y="14306"/>
                    <a:pt x="8735" y="14282"/>
                  </a:cubicBezTo>
                  <a:cubicBezTo>
                    <a:pt x="8739" y="14273"/>
                    <a:pt x="8744" y="14266"/>
                    <a:pt x="8749" y="14259"/>
                  </a:cubicBezTo>
                  <a:cubicBezTo>
                    <a:pt x="8754" y="14252"/>
                    <a:pt x="8759" y="14246"/>
                    <a:pt x="8765" y="14240"/>
                  </a:cubicBezTo>
                  <a:cubicBezTo>
                    <a:pt x="8772" y="14233"/>
                    <a:pt x="8779" y="14227"/>
                    <a:pt x="8787" y="14221"/>
                  </a:cubicBezTo>
                  <a:cubicBezTo>
                    <a:pt x="8795" y="14216"/>
                    <a:pt x="8804" y="14209"/>
                    <a:pt x="8815" y="14203"/>
                  </a:cubicBezTo>
                  <a:lnTo>
                    <a:pt x="8792" y="14166"/>
                  </a:lnTo>
                  <a:cubicBezTo>
                    <a:pt x="8748" y="14191"/>
                    <a:pt x="8716" y="14224"/>
                    <a:pt x="8696" y="14265"/>
                  </a:cubicBezTo>
                  <a:cubicBezTo>
                    <a:pt x="8687" y="14284"/>
                    <a:pt x="8681" y="14303"/>
                    <a:pt x="8679" y="14321"/>
                  </a:cubicBezTo>
                  <a:cubicBezTo>
                    <a:pt x="8677" y="14339"/>
                    <a:pt x="8678" y="14357"/>
                    <a:pt x="8682" y="14372"/>
                  </a:cubicBezTo>
                  <a:cubicBezTo>
                    <a:pt x="8687" y="14388"/>
                    <a:pt x="8694" y="14403"/>
                    <a:pt x="8705" y="14415"/>
                  </a:cubicBezTo>
                  <a:cubicBezTo>
                    <a:pt x="8716" y="14428"/>
                    <a:pt x="8729" y="14439"/>
                    <a:pt x="8746" y="14447"/>
                  </a:cubicBezTo>
                  <a:cubicBezTo>
                    <a:pt x="8771" y="14459"/>
                    <a:pt x="8796" y="14462"/>
                    <a:pt x="8822" y="14454"/>
                  </a:cubicBezTo>
                  <a:cubicBezTo>
                    <a:pt x="8834" y="14450"/>
                    <a:pt x="8845" y="14444"/>
                    <a:pt x="8855" y="14436"/>
                  </a:cubicBezTo>
                  <a:cubicBezTo>
                    <a:pt x="8865" y="14428"/>
                    <a:pt x="8877" y="14417"/>
                    <a:pt x="8891" y="14401"/>
                  </a:cubicBezTo>
                  <a:lnTo>
                    <a:pt x="8922" y="14368"/>
                  </a:lnTo>
                  <a:cubicBezTo>
                    <a:pt x="8949" y="14339"/>
                    <a:pt x="8976" y="14325"/>
                    <a:pt x="9002" y="14326"/>
                  </a:cubicBezTo>
                  <a:close/>
                  <a:moveTo>
                    <a:pt x="9002" y="14162"/>
                  </a:moveTo>
                  <a:lnTo>
                    <a:pt x="9002" y="14098"/>
                  </a:lnTo>
                  <a:cubicBezTo>
                    <a:pt x="8992" y="14092"/>
                    <a:pt x="8984" y="14087"/>
                    <a:pt x="8976" y="14081"/>
                  </a:cubicBezTo>
                  <a:cubicBezTo>
                    <a:pt x="8961" y="14071"/>
                    <a:pt x="8948" y="14059"/>
                    <a:pt x="8938" y="14047"/>
                  </a:cubicBezTo>
                  <a:cubicBezTo>
                    <a:pt x="8921" y="14027"/>
                    <a:pt x="8910" y="14006"/>
                    <a:pt x="8907" y="13984"/>
                  </a:cubicBezTo>
                  <a:cubicBezTo>
                    <a:pt x="8903" y="13963"/>
                    <a:pt x="8907" y="13940"/>
                    <a:pt x="8918" y="13918"/>
                  </a:cubicBezTo>
                  <a:cubicBezTo>
                    <a:pt x="8925" y="13903"/>
                    <a:pt x="8934" y="13891"/>
                    <a:pt x="8943" y="13881"/>
                  </a:cubicBezTo>
                  <a:cubicBezTo>
                    <a:pt x="8953" y="13872"/>
                    <a:pt x="8965" y="13863"/>
                    <a:pt x="8979" y="13856"/>
                  </a:cubicBezTo>
                  <a:lnTo>
                    <a:pt x="8961" y="13816"/>
                  </a:lnTo>
                  <a:cubicBezTo>
                    <a:pt x="8944" y="13824"/>
                    <a:pt x="8929" y="13835"/>
                    <a:pt x="8915" y="13849"/>
                  </a:cubicBezTo>
                  <a:cubicBezTo>
                    <a:pt x="8902" y="13863"/>
                    <a:pt x="8890" y="13880"/>
                    <a:pt x="8881" y="13899"/>
                  </a:cubicBezTo>
                  <a:cubicBezTo>
                    <a:pt x="8869" y="13922"/>
                    <a:pt x="8863" y="13946"/>
                    <a:pt x="8864" y="13971"/>
                  </a:cubicBezTo>
                  <a:cubicBezTo>
                    <a:pt x="8864" y="13997"/>
                    <a:pt x="8869" y="14021"/>
                    <a:pt x="8880" y="14044"/>
                  </a:cubicBezTo>
                  <a:cubicBezTo>
                    <a:pt x="8891" y="14068"/>
                    <a:pt x="8907" y="14090"/>
                    <a:pt x="8927" y="14110"/>
                  </a:cubicBezTo>
                  <a:cubicBezTo>
                    <a:pt x="8948" y="14130"/>
                    <a:pt x="8973" y="14148"/>
                    <a:pt x="9002" y="14162"/>
                  </a:cubicBezTo>
                  <a:close/>
                  <a:moveTo>
                    <a:pt x="7417" y="17873"/>
                  </a:moveTo>
                  <a:lnTo>
                    <a:pt x="7377" y="17853"/>
                  </a:lnTo>
                  <a:lnTo>
                    <a:pt x="7292" y="18025"/>
                  </a:lnTo>
                  <a:lnTo>
                    <a:pt x="7149" y="17954"/>
                  </a:lnTo>
                  <a:lnTo>
                    <a:pt x="7215" y="17821"/>
                  </a:lnTo>
                  <a:lnTo>
                    <a:pt x="7174" y="17801"/>
                  </a:lnTo>
                  <a:lnTo>
                    <a:pt x="7109" y="17935"/>
                  </a:lnTo>
                  <a:lnTo>
                    <a:pt x="6980" y="17871"/>
                  </a:lnTo>
                  <a:lnTo>
                    <a:pt x="7059" y="17711"/>
                  </a:lnTo>
                  <a:lnTo>
                    <a:pt x="7023" y="17686"/>
                  </a:lnTo>
                  <a:lnTo>
                    <a:pt x="6918" y="17900"/>
                  </a:lnTo>
                  <a:lnTo>
                    <a:pt x="7309" y="18092"/>
                  </a:lnTo>
                  <a:lnTo>
                    <a:pt x="7417" y="17873"/>
                  </a:lnTo>
                  <a:close/>
                  <a:moveTo>
                    <a:pt x="7580" y="17542"/>
                  </a:moveTo>
                  <a:lnTo>
                    <a:pt x="7544" y="17546"/>
                  </a:lnTo>
                  <a:cubicBezTo>
                    <a:pt x="7527" y="17549"/>
                    <a:pt x="7509" y="17551"/>
                    <a:pt x="7491" y="17553"/>
                  </a:cubicBezTo>
                  <a:cubicBezTo>
                    <a:pt x="7472" y="17556"/>
                    <a:pt x="7454" y="17559"/>
                    <a:pt x="7438" y="17561"/>
                  </a:cubicBezTo>
                  <a:cubicBezTo>
                    <a:pt x="7421" y="17563"/>
                    <a:pt x="7410" y="17565"/>
                    <a:pt x="7403" y="17566"/>
                  </a:cubicBezTo>
                  <a:cubicBezTo>
                    <a:pt x="7393" y="17568"/>
                    <a:pt x="7382" y="17570"/>
                    <a:pt x="7370" y="17574"/>
                  </a:cubicBezTo>
                  <a:cubicBezTo>
                    <a:pt x="7358" y="17577"/>
                    <a:pt x="7348" y="17580"/>
                    <a:pt x="7340" y="17584"/>
                  </a:cubicBezTo>
                  <a:lnTo>
                    <a:pt x="7343" y="17578"/>
                  </a:lnTo>
                  <a:cubicBezTo>
                    <a:pt x="7350" y="17563"/>
                    <a:pt x="7355" y="17547"/>
                    <a:pt x="7356" y="17532"/>
                  </a:cubicBezTo>
                  <a:cubicBezTo>
                    <a:pt x="7357" y="17517"/>
                    <a:pt x="7355" y="17502"/>
                    <a:pt x="7350" y="17489"/>
                  </a:cubicBezTo>
                  <a:cubicBezTo>
                    <a:pt x="7345" y="17475"/>
                    <a:pt x="7338" y="17462"/>
                    <a:pt x="7327" y="17451"/>
                  </a:cubicBezTo>
                  <a:cubicBezTo>
                    <a:pt x="7316" y="17439"/>
                    <a:pt x="7302" y="17430"/>
                    <a:pt x="7286" y="17422"/>
                  </a:cubicBezTo>
                  <a:cubicBezTo>
                    <a:pt x="7276" y="17417"/>
                    <a:pt x="7266" y="17413"/>
                    <a:pt x="7256" y="17412"/>
                  </a:cubicBezTo>
                  <a:cubicBezTo>
                    <a:pt x="7247" y="17410"/>
                    <a:pt x="7238" y="17409"/>
                    <a:pt x="7229" y="17409"/>
                  </a:cubicBezTo>
                  <a:cubicBezTo>
                    <a:pt x="7220" y="17410"/>
                    <a:pt x="7212" y="17411"/>
                    <a:pt x="7205" y="17413"/>
                  </a:cubicBezTo>
                  <a:cubicBezTo>
                    <a:pt x="7198" y="17415"/>
                    <a:pt x="7191" y="17417"/>
                    <a:pt x="7185" y="17420"/>
                  </a:cubicBezTo>
                  <a:cubicBezTo>
                    <a:pt x="7179" y="17423"/>
                    <a:pt x="7173" y="17426"/>
                    <a:pt x="7167" y="17431"/>
                  </a:cubicBezTo>
                  <a:cubicBezTo>
                    <a:pt x="7161" y="17435"/>
                    <a:pt x="7155" y="17441"/>
                    <a:pt x="7149" y="17447"/>
                  </a:cubicBezTo>
                  <a:cubicBezTo>
                    <a:pt x="7143" y="17454"/>
                    <a:pt x="7137" y="17462"/>
                    <a:pt x="7131" y="17472"/>
                  </a:cubicBezTo>
                  <a:cubicBezTo>
                    <a:pt x="7125" y="17482"/>
                    <a:pt x="7118" y="17493"/>
                    <a:pt x="7112" y="17506"/>
                  </a:cubicBezTo>
                  <a:lnTo>
                    <a:pt x="7067" y="17598"/>
                  </a:lnTo>
                  <a:lnTo>
                    <a:pt x="7458" y="17790"/>
                  </a:lnTo>
                  <a:lnTo>
                    <a:pt x="7480" y="17744"/>
                  </a:lnTo>
                  <a:lnTo>
                    <a:pt x="7304" y="17657"/>
                  </a:lnTo>
                  <a:cubicBezTo>
                    <a:pt x="7309" y="17648"/>
                    <a:pt x="7315" y="17641"/>
                    <a:pt x="7321" y="17636"/>
                  </a:cubicBezTo>
                  <a:cubicBezTo>
                    <a:pt x="7327" y="17632"/>
                    <a:pt x="7337" y="17628"/>
                    <a:pt x="7351" y="17625"/>
                  </a:cubicBezTo>
                  <a:cubicBezTo>
                    <a:pt x="7374" y="17621"/>
                    <a:pt x="7396" y="17617"/>
                    <a:pt x="7416" y="17613"/>
                  </a:cubicBezTo>
                  <a:cubicBezTo>
                    <a:pt x="7437" y="17610"/>
                    <a:pt x="7456" y="17607"/>
                    <a:pt x="7474" y="17605"/>
                  </a:cubicBezTo>
                  <a:cubicBezTo>
                    <a:pt x="7491" y="17603"/>
                    <a:pt x="7506" y="17601"/>
                    <a:pt x="7519" y="17601"/>
                  </a:cubicBezTo>
                  <a:cubicBezTo>
                    <a:pt x="7533" y="17600"/>
                    <a:pt x="7543" y="17600"/>
                    <a:pt x="7551" y="17600"/>
                  </a:cubicBezTo>
                  <a:lnTo>
                    <a:pt x="7580" y="17542"/>
                  </a:lnTo>
                  <a:close/>
                  <a:moveTo>
                    <a:pt x="7294" y="17493"/>
                  </a:moveTo>
                  <a:cubicBezTo>
                    <a:pt x="7302" y="17501"/>
                    <a:pt x="7308" y="17510"/>
                    <a:pt x="7311" y="17519"/>
                  </a:cubicBezTo>
                  <a:cubicBezTo>
                    <a:pt x="7314" y="17530"/>
                    <a:pt x="7314" y="17542"/>
                    <a:pt x="7312" y="17555"/>
                  </a:cubicBezTo>
                  <a:cubicBezTo>
                    <a:pt x="7310" y="17567"/>
                    <a:pt x="7304" y="17582"/>
                    <a:pt x="7296" y="17600"/>
                  </a:cubicBezTo>
                  <a:lnTo>
                    <a:pt x="7275" y="17643"/>
                  </a:lnTo>
                  <a:lnTo>
                    <a:pt x="7129" y="17571"/>
                  </a:lnTo>
                  <a:lnTo>
                    <a:pt x="7152" y="17525"/>
                  </a:lnTo>
                  <a:cubicBezTo>
                    <a:pt x="7157" y="17514"/>
                    <a:pt x="7162" y="17505"/>
                    <a:pt x="7167" y="17498"/>
                  </a:cubicBezTo>
                  <a:cubicBezTo>
                    <a:pt x="7172" y="17491"/>
                    <a:pt x="7178" y="17485"/>
                    <a:pt x="7184" y="17480"/>
                  </a:cubicBezTo>
                  <a:cubicBezTo>
                    <a:pt x="7194" y="17471"/>
                    <a:pt x="7206" y="17466"/>
                    <a:pt x="7221" y="17464"/>
                  </a:cubicBezTo>
                  <a:cubicBezTo>
                    <a:pt x="7235" y="17462"/>
                    <a:pt x="7249" y="17464"/>
                    <a:pt x="7262" y="17471"/>
                  </a:cubicBezTo>
                  <a:cubicBezTo>
                    <a:pt x="7275" y="17477"/>
                    <a:pt x="7285" y="17484"/>
                    <a:pt x="7294" y="17493"/>
                  </a:cubicBezTo>
                  <a:close/>
                  <a:moveTo>
                    <a:pt x="7792" y="17330"/>
                  </a:moveTo>
                  <a:lnTo>
                    <a:pt x="7243" y="17060"/>
                  </a:lnTo>
                  <a:lnTo>
                    <a:pt x="7224" y="17098"/>
                  </a:lnTo>
                  <a:lnTo>
                    <a:pt x="7773" y="17368"/>
                  </a:lnTo>
                  <a:lnTo>
                    <a:pt x="7792" y="17330"/>
                  </a:lnTo>
                  <a:close/>
                  <a:moveTo>
                    <a:pt x="7637" y="16439"/>
                  </a:moveTo>
                  <a:lnTo>
                    <a:pt x="7614" y="16485"/>
                  </a:lnTo>
                  <a:lnTo>
                    <a:pt x="7817" y="16645"/>
                  </a:lnTo>
                  <a:cubicBezTo>
                    <a:pt x="7830" y="16656"/>
                    <a:pt x="7843" y="16666"/>
                    <a:pt x="7856" y="16675"/>
                  </a:cubicBezTo>
                  <a:cubicBezTo>
                    <a:pt x="7868" y="16685"/>
                    <a:pt x="7880" y="16694"/>
                    <a:pt x="7890" y="16701"/>
                  </a:cubicBezTo>
                  <a:cubicBezTo>
                    <a:pt x="7900" y="16709"/>
                    <a:pt x="7909" y="16715"/>
                    <a:pt x="7915" y="16720"/>
                  </a:cubicBezTo>
                  <a:cubicBezTo>
                    <a:pt x="7920" y="16723"/>
                    <a:pt x="7924" y="16726"/>
                    <a:pt x="7925" y="16727"/>
                  </a:cubicBezTo>
                  <a:cubicBezTo>
                    <a:pt x="7923" y="16727"/>
                    <a:pt x="7920" y="16726"/>
                    <a:pt x="7916" y="16724"/>
                  </a:cubicBezTo>
                  <a:cubicBezTo>
                    <a:pt x="7910" y="16722"/>
                    <a:pt x="7901" y="16720"/>
                    <a:pt x="7891" y="16717"/>
                  </a:cubicBezTo>
                  <a:cubicBezTo>
                    <a:pt x="7881" y="16714"/>
                    <a:pt x="7869" y="16711"/>
                    <a:pt x="7856" y="16707"/>
                  </a:cubicBezTo>
                  <a:cubicBezTo>
                    <a:pt x="7843" y="16704"/>
                    <a:pt x="7828" y="16700"/>
                    <a:pt x="7812" y="16696"/>
                  </a:cubicBezTo>
                  <a:lnTo>
                    <a:pt x="7543" y="16631"/>
                  </a:lnTo>
                  <a:lnTo>
                    <a:pt x="7517" y="16684"/>
                  </a:lnTo>
                  <a:lnTo>
                    <a:pt x="7725" y="16851"/>
                  </a:lnTo>
                  <a:cubicBezTo>
                    <a:pt x="7735" y="16859"/>
                    <a:pt x="7746" y="16867"/>
                    <a:pt x="7758" y="16876"/>
                  </a:cubicBezTo>
                  <a:cubicBezTo>
                    <a:pt x="7769" y="16885"/>
                    <a:pt x="7780" y="16893"/>
                    <a:pt x="7790" y="16901"/>
                  </a:cubicBezTo>
                  <a:cubicBezTo>
                    <a:pt x="7800" y="16908"/>
                    <a:pt x="7808" y="16915"/>
                    <a:pt x="7815" y="16920"/>
                  </a:cubicBezTo>
                  <a:cubicBezTo>
                    <a:pt x="7823" y="16925"/>
                    <a:pt x="7826" y="16928"/>
                    <a:pt x="7827" y="16929"/>
                  </a:cubicBezTo>
                  <a:cubicBezTo>
                    <a:pt x="7825" y="16928"/>
                    <a:pt x="7820" y="16927"/>
                    <a:pt x="7812" y="16924"/>
                  </a:cubicBezTo>
                  <a:cubicBezTo>
                    <a:pt x="7803" y="16921"/>
                    <a:pt x="7793" y="16918"/>
                    <a:pt x="7781" y="16914"/>
                  </a:cubicBezTo>
                  <a:cubicBezTo>
                    <a:pt x="7768" y="16910"/>
                    <a:pt x="7755" y="16907"/>
                    <a:pt x="7740" y="16902"/>
                  </a:cubicBezTo>
                  <a:cubicBezTo>
                    <a:pt x="7726" y="16898"/>
                    <a:pt x="7712" y="16895"/>
                    <a:pt x="7698" y="16891"/>
                  </a:cubicBezTo>
                  <a:lnTo>
                    <a:pt x="7445" y="16828"/>
                  </a:lnTo>
                  <a:lnTo>
                    <a:pt x="7421" y="16879"/>
                  </a:lnTo>
                  <a:lnTo>
                    <a:pt x="7857" y="16979"/>
                  </a:lnTo>
                  <a:lnTo>
                    <a:pt x="7887" y="16918"/>
                  </a:lnTo>
                  <a:lnTo>
                    <a:pt x="7690" y="16762"/>
                  </a:lnTo>
                  <a:cubicBezTo>
                    <a:pt x="7678" y="16753"/>
                    <a:pt x="7667" y="16744"/>
                    <a:pt x="7656" y="16736"/>
                  </a:cubicBezTo>
                  <a:cubicBezTo>
                    <a:pt x="7645" y="16727"/>
                    <a:pt x="7635" y="16719"/>
                    <a:pt x="7625" y="16713"/>
                  </a:cubicBezTo>
                  <a:cubicBezTo>
                    <a:pt x="7616" y="16706"/>
                    <a:pt x="7609" y="16701"/>
                    <a:pt x="7603" y="16697"/>
                  </a:cubicBezTo>
                  <a:cubicBezTo>
                    <a:pt x="7597" y="16693"/>
                    <a:pt x="7594" y="16690"/>
                    <a:pt x="7593" y="16690"/>
                  </a:cubicBezTo>
                  <a:cubicBezTo>
                    <a:pt x="7595" y="16690"/>
                    <a:pt x="7599" y="16692"/>
                    <a:pt x="7606" y="16694"/>
                  </a:cubicBezTo>
                  <a:cubicBezTo>
                    <a:pt x="7612" y="16696"/>
                    <a:pt x="7621" y="16698"/>
                    <a:pt x="7632" y="16701"/>
                  </a:cubicBezTo>
                  <a:cubicBezTo>
                    <a:pt x="7642" y="16704"/>
                    <a:pt x="7654" y="16708"/>
                    <a:pt x="7668" y="16711"/>
                  </a:cubicBezTo>
                  <a:cubicBezTo>
                    <a:pt x="7682" y="16715"/>
                    <a:pt x="7697" y="16719"/>
                    <a:pt x="7713" y="16723"/>
                  </a:cubicBezTo>
                  <a:lnTo>
                    <a:pt x="7954" y="16782"/>
                  </a:lnTo>
                  <a:lnTo>
                    <a:pt x="7984" y="16721"/>
                  </a:lnTo>
                  <a:lnTo>
                    <a:pt x="7637" y="16439"/>
                  </a:lnTo>
                  <a:close/>
                  <a:moveTo>
                    <a:pt x="8175" y="16333"/>
                  </a:moveTo>
                  <a:lnTo>
                    <a:pt x="8134" y="16313"/>
                  </a:lnTo>
                  <a:lnTo>
                    <a:pt x="8049" y="16485"/>
                  </a:lnTo>
                  <a:lnTo>
                    <a:pt x="7906" y="16415"/>
                  </a:lnTo>
                  <a:lnTo>
                    <a:pt x="7972" y="16281"/>
                  </a:lnTo>
                  <a:lnTo>
                    <a:pt x="7932" y="16261"/>
                  </a:lnTo>
                  <a:lnTo>
                    <a:pt x="7866" y="16395"/>
                  </a:lnTo>
                  <a:lnTo>
                    <a:pt x="7738" y="16332"/>
                  </a:lnTo>
                  <a:lnTo>
                    <a:pt x="7817" y="16172"/>
                  </a:lnTo>
                  <a:lnTo>
                    <a:pt x="7781" y="16147"/>
                  </a:lnTo>
                  <a:lnTo>
                    <a:pt x="7676" y="16360"/>
                  </a:lnTo>
                  <a:lnTo>
                    <a:pt x="8067" y="16553"/>
                  </a:lnTo>
                  <a:lnTo>
                    <a:pt x="8175" y="16333"/>
                  </a:lnTo>
                  <a:close/>
                  <a:moveTo>
                    <a:pt x="8191" y="15929"/>
                  </a:moveTo>
                  <a:cubicBezTo>
                    <a:pt x="8176" y="15928"/>
                    <a:pt x="8162" y="15929"/>
                    <a:pt x="8149" y="15932"/>
                  </a:cubicBezTo>
                  <a:cubicBezTo>
                    <a:pt x="8136" y="15935"/>
                    <a:pt x="8124" y="15941"/>
                    <a:pt x="8113" y="15948"/>
                  </a:cubicBezTo>
                  <a:cubicBezTo>
                    <a:pt x="8102" y="15956"/>
                    <a:pt x="8090" y="15967"/>
                    <a:pt x="8076" y="15982"/>
                  </a:cubicBezTo>
                  <a:lnTo>
                    <a:pt x="8039" y="16020"/>
                  </a:lnTo>
                  <a:cubicBezTo>
                    <a:pt x="8020" y="16039"/>
                    <a:pt x="8004" y="16051"/>
                    <a:pt x="7989" y="16057"/>
                  </a:cubicBezTo>
                  <a:cubicBezTo>
                    <a:pt x="7975" y="16062"/>
                    <a:pt x="7960" y="16061"/>
                    <a:pt x="7944" y="16053"/>
                  </a:cubicBezTo>
                  <a:cubicBezTo>
                    <a:pt x="7924" y="16043"/>
                    <a:pt x="7911" y="16029"/>
                    <a:pt x="7906" y="16009"/>
                  </a:cubicBezTo>
                  <a:cubicBezTo>
                    <a:pt x="7902" y="15990"/>
                    <a:pt x="7906" y="15968"/>
                    <a:pt x="7918" y="15943"/>
                  </a:cubicBezTo>
                  <a:cubicBezTo>
                    <a:pt x="7922" y="15935"/>
                    <a:pt x="7926" y="15927"/>
                    <a:pt x="7931" y="15921"/>
                  </a:cubicBezTo>
                  <a:cubicBezTo>
                    <a:pt x="7936" y="15914"/>
                    <a:pt x="7941" y="15907"/>
                    <a:pt x="7948" y="15901"/>
                  </a:cubicBezTo>
                  <a:cubicBezTo>
                    <a:pt x="7954" y="15895"/>
                    <a:pt x="7961" y="15889"/>
                    <a:pt x="7969" y="15883"/>
                  </a:cubicBezTo>
                  <a:cubicBezTo>
                    <a:pt x="7977" y="15877"/>
                    <a:pt x="7987" y="15871"/>
                    <a:pt x="7998" y="15865"/>
                  </a:cubicBezTo>
                  <a:lnTo>
                    <a:pt x="7974" y="15827"/>
                  </a:lnTo>
                  <a:cubicBezTo>
                    <a:pt x="7931" y="15852"/>
                    <a:pt x="7899" y="15886"/>
                    <a:pt x="7878" y="15927"/>
                  </a:cubicBezTo>
                  <a:cubicBezTo>
                    <a:pt x="7869" y="15946"/>
                    <a:pt x="7863" y="15965"/>
                    <a:pt x="7861" y="15983"/>
                  </a:cubicBezTo>
                  <a:cubicBezTo>
                    <a:pt x="7859" y="16001"/>
                    <a:pt x="7860" y="16018"/>
                    <a:pt x="7865" y="16034"/>
                  </a:cubicBezTo>
                  <a:cubicBezTo>
                    <a:pt x="7869" y="16050"/>
                    <a:pt x="7877" y="16064"/>
                    <a:pt x="7887" y="16077"/>
                  </a:cubicBezTo>
                  <a:cubicBezTo>
                    <a:pt x="7898" y="16090"/>
                    <a:pt x="7912" y="16100"/>
                    <a:pt x="7928" y="16109"/>
                  </a:cubicBezTo>
                  <a:cubicBezTo>
                    <a:pt x="7954" y="16121"/>
                    <a:pt x="7979" y="16123"/>
                    <a:pt x="8004" y="16116"/>
                  </a:cubicBezTo>
                  <a:cubicBezTo>
                    <a:pt x="8016" y="16112"/>
                    <a:pt x="8027" y="16106"/>
                    <a:pt x="8037" y="16098"/>
                  </a:cubicBezTo>
                  <a:cubicBezTo>
                    <a:pt x="8047" y="16090"/>
                    <a:pt x="8059" y="16078"/>
                    <a:pt x="8073" y="16063"/>
                  </a:cubicBezTo>
                  <a:lnTo>
                    <a:pt x="8105" y="16030"/>
                  </a:lnTo>
                  <a:cubicBezTo>
                    <a:pt x="8142" y="15990"/>
                    <a:pt x="8177" y="15978"/>
                    <a:pt x="8212" y="15995"/>
                  </a:cubicBezTo>
                  <a:cubicBezTo>
                    <a:pt x="8235" y="16007"/>
                    <a:pt x="8249" y="16025"/>
                    <a:pt x="8254" y="16051"/>
                  </a:cubicBezTo>
                  <a:cubicBezTo>
                    <a:pt x="8256" y="16062"/>
                    <a:pt x="8257" y="16073"/>
                    <a:pt x="8255" y="16084"/>
                  </a:cubicBezTo>
                  <a:cubicBezTo>
                    <a:pt x="8253" y="16094"/>
                    <a:pt x="8248" y="16107"/>
                    <a:pt x="8241" y="16121"/>
                  </a:cubicBezTo>
                  <a:cubicBezTo>
                    <a:pt x="8231" y="16141"/>
                    <a:pt x="8219" y="16158"/>
                    <a:pt x="8206" y="16172"/>
                  </a:cubicBezTo>
                  <a:cubicBezTo>
                    <a:pt x="8192" y="16187"/>
                    <a:pt x="8175" y="16199"/>
                    <a:pt x="8155" y="16210"/>
                  </a:cubicBezTo>
                  <a:lnTo>
                    <a:pt x="8182" y="16248"/>
                  </a:lnTo>
                  <a:cubicBezTo>
                    <a:pt x="8204" y="16235"/>
                    <a:pt x="8222" y="16219"/>
                    <a:pt x="8238" y="16202"/>
                  </a:cubicBezTo>
                  <a:cubicBezTo>
                    <a:pt x="8254" y="16184"/>
                    <a:pt x="8267" y="16164"/>
                    <a:pt x="8279" y="16140"/>
                  </a:cubicBezTo>
                  <a:cubicBezTo>
                    <a:pt x="8288" y="16122"/>
                    <a:pt x="8294" y="16105"/>
                    <a:pt x="8297" y="16090"/>
                  </a:cubicBezTo>
                  <a:cubicBezTo>
                    <a:pt x="8300" y="16074"/>
                    <a:pt x="8300" y="16058"/>
                    <a:pt x="8298" y="16041"/>
                  </a:cubicBezTo>
                  <a:cubicBezTo>
                    <a:pt x="8296" y="16018"/>
                    <a:pt x="8288" y="15998"/>
                    <a:pt x="8276" y="15980"/>
                  </a:cubicBezTo>
                  <a:cubicBezTo>
                    <a:pt x="8264" y="15963"/>
                    <a:pt x="8249" y="15949"/>
                    <a:pt x="8231" y="15940"/>
                  </a:cubicBezTo>
                  <a:cubicBezTo>
                    <a:pt x="8219" y="15934"/>
                    <a:pt x="8205" y="15931"/>
                    <a:pt x="8191" y="15929"/>
                  </a:cubicBezTo>
                  <a:close/>
                  <a:moveTo>
                    <a:pt x="8108" y="15482"/>
                  </a:moveTo>
                  <a:lnTo>
                    <a:pt x="7981" y="15741"/>
                  </a:lnTo>
                  <a:lnTo>
                    <a:pt x="8020" y="15760"/>
                  </a:lnTo>
                  <a:lnTo>
                    <a:pt x="8071" y="15655"/>
                  </a:lnTo>
                  <a:lnTo>
                    <a:pt x="8423" y="15828"/>
                  </a:lnTo>
                  <a:lnTo>
                    <a:pt x="8445" y="15783"/>
                  </a:lnTo>
                  <a:lnTo>
                    <a:pt x="8094" y="15610"/>
                  </a:lnTo>
                  <a:lnTo>
                    <a:pt x="8146" y="15504"/>
                  </a:lnTo>
                  <a:lnTo>
                    <a:pt x="8108" y="15482"/>
                  </a:lnTo>
                  <a:close/>
                  <a:moveTo>
                    <a:pt x="8242" y="15209"/>
                  </a:moveTo>
                  <a:lnTo>
                    <a:pt x="8141" y="15415"/>
                  </a:lnTo>
                  <a:lnTo>
                    <a:pt x="8532" y="15607"/>
                  </a:lnTo>
                  <a:lnTo>
                    <a:pt x="8555" y="15560"/>
                  </a:lnTo>
                  <a:lnTo>
                    <a:pt x="8369" y="15469"/>
                  </a:lnTo>
                  <a:lnTo>
                    <a:pt x="8431" y="15343"/>
                  </a:lnTo>
                  <a:lnTo>
                    <a:pt x="8393" y="15325"/>
                  </a:lnTo>
                  <a:lnTo>
                    <a:pt x="8331" y="15450"/>
                  </a:lnTo>
                  <a:lnTo>
                    <a:pt x="8203" y="15387"/>
                  </a:lnTo>
                  <a:lnTo>
                    <a:pt x="8277" y="15236"/>
                  </a:lnTo>
                  <a:lnTo>
                    <a:pt x="8242" y="15209"/>
                  </a:lnTo>
                  <a:close/>
                  <a:moveTo>
                    <a:pt x="8789" y="15084"/>
                  </a:moveTo>
                  <a:lnTo>
                    <a:pt x="8335" y="15021"/>
                  </a:lnTo>
                  <a:lnTo>
                    <a:pt x="8305" y="15082"/>
                  </a:lnTo>
                  <a:lnTo>
                    <a:pt x="8631" y="15405"/>
                  </a:lnTo>
                  <a:lnTo>
                    <a:pt x="8655" y="15358"/>
                  </a:lnTo>
                  <a:lnTo>
                    <a:pt x="8553" y="15261"/>
                  </a:lnTo>
                  <a:lnTo>
                    <a:pt x="8625" y="15115"/>
                  </a:lnTo>
                  <a:lnTo>
                    <a:pt x="8763" y="15137"/>
                  </a:lnTo>
                  <a:lnTo>
                    <a:pt x="8789" y="15084"/>
                  </a:lnTo>
                  <a:close/>
                  <a:moveTo>
                    <a:pt x="8581" y="15108"/>
                  </a:moveTo>
                  <a:lnTo>
                    <a:pt x="8521" y="15230"/>
                  </a:lnTo>
                  <a:lnTo>
                    <a:pt x="8360" y="15074"/>
                  </a:lnTo>
                  <a:lnTo>
                    <a:pt x="8581" y="15108"/>
                  </a:lnTo>
                  <a:close/>
                  <a:moveTo>
                    <a:pt x="8227" y="15052"/>
                  </a:moveTo>
                  <a:cubicBezTo>
                    <a:pt x="8218" y="15055"/>
                    <a:pt x="8212" y="15061"/>
                    <a:pt x="8208" y="15069"/>
                  </a:cubicBezTo>
                  <a:cubicBezTo>
                    <a:pt x="8204" y="15077"/>
                    <a:pt x="8203" y="15085"/>
                    <a:pt x="8206" y="15094"/>
                  </a:cubicBezTo>
                  <a:cubicBezTo>
                    <a:pt x="8209" y="15102"/>
                    <a:pt x="8215" y="15108"/>
                    <a:pt x="8223" y="15112"/>
                  </a:cubicBezTo>
                  <a:cubicBezTo>
                    <a:pt x="8231" y="15117"/>
                    <a:pt x="8239" y="15117"/>
                    <a:pt x="8248" y="15114"/>
                  </a:cubicBezTo>
                  <a:cubicBezTo>
                    <a:pt x="8257" y="15112"/>
                    <a:pt x="8263" y="15106"/>
                    <a:pt x="8267" y="15098"/>
                  </a:cubicBezTo>
                  <a:cubicBezTo>
                    <a:pt x="8271" y="15089"/>
                    <a:pt x="8272" y="15081"/>
                    <a:pt x="8269" y="15073"/>
                  </a:cubicBezTo>
                  <a:cubicBezTo>
                    <a:pt x="8266" y="15064"/>
                    <a:pt x="8260" y="15058"/>
                    <a:pt x="8251" y="15054"/>
                  </a:cubicBezTo>
                  <a:cubicBezTo>
                    <a:pt x="8244" y="15050"/>
                    <a:pt x="8235" y="15049"/>
                    <a:pt x="8227" y="15052"/>
                  </a:cubicBezTo>
                  <a:close/>
                  <a:moveTo>
                    <a:pt x="8285" y="14935"/>
                  </a:moveTo>
                  <a:cubicBezTo>
                    <a:pt x="8276" y="14938"/>
                    <a:pt x="8270" y="14943"/>
                    <a:pt x="8266" y="14952"/>
                  </a:cubicBezTo>
                  <a:cubicBezTo>
                    <a:pt x="8262" y="14960"/>
                    <a:pt x="8261" y="14968"/>
                    <a:pt x="8264" y="14976"/>
                  </a:cubicBezTo>
                  <a:cubicBezTo>
                    <a:pt x="8267" y="14985"/>
                    <a:pt x="8272" y="14991"/>
                    <a:pt x="8280" y="14995"/>
                  </a:cubicBezTo>
                  <a:cubicBezTo>
                    <a:pt x="8289" y="14999"/>
                    <a:pt x="8297" y="15000"/>
                    <a:pt x="8306" y="14997"/>
                  </a:cubicBezTo>
                  <a:cubicBezTo>
                    <a:pt x="8315" y="14994"/>
                    <a:pt x="8321" y="14989"/>
                    <a:pt x="8325" y="14980"/>
                  </a:cubicBezTo>
                  <a:cubicBezTo>
                    <a:pt x="8329" y="14972"/>
                    <a:pt x="8330" y="14964"/>
                    <a:pt x="8327" y="14955"/>
                  </a:cubicBezTo>
                  <a:cubicBezTo>
                    <a:pt x="8323" y="14947"/>
                    <a:pt x="8318" y="14940"/>
                    <a:pt x="8309" y="14936"/>
                  </a:cubicBezTo>
                  <a:cubicBezTo>
                    <a:pt x="8301" y="14932"/>
                    <a:pt x="8293" y="14932"/>
                    <a:pt x="8285" y="14935"/>
                  </a:cubicBezTo>
                  <a:close/>
                  <a:moveTo>
                    <a:pt x="8885" y="14790"/>
                  </a:moveTo>
                  <a:lnTo>
                    <a:pt x="8809" y="14944"/>
                  </a:lnTo>
                  <a:lnTo>
                    <a:pt x="8458" y="14771"/>
                  </a:lnTo>
                  <a:lnTo>
                    <a:pt x="8435" y="14818"/>
                  </a:lnTo>
                  <a:lnTo>
                    <a:pt x="8826" y="15010"/>
                  </a:lnTo>
                  <a:lnTo>
                    <a:pt x="8922" y="14815"/>
                  </a:lnTo>
                  <a:lnTo>
                    <a:pt x="8885" y="14790"/>
                  </a:lnTo>
                  <a:close/>
                  <a:moveTo>
                    <a:pt x="8984" y="14688"/>
                  </a:moveTo>
                  <a:lnTo>
                    <a:pt x="8593" y="14496"/>
                  </a:lnTo>
                  <a:lnTo>
                    <a:pt x="8571" y="14541"/>
                  </a:lnTo>
                  <a:lnTo>
                    <a:pt x="8962" y="14734"/>
                  </a:lnTo>
                  <a:lnTo>
                    <a:pt x="8984" y="14688"/>
                  </a:lnTo>
                  <a:close/>
                  <a:moveTo>
                    <a:pt x="8151" y="18107"/>
                  </a:moveTo>
                  <a:lnTo>
                    <a:pt x="7760" y="17915"/>
                  </a:lnTo>
                  <a:lnTo>
                    <a:pt x="7737" y="17961"/>
                  </a:lnTo>
                  <a:lnTo>
                    <a:pt x="7901" y="18042"/>
                  </a:lnTo>
                  <a:lnTo>
                    <a:pt x="7820" y="18207"/>
                  </a:lnTo>
                  <a:lnTo>
                    <a:pt x="7656" y="18126"/>
                  </a:lnTo>
                  <a:lnTo>
                    <a:pt x="7634" y="18172"/>
                  </a:lnTo>
                  <a:lnTo>
                    <a:pt x="7801" y="18254"/>
                  </a:lnTo>
                  <a:lnTo>
                    <a:pt x="7916" y="18254"/>
                  </a:lnTo>
                  <a:lnTo>
                    <a:pt x="7858" y="18225"/>
                  </a:lnTo>
                  <a:lnTo>
                    <a:pt x="7939" y="18061"/>
                  </a:lnTo>
                  <a:lnTo>
                    <a:pt x="8128" y="18154"/>
                  </a:lnTo>
                  <a:lnTo>
                    <a:pt x="8151" y="18107"/>
                  </a:lnTo>
                  <a:close/>
                  <a:moveTo>
                    <a:pt x="9002" y="16378"/>
                  </a:moveTo>
                  <a:lnTo>
                    <a:pt x="9002" y="16376"/>
                  </a:lnTo>
                  <a:lnTo>
                    <a:pt x="8612" y="16184"/>
                  </a:lnTo>
                  <a:lnTo>
                    <a:pt x="8589" y="16230"/>
                  </a:lnTo>
                  <a:lnTo>
                    <a:pt x="8752" y="16311"/>
                  </a:lnTo>
                  <a:lnTo>
                    <a:pt x="8671" y="16476"/>
                  </a:lnTo>
                  <a:lnTo>
                    <a:pt x="8508" y="16395"/>
                  </a:lnTo>
                  <a:lnTo>
                    <a:pt x="8486" y="16441"/>
                  </a:lnTo>
                  <a:lnTo>
                    <a:pt x="8876" y="16633"/>
                  </a:lnTo>
                  <a:lnTo>
                    <a:pt x="8899" y="16587"/>
                  </a:lnTo>
                  <a:lnTo>
                    <a:pt x="8710" y="16494"/>
                  </a:lnTo>
                  <a:lnTo>
                    <a:pt x="8791" y="16330"/>
                  </a:lnTo>
                  <a:lnTo>
                    <a:pt x="8980" y="16423"/>
                  </a:lnTo>
                  <a:lnTo>
                    <a:pt x="9002" y="16378"/>
                  </a:lnTo>
                  <a:close/>
                  <a:moveTo>
                    <a:pt x="9002" y="16233"/>
                  </a:moveTo>
                  <a:lnTo>
                    <a:pt x="9002" y="16175"/>
                  </a:lnTo>
                  <a:lnTo>
                    <a:pt x="8899" y="16124"/>
                  </a:lnTo>
                  <a:lnTo>
                    <a:pt x="8965" y="15990"/>
                  </a:lnTo>
                  <a:lnTo>
                    <a:pt x="8924" y="15970"/>
                  </a:lnTo>
                  <a:lnTo>
                    <a:pt x="8858" y="16104"/>
                  </a:lnTo>
                  <a:lnTo>
                    <a:pt x="8730" y="16041"/>
                  </a:lnTo>
                  <a:lnTo>
                    <a:pt x="8809" y="15881"/>
                  </a:lnTo>
                  <a:lnTo>
                    <a:pt x="8773" y="15856"/>
                  </a:lnTo>
                  <a:lnTo>
                    <a:pt x="8668" y="16069"/>
                  </a:lnTo>
                  <a:lnTo>
                    <a:pt x="9002" y="16233"/>
                  </a:lnTo>
                  <a:close/>
                  <a:moveTo>
                    <a:pt x="9002" y="15858"/>
                  </a:moveTo>
                  <a:lnTo>
                    <a:pt x="9002" y="15800"/>
                  </a:lnTo>
                  <a:lnTo>
                    <a:pt x="8840" y="15721"/>
                  </a:lnTo>
                  <a:lnTo>
                    <a:pt x="8817" y="15767"/>
                  </a:lnTo>
                  <a:lnTo>
                    <a:pt x="9002" y="15858"/>
                  </a:lnTo>
                  <a:close/>
                  <a:moveTo>
                    <a:pt x="8315" y="17773"/>
                  </a:moveTo>
                  <a:lnTo>
                    <a:pt x="8275" y="17753"/>
                  </a:lnTo>
                  <a:lnTo>
                    <a:pt x="8190" y="17925"/>
                  </a:lnTo>
                  <a:lnTo>
                    <a:pt x="8047" y="17855"/>
                  </a:lnTo>
                  <a:lnTo>
                    <a:pt x="8113" y="17721"/>
                  </a:lnTo>
                  <a:lnTo>
                    <a:pt x="8073" y="17701"/>
                  </a:lnTo>
                  <a:lnTo>
                    <a:pt x="8007" y="17835"/>
                  </a:lnTo>
                  <a:lnTo>
                    <a:pt x="7879" y="17772"/>
                  </a:lnTo>
                  <a:lnTo>
                    <a:pt x="7957" y="17612"/>
                  </a:lnTo>
                  <a:lnTo>
                    <a:pt x="7922" y="17587"/>
                  </a:lnTo>
                  <a:lnTo>
                    <a:pt x="7817" y="17800"/>
                  </a:lnTo>
                  <a:lnTo>
                    <a:pt x="8207" y="17993"/>
                  </a:lnTo>
                  <a:lnTo>
                    <a:pt x="8315" y="17773"/>
                  </a:lnTo>
                  <a:close/>
                  <a:moveTo>
                    <a:pt x="8232" y="16956"/>
                  </a:moveTo>
                  <a:lnTo>
                    <a:pt x="8209" y="17003"/>
                  </a:lnTo>
                  <a:lnTo>
                    <a:pt x="8412" y="17163"/>
                  </a:lnTo>
                  <a:cubicBezTo>
                    <a:pt x="8425" y="17173"/>
                    <a:pt x="8438" y="17183"/>
                    <a:pt x="8450" y="17192"/>
                  </a:cubicBezTo>
                  <a:cubicBezTo>
                    <a:pt x="8463" y="17202"/>
                    <a:pt x="8474" y="17211"/>
                    <a:pt x="8485" y="17218"/>
                  </a:cubicBezTo>
                  <a:cubicBezTo>
                    <a:pt x="8495" y="17226"/>
                    <a:pt x="8503" y="17232"/>
                    <a:pt x="8510" y="17237"/>
                  </a:cubicBezTo>
                  <a:cubicBezTo>
                    <a:pt x="8515" y="17241"/>
                    <a:pt x="8518" y="17243"/>
                    <a:pt x="8520" y="17244"/>
                  </a:cubicBezTo>
                  <a:cubicBezTo>
                    <a:pt x="8518" y="17244"/>
                    <a:pt x="8515" y="17243"/>
                    <a:pt x="8510" y="17241"/>
                  </a:cubicBezTo>
                  <a:cubicBezTo>
                    <a:pt x="8504" y="17239"/>
                    <a:pt x="8496" y="17237"/>
                    <a:pt x="8486" y="17234"/>
                  </a:cubicBezTo>
                  <a:cubicBezTo>
                    <a:pt x="8476" y="17231"/>
                    <a:pt x="8464" y="17228"/>
                    <a:pt x="8451" y="17225"/>
                  </a:cubicBezTo>
                  <a:cubicBezTo>
                    <a:pt x="8437" y="17221"/>
                    <a:pt x="8423" y="17217"/>
                    <a:pt x="8407" y="17213"/>
                  </a:cubicBezTo>
                  <a:lnTo>
                    <a:pt x="8138" y="17148"/>
                  </a:lnTo>
                  <a:lnTo>
                    <a:pt x="8111" y="17201"/>
                  </a:lnTo>
                  <a:lnTo>
                    <a:pt x="8320" y="17368"/>
                  </a:lnTo>
                  <a:cubicBezTo>
                    <a:pt x="8330" y="17376"/>
                    <a:pt x="8341" y="17384"/>
                    <a:pt x="8352" y="17393"/>
                  </a:cubicBezTo>
                  <a:cubicBezTo>
                    <a:pt x="8364" y="17402"/>
                    <a:pt x="8375" y="17410"/>
                    <a:pt x="8385" y="17418"/>
                  </a:cubicBezTo>
                  <a:cubicBezTo>
                    <a:pt x="8395" y="17425"/>
                    <a:pt x="8403" y="17432"/>
                    <a:pt x="8410" y="17437"/>
                  </a:cubicBezTo>
                  <a:cubicBezTo>
                    <a:pt x="8417" y="17442"/>
                    <a:pt x="8421" y="17445"/>
                    <a:pt x="8422" y="17446"/>
                  </a:cubicBezTo>
                  <a:cubicBezTo>
                    <a:pt x="8420" y="17445"/>
                    <a:pt x="8415" y="17444"/>
                    <a:pt x="8407" y="17441"/>
                  </a:cubicBezTo>
                  <a:cubicBezTo>
                    <a:pt x="8398" y="17438"/>
                    <a:pt x="8388" y="17435"/>
                    <a:pt x="8375" y="17431"/>
                  </a:cubicBezTo>
                  <a:cubicBezTo>
                    <a:pt x="8363" y="17427"/>
                    <a:pt x="8350" y="17424"/>
                    <a:pt x="8335" y="17420"/>
                  </a:cubicBezTo>
                  <a:cubicBezTo>
                    <a:pt x="8321" y="17415"/>
                    <a:pt x="8307" y="17412"/>
                    <a:pt x="8293" y="17408"/>
                  </a:cubicBezTo>
                  <a:lnTo>
                    <a:pt x="8040" y="17346"/>
                  </a:lnTo>
                  <a:lnTo>
                    <a:pt x="8016" y="17396"/>
                  </a:lnTo>
                  <a:lnTo>
                    <a:pt x="8452" y="17496"/>
                  </a:lnTo>
                  <a:lnTo>
                    <a:pt x="8482" y="17435"/>
                  </a:lnTo>
                  <a:lnTo>
                    <a:pt x="8285" y="17279"/>
                  </a:lnTo>
                  <a:cubicBezTo>
                    <a:pt x="8273" y="17270"/>
                    <a:pt x="8262" y="17261"/>
                    <a:pt x="8250" y="17253"/>
                  </a:cubicBezTo>
                  <a:cubicBezTo>
                    <a:pt x="8239" y="17244"/>
                    <a:pt x="8229" y="17237"/>
                    <a:pt x="8220" y="17230"/>
                  </a:cubicBezTo>
                  <a:cubicBezTo>
                    <a:pt x="8211" y="17223"/>
                    <a:pt x="8204" y="17218"/>
                    <a:pt x="8198" y="17214"/>
                  </a:cubicBezTo>
                  <a:cubicBezTo>
                    <a:pt x="8192" y="17210"/>
                    <a:pt x="8189" y="17208"/>
                    <a:pt x="8188" y="17207"/>
                  </a:cubicBezTo>
                  <a:cubicBezTo>
                    <a:pt x="8189" y="17207"/>
                    <a:pt x="8194" y="17209"/>
                    <a:pt x="8200" y="17211"/>
                  </a:cubicBezTo>
                  <a:cubicBezTo>
                    <a:pt x="8207" y="17213"/>
                    <a:pt x="8216" y="17215"/>
                    <a:pt x="8226" y="17218"/>
                  </a:cubicBezTo>
                  <a:cubicBezTo>
                    <a:pt x="8237" y="17221"/>
                    <a:pt x="8249" y="17225"/>
                    <a:pt x="8263" y="17228"/>
                  </a:cubicBezTo>
                  <a:cubicBezTo>
                    <a:pt x="8277" y="17232"/>
                    <a:pt x="8292" y="17236"/>
                    <a:pt x="8308" y="17240"/>
                  </a:cubicBezTo>
                  <a:lnTo>
                    <a:pt x="8549" y="17299"/>
                  </a:lnTo>
                  <a:lnTo>
                    <a:pt x="8579" y="17238"/>
                  </a:lnTo>
                  <a:lnTo>
                    <a:pt x="8232" y="16956"/>
                  </a:lnTo>
                  <a:close/>
                  <a:moveTo>
                    <a:pt x="8684" y="17024"/>
                  </a:moveTo>
                  <a:lnTo>
                    <a:pt x="8293" y="16832"/>
                  </a:lnTo>
                  <a:lnTo>
                    <a:pt x="8271" y="16877"/>
                  </a:lnTo>
                  <a:lnTo>
                    <a:pt x="8661" y="17070"/>
                  </a:lnTo>
                  <a:lnTo>
                    <a:pt x="8684" y="17024"/>
                  </a:lnTo>
                  <a:close/>
                  <a:moveTo>
                    <a:pt x="8800" y="16689"/>
                  </a:moveTo>
                  <a:lnTo>
                    <a:pt x="8724" y="16843"/>
                  </a:lnTo>
                  <a:lnTo>
                    <a:pt x="8372" y="16670"/>
                  </a:lnTo>
                  <a:lnTo>
                    <a:pt x="8349" y="16717"/>
                  </a:lnTo>
                  <a:lnTo>
                    <a:pt x="8740" y="16909"/>
                  </a:lnTo>
                  <a:lnTo>
                    <a:pt x="8836" y="16715"/>
                  </a:lnTo>
                  <a:lnTo>
                    <a:pt x="8800" y="16689"/>
                  </a:lnTo>
                  <a:close/>
                  <a:moveTo>
                    <a:pt x="9002" y="17661"/>
                  </a:moveTo>
                  <a:lnTo>
                    <a:pt x="9002" y="17587"/>
                  </a:lnTo>
                  <a:cubicBezTo>
                    <a:pt x="8992" y="17594"/>
                    <a:pt x="8982" y="17604"/>
                    <a:pt x="8970" y="17617"/>
                  </a:cubicBezTo>
                  <a:lnTo>
                    <a:pt x="8933" y="17655"/>
                  </a:lnTo>
                  <a:cubicBezTo>
                    <a:pt x="8914" y="17674"/>
                    <a:pt x="8898" y="17687"/>
                    <a:pt x="8883" y="17692"/>
                  </a:cubicBezTo>
                  <a:cubicBezTo>
                    <a:pt x="8869" y="17698"/>
                    <a:pt x="8853" y="17696"/>
                    <a:pt x="8838" y="17689"/>
                  </a:cubicBezTo>
                  <a:cubicBezTo>
                    <a:pt x="8817" y="17679"/>
                    <a:pt x="8805" y="17664"/>
                    <a:pt x="8800" y="17645"/>
                  </a:cubicBezTo>
                  <a:cubicBezTo>
                    <a:pt x="8796" y="17625"/>
                    <a:pt x="8799" y="17603"/>
                    <a:pt x="8812" y="17579"/>
                  </a:cubicBezTo>
                  <a:cubicBezTo>
                    <a:pt x="8816" y="17570"/>
                    <a:pt x="8820" y="17563"/>
                    <a:pt x="8825" y="17556"/>
                  </a:cubicBezTo>
                  <a:cubicBezTo>
                    <a:pt x="8830" y="17549"/>
                    <a:pt x="8835" y="17543"/>
                    <a:pt x="8842" y="17537"/>
                  </a:cubicBezTo>
                  <a:cubicBezTo>
                    <a:pt x="8848" y="17530"/>
                    <a:pt x="8855" y="17524"/>
                    <a:pt x="8863" y="17519"/>
                  </a:cubicBezTo>
                  <a:cubicBezTo>
                    <a:pt x="8871" y="17513"/>
                    <a:pt x="8881" y="17506"/>
                    <a:pt x="8891" y="17500"/>
                  </a:cubicBezTo>
                  <a:lnTo>
                    <a:pt x="8868" y="17463"/>
                  </a:lnTo>
                  <a:cubicBezTo>
                    <a:pt x="8824" y="17488"/>
                    <a:pt x="8793" y="17521"/>
                    <a:pt x="8772" y="17562"/>
                  </a:cubicBezTo>
                  <a:cubicBezTo>
                    <a:pt x="8763" y="17581"/>
                    <a:pt x="8757" y="17600"/>
                    <a:pt x="8755" y="17618"/>
                  </a:cubicBezTo>
                  <a:cubicBezTo>
                    <a:pt x="8753" y="17637"/>
                    <a:pt x="8754" y="17654"/>
                    <a:pt x="8758" y="17669"/>
                  </a:cubicBezTo>
                  <a:cubicBezTo>
                    <a:pt x="8763" y="17685"/>
                    <a:pt x="8770" y="17700"/>
                    <a:pt x="8781" y="17712"/>
                  </a:cubicBezTo>
                  <a:cubicBezTo>
                    <a:pt x="8792" y="17725"/>
                    <a:pt x="8806" y="17736"/>
                    <a:pt x="8822" y="17744"/>
                  </a:cubicBezTo>
                  <a:cubicBezTo>
                    <a:pt x="8847" y="17756"/>
                    <a:pt x="8873" y="17759"/>
                    <a:pt x="8898" y="17751"/>
                  </a:cubicBezTo>
                  <a:cubicBezTo>
                    <a:pt x="8910" y="17747"/>
                    <a:pt x="8921" y="17741"/>
                    <a:pt x="8931" y="17733"/>
                  </a:cubicBezTo>
                  <a:cubicBezTo>
                    <a:pt x="8941" y="17725"/>
                    <a:pt x="8953" y="17714"/>
                    <a:pt x="8967" y="17699"/>
                  </a:cubicBezTo>
                  <a:lnTo>
                    <a:pt x="8998" y="17665"/>
                  </a:lnTo>
                  <a:lnTo>
                    <a:pt x="9002" y="17661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 sz="1012"/>
            </a:p>
          </p:txBody>
        </p:sp>
      </p:grpSp>
    </p:spTree>
    <p:extLst>
      <p:ext uri="{BB962C8B-B14F-4D97-AF65-F5344CB8AC3E}">
        <p14:creationId xmlns:p14="http://schemas.microsoft.com/office/powerpoint/2010/main" val="1411175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20" userDrawn="1">
          <p15:clr>
            <a:srgbClr val="FBAE40"/>
          </p15:clr>
        </p15:guide>
        <p15:guide id="2" orient="horz" pos="2024" userDrawn="1">
          <p15:clr>
            <a:srgbClr val="FBAE40"/>
          </p15:clr>
        </p15:guide>
        <p15:guide id="3" pos="404" userDrawn="1">
          <p15:clr>
            <a:srgbClr val="FBAE40"/>
          </p15:clr>
        </p15:guide>
        <p15:guide id="4" pos="13264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blau mit Typoeck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Vertikaler Textplatzhalter 2"/>
          <p:cNvSpPr>
            <a:spLocks noGrp="1"/>
          </p:cNvSpPr>
          <p:nvPr>
            <p:ph type="body" orient="vert" idx="17" hasCustomPrompt="1"/>
          </p:nvPr>
        </p:nvSpPr>
        <p:spPr>
          <a:xfrm>
            <a:off x="5214570" y="6080400"/>
            <a:ext cx="3416441" cy="468000"/>
          </a:xfrm>
        </p:spPr>
        <p:txBody>
          <a:bodyPr vert="horz" anchor="b" anchorCtr="0"/>
          <a:lstStyle>
            <a:lvl1pPr marL="0" indent="0" algn="r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674" b="0">
                <a:solidFill>
                  <a:schemeClr val="bg1"/>
                </a:solidFill>
              </a:defRPr>
            </a:lvl1pPr>
            <a:lvl2pPr marL="0" indent="0" algn="r">
              <a:lnSpc>
                <a:spcPct val="110000"/>
              </a:lnSpc>
              <a:spcBef>
                <a:spcPts val="0"/>
              </a:spcBef>
              <a:buNone/>
              <a:defRPr sz="674" b="0">
                <a:solidFill>
                  <a:schemeClr val="bg1"/>
                </a:solidFill>
              </a:defRPr>
            </a:lvl2pPr>
            <a:lvl3pPr marL="0" indent="0" algn="r">
              <a:lnSpc>
                <a:spcPct val="110000"/>
              </a:lnSpc>
              <a:spcBef>
                <a:spcPts val="0"/>
              </a:spcBef>
              <a:buNone/>
              <a:defRPr sz="674" b="0">
                <a:solidFill>
                  <a:schemeClr val="bg1"/>
                </a:solidFill>
              </a:defRPr>
            </a:lvl3pPr>
            <a:lvl4pPr marL="0" indent="0" algn="r">
              <a:lnSpc>
                <a:spcPct val="110000"/>
              </a:lnSpc>
              <a:spcBef>
                <a:spcPts val="0"/>
              </a:spcBef>
              <a:buNone/>
              <a:defRPr sz="674" b="0">
                <a:solidFill>
                  <a:schemeClr val="bg1"/>
                </a:solidFill>
              </a:defRPr>
            </a:lvl4pPr>
            <a:lvl5pPr marL="0" indent="0" algn="r">
              <a:lnSpc>
                <a:spcPct val="110000"/>
              </a:lnSpc>
              <a:spcBef>
                <a:spcPts val="0"/>
              </a:spcBef>
              <a:buNone/>
              <a:defRPr sz="674" b="0">
                <a:solidFill>
                  <a:schemeClr val="bg1"/>
                </a:solidFill>
              </a:defRPr>
            </a:lvl5pPr>
            <a:lvl6pPr marL="0" indent="0" algn="r">
              <a:lnSpc>
                <a:spcPct val="110000"/>
              </a:lnSpc>
              <a:spcBef>
                <a:spcPts val="0"/>
              </a:spcBef>
              <a:buNone/>
              <a:defRPr sz="674" b="0">
                <a:solidFill>
                  <a:schemeClr val="bg1"/>
                </a:solidFill>
              </a:defRPr>
            </a:lvl6pPr>
            <a:lvl7pPr marL="0" indent="0" algn="r">
              <a:lnSpc>
                <a:spcPct val="110000"/>
              </a:lnSpc>
              <a:spcBef>
                <a:spcPts val="0"/>
              </a:spcBef>
              <a:buNone/>
              <a:defRPr sz="674" b="0">
                <a:solidFill>
                  <a:schemeClr val="bg1"/>
                </a:solidFill>
              </a:defRPr>
            </a:lvl7pPr>
            <a:lvl8pPr marL="0" indent="0" algn="r">
              <a:lnSpc>
                <a:spcPct val="110000"/>
              </a:lnSpc>
              <a:spcBef>
                <a:spcPts val="0"/>
              </a:spcBef>
              <a:buNone/>
              <a:defRPr sz="674" b="0">
                <a:solidFill>
                  <a:schemeClr val="bg1"/>
                </a:solidFill>
              </a:defRPr>
            </a:lvl8pPr>
            <a:lvl9pPr marL="0" indent="0" algn="r">
              <a:lnSpc>
                <a:spcPct val="110000"/>
              </a:lnSpc>
              <a:spcBef>
                <a:spcPts val="0"/>
              </a:spcBef>
              <a:buNone/>
              <a:defRPr sz="674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Freiraum für Sekundärlogo(s) / Name </a:t>
            </a:r>
            <a:br>
              <a:rPr lang="de-DE" dirty="0"/>
            </a:br>
            <a:r>
              <a:rPr lang="de-DE" dirty="0"/>
              <a:t>des Fachbereichs, Instituts oder SFBs</a:t>
            </a:r>
          </a:p>
        </p:txBody>
      </p:sp>
      <p:grpSp>
        <p:nvGrpSpPr>
          <p:cNvPr id="25" name="Regieanweisungen"/>
          <p:cNvGrpSpPr/>
          <p:nvPr userDrawn="1"/>
        </p:nvGrpSpPr>
        <p:grpSpPr>
          <a:xfrm>
            <a:off x="-2050600" y="-468000"/>
            <a:ext cx="14709415" cy="7776000"/>
            <a:chOff x="-2052737" y="-468000"/>
            <a:chExt cx="14724737" cy="7776000"/>
          </a:xfrm>
        </p:grpSpPr>
        <p:sp>
          <p:nvSpPr>
            <p:cNvPr id="26" name="Hilfslinien"/>
            <p:cNvSpPr txBox="1"/>
            <p:nvPr userDrawn="1"/>
          </p:nvSpPr>
          <p:spPr>
            <a:xfrm rot="10800000" flipH="1" flipV="1">
              <a:off x="360000" y="-468000"/>
              <a:ext cx="11484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77421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506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  <a:r>
                <a:rPr kumimoji="0" lang="de-DE" sz="506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Haken bei Führungslinien setzen</a:t>
              </a:r>
            </a:p>
          </p:txBody>
        </p:sp>
        <p:cxnSp>
          <p:nvCxnSpPr>
            <p:cNvPr id="27" name="Linie"/>
            <p:cNvCxnSpPr/>
            <p:nvPr userDrawn="1"/>
          </p:nvCxnSpPr>
          <p:spPr>
            <a:xfrm>
              <a:off x="11844000" y="-46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Linie"/>
            <p:cNvCxnSpPr/>
            <p:nvPr userDrawn="1"/>
          </p:nvCxnSpPr>
          <p:spPr>
            <a:xfrm>
              <a:off x="360000" y="-46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Linie"/>
            <p:cNvCxnSpPr/>
            <p:nvPr userDrawn="1"/>
          </p:nvCxnSpPr>
          <p:spPr>
            <a:xfrm>
              <a:off x="11844000" y="694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Linie"/>
            <p:cNvCxnSpPr/>
            <p:nvPr userDrawn="1"/>
          </p:nvCxnSpPr>
          <p:spPr>
            <a:xfrm>
              <a:off x="360000" y="694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Zurücksetzen"/>
            <p:cNvSpPr txBox="1"/>
            <p:nvPr userDrawn="1"/>
          </p:nvSpPr>
          <p:spPr>
            <a:xfrm rot="10800000" flipH="1" flipV="1">
              <a:off x="-2052737" y="648000"/>
              <a:ext cx="1944737" cy="54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506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506" b="0" baseline="0" dirty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506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32" name="Layoutwechsel"/>
            <p:cNvSpPr txBox="1"/>
            <p:nvPr userDrawn="1"/>
          </p:nvSpPr>
          <p:spPr>
            <a:xfrm rot="10800000" flipH="1" flipV="1">
              <a:off x="-2052737" y="1"/>
              <a:ext cx="1944737" cy="54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506" b="0" baseline="0" dirty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506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506" b="0" baseline="0" dirty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r" defTabSz="678722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506" b="1" baseline="0" dirty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cxnSp>
          <p:nvCxnSpPr>
            <p:cNvPr id="33" name="Linie"/>
            <p:cNvCxnSpPr/>
            <p:nvPr userDrawn="1"/>
          </p:nvCxnSpPr>
          <p:spPr>
            <a:xfrm>
              <a:off x="12312000" y="2284414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Linie"/>
            <p:cNvCxnSpPr/>
            <p:nvPr userDrawn="1"/>
          </p:nvCxnSpPr>
          <p:spPr>
            <a:xfrm>
              <a:off x="12312000" y="5742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Linie"/>
            <p:cNvCxnSpPr/>
            <p:nvPr userDrawn="1"/>
          </p:nvCxnSpPr>
          <p:spPr>
            <a:xfrm>
              <a:off x="-467999" y="2284414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Linie"/>
            <p:cNvCxnSpPr/>
            <p:nvPr userDrawn="1"/>
          </p:nvCxnSpPr>
          <p:spPr>
            <a:xfrm>
              <a:off x="-468000" y="5742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Linie"/>
            <p:cNvCxnSpPr/>
            <p:nvPr userDrawn="1"/>
          </p:nvCxnSpPr>
          <p:spPr>
            <a:xfrm>
              <a:off x="-467999" y="1440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Linie"/>
            <p:cNvCxnSpPr/>
            <p:nvPr userDrawn="1"/>
          </p:nvCxnSpPr>
          <p:spPr>
            <a:xfrm>
              <a:off x="12312000" y="1438599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1" name="Datumsplatzhalter 3"/>
          <p:cNvSpPr>
            <a:spLocks noGrp="1"/>
          </p:cNvSpPr>
          <p:nvPr>
            <p:ph type="dt" sz="half" idx="14"/>
          </p:nvPr>
        </p:nvSpPr>
        <p:spPr>
          <a:xfrm>
            <a:off x="3596255" y="-720000"/>
            <a:ext cx="8235421" cy="360000"/>
          </a:xfrm>
          <a:prstGeom prst="rect">
            <a:avLst/>
          </a:prstGeom>
        </p:spPr>
        <p:txBody>
          <a:bodyPr/>
          <a:lstStyle/>
          <a:p>
            <a:fld id="{779325EE-D9C7-4840-A3B2-878555A14EFD}" type="datetime1">
              <a:rPr lang="de-DE" smtClean="0"/>
              <a:t>16.04.25</a:t>
            </a:fld>
            <a:endParaRPr lang="de-DE" dirty="0"/>
          </a:p>
        </p:txBody>
      </p:sp>
      <p:sp>
        <p:nvSpPr>
          <p:cNvPr id="52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9625" y="7020000"/>
            <a:ext cx="8271384" cy="360000"/>
          </a:xfrm>
        </p:spPr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5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004537" y="7020000"/>
            <a:ext cx="827139" cy="360000"/>
          </a:xfrm>
        </p:spPr>
        <p:txBody>
          <a:bodyPr/>
          <a:lstStyle/>
          <a:p>
            <a:fld id="{6C8FC03C-C266-4645-ABC5-645062898383}" type="slidenum">
              <a:rPr lang="de-DE" smtClean="0"/>
              <a:pPr/>
              <a:t>‹#›</a:t>
            </a:fld>
            <a:r>
              <a:rPr lang="de-DE" dirty="0"/>
              <a:t> </a:t>
            </a:r>
            <a:endParaRPr lang="de-DE" sz="787" dirty="0"/>
          </a:p>
        </p:txBody>
      </p:sp>
      <p:sp>
        <p:nvSpPr>
          <p:cNvPr id="54" name="Titel 1"/>
          <p:cNvSpPr>
            <a:spLocks noGrp="1"/>
          </p:cNvSpPr>
          <p:nvPr>
            <p:ph type="ctrTitle" hasCustomPrompt="1"/>
          </p:nvPr>
        </p:nvSpPr>
        <p:spPr>
          <a:xfrm>
            <a:off x="359627" y="1936750"/>
            <a:ext cx="6401332" cy="1276350"/>
          </a:xfrm>
        </p:spPr>
        <p:txBody>
          <a:bodyPr anchor="t" anchorCtr="0"/>
          <a:lstStyle>
            <a:lvl1pPr marL="0" indent="0" algn="l">
              <a:lnSpc>
                <a:spcPct val="104000"/>
              </a:lnSpc>
              <a:buFont typeface="Arial" panose="020B0604020202020204" pitchFamily="34" charset="0"/>
              <a:buNone/>
              <a:defRPr sz="1798"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er Präsentation auf zwei Zeilen einfügen</a:t>
            </a:r>
          </a:p>
        </p:txBody>
      </p:sp>
      <p:sp>
        <p:nvSpPr>
          <p:cNvPr id="56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59627" y="3213100"/>
            <a:ext cx="6401332" cy="792000"/>
          </a:xfrm>
        </p:spPr>
        <p:txBody>
          <a:bodyPr/>
          <a:lstStyle>
            <a:lvl1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899" b="0">
                <a:solidFill>
                  <a:schemeClr val="bg1"/>
                </a:solidFill>
              </a:defRPr>
            </a:lvl1pPr>
            <a:lvl2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899" b="0">
                <a:solidFill>
                  <a:schemeClr val="bg1"/>
                </a:solidFill>
              </a:defRPr>
            </a:lvl2pPr>
            <a:lvl3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899" b="0">
                <a:solidFill>
                  <a:schemeClr val="bg1"/>
                </a:solidFill>
              </a:defRPr>
            </a:lvl3pPr>
            <a:lvl4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899" b="0">
                <a:solidFill>
                  <a:schemeClr val="bg1"/>
                </a:solidFill>
              </a:defRPr>
            </a:lvl4pPr>
            <a:lvl5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899" b="0">
                <a:solidFill>
                  <a:schemeClr val="bg1"/>
                </a:solidFill>
              </a:defRPr>
            </a:lvl5pPr>
            <a:lvl6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899" b="0">
                <a:solidFill>
                  <a:schemeClr val="bg1"/>
                </a:solidFill>
              </a:defRPr>
            </a:lvl6pPr>
            <a:lvl7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899" b="0">
                <a:solidFill>
                  <a:schemeClr val="bg1"/>
                </a:solidFill>
              </a:defRPr>
            </a:lvl7pPr>
            <a:lvl8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899" b="0">
                <a:solidFill>
                  <a:schemeClr val="bg1"/>
                </a:solidFill>
              </a:defRPr>
            </a:lvl8pPr>
            <a:lvl9pPr marL="0" indent="0" algn="l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899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Untertitel bzw. Kurzbeschreibung der Präsentation</a:t>
            </a:r>
            <a:br>
              <a:rPr lang="de-DE" dirty="0"/>
            </a:br>
            <a:r>
              <a:rPr lang="de-DE" dirty="0"/>
              <a:t>Name: der Referentin / des Referenten</a:t>
            </a:r>
          </a:p>
        </p:txBody>
      </p:sp>
      <p:sp>
        <p:nvSpPr>
          <p:cNvPr id="60" name="Logo"/>
          <p:cNvSpPr>
            <a:spLocks noChangeAspect="1" noEditPoints="1"/>
          </p:cNvSpPr>
          <p:nvPr userDrawn="1"/>
        </p:nvSpPr>
        <p:spPr bwMode="auto">
          <a:xfrm>
            <a:off x="359627" y="304199"/>
            <a:ext cx="2697191" cy="779760"/>
          </a:xfrm>
          <a:custGeom>
            <a:avLst/>
            <a:gdLst>
              <a:gd name="T0" fmla="*/ 6185 w 6233"/>
              <a:gd name="T1" fmla="*/ 1609 h 1800"/>
              <a:gd name="T2" fmla="*/ 6094 w 6233"/>
              <a:gd name="T3" fmla="*/ 1565 h 1800"/>
              <a:gd name="T4" fmla="*/ 6094 w 6233"/>
              <a:gd name="T5" fmla="*/ 1795 h 1800"/>
              <a:gd name="T6" fmla="*/ 6233 w 6233"/>
              <a:gd name="T7" fmla="*/ 1795 h 1800"/>
              <a:gd name="T8" fmla="*/ 6219 w 6233"/>
              <a:gd name="T9" fmla="*/ 1609 h 1800"/>
              <a:gd name="T10" fmla="*/ 5799 w 6233"/>
              <a:gd name="T11" fmla="*/ 1539 h 1800"/>
              <a:gd name="T12" fmla="*/ 5831 w 6233"/>
              <a:gd name="T13" fmla="*/ 1769 h 1800"/>
              <a:gd name="T14" fmla="*/ 5831 w 6233"/>
              <a:gd name="T15" fmla="*/ 1648 h 1800"/>
              <a:gd name="T16" fmla="*/ 5698 w 6233"/>
              <a:gd name="T17" fmla="*/ 1539 h 1800"/>
              <a:gd name="T18" fmla="*/ 5592 w 6233"/>
              <a:gd name="T19" fmla="*/ 1795 h 1800"/>
              <a:gd name="T20" fmla="*/ 5698 w 6233"/>
              <a:gd name="T21" fmla="*/ 1539 h 1800"/>
              <a:gd name="T22" fmla="*/ 5385 w 6233"/>
              <a:gd name="T23" fmla="*/ 1784 h 1800"/>
              <a:gd name="T24" fmla="*/ 5326 w 6233"/>
              <a:gd name="T25" fmla="*/ 1642 h 1800"/>
              <a:gd name="T26" fmla="*/ 5415 w 6233"/>
              <a:gd name="T27" fmla="*/ 1558 h 1800"/>
              <a:gd name="T28" fmla="*/ 5311 w 6233"/>
              <a:gd name="T29" fmla="*/ 1672 h 1800"/>
              <a:gd name="T30" fmla="*/ 5324 w 6233"/>
              <a:gd name="T31" fmla="*/ 1775 h 1800"/>
              <a:gd name="T32" fmla="*/ 4632 w 6233"/>
              <a:gd name="T33" fmla="*/ 1723 h 1800"/>
              <a:gd name="T34" fmla="*/ 4811 w 6233"/>
              <a:gd name="T35" fmla="*/ 1721 h 1800"/>
              <a:gd name="T36" fmla="*/ 4769 w 6233"/>
              <a:gd name="T37" fmla="*/ 1757 h 1800"/>
              <a:gd name="T38" fmla="*/ 4664 w 6233"/>
              <a:gd name="T39" fmla="*/ 1539 h 1800"/>
              <a:gd name="T40" fmla="*/ 4762 w 6233"/>
              <a:gd name="T41" fmla="*/ 1523 h 1800"/>
              <a:gd name="T42" fmla="*/ 4681 w 6233"/>
              <a:gd name="T43" fmla="*/ 1484 h 1800"/>
              <a:gd name="T44" fmla="*/ 4256 w 6233"/>
              <a:gd name="T45" fmla="*/ 1795 h 1800"/>
              <a:gd name="T46" fmla="*/ 4318 w 6233"/>
              <a:gd name="T47" fmla="*/ 1613 h 1800"/>
              <a:gd name="T48" fmla="*/ 4467 w 6233"/>
              <a:gd name="T49" fmla="*/ 1564 h 1800"/>
              <a:gd name="T50" fmla="*/ 4494 w 6233"/>
              <a:gd name="T51" fmla="*/ 1539 h 1800"/>
              <a:gd name="T52" fmla="*/ 4375 w 6233"/>
              <a:gd name="T53" fmla="*/ 1706 h 1800"/>
              <a:gd name="T54" fmla="*/ 0 w 6233"/>
              <a:gd name="T55" fmla="*/ 1662 h 1800"/>
              <a:gd name="T56" fmla="*/ 3798 w 6233"/>
              <a:gd name="T57" fmla="*/ 1103 h 1800"/>
              <a:gd name="T58" fmla="*/ 3798 w 6233"/>
              <a:gd name="T59" fmla="*/ 1103 h 1800"/>
              <a:gd name="T60" fmla="*/ 0 w 6233"/>
              <a:gd name="T61" fmla="*/ 727 h 1800"/>
              <a:gd name="T62" fmla="*/ 1929 w 6233"/>
              <a:gd name="T63" fmla="*/ 0 h 1800"/>
              <a:gd name="T64" fmla="*/ 2026 w 6233"/>
              <a:gd name="T65" fmla="*/ 254 h 1800"/>
              <a:gd name="T66" fmla="*/ 1685 w 6233"/>
              <a:gd name="T67" fmla="*/ 598 h 1800"/>
              <a:gd name="T68" fmla="*/ 1685 w 6233"/>
              <a:gd name="T69" fmla="*/ 598 h 1800"/>
              <a:gd name="T70" fmla="*/ 2323 w 6233"/>
              <a:gd name="T71" fmla="*/ 727 h 1800"/>
              <a:gd name="T72" fmla="*/ 4779 w 6233"/>
              <a:gd name="T73" fmla="*/ 727 h 1800"/>
              <a:gd name="T74" fmla="*/ 4609 w 6233"/>
              <a:gd name="T75" fmla="*/ 727 h 1800"/>
              <a:gd name="T76" fmla="*/ 4351 w 6233"/>
              <a:gd name="T77" fmla="*/ 973 h 1800"/>
              <a:gd name="T78" fmla="*/ 4456 w 6233"/>
              <a:gd name="T79" fmla="*/ 1356 h 1800"/>
              <a:gd name="T80" fmla="*/ 4623 w 6233"/>
              <a:gd name="T81" fmla="*/ 1356 h 1800"/>
              <a:gd name="T82" fmla="*/ 4943 w 6233"/>
              <a:gd name="T83" fmla="*/ 1795 h 1800"/>
              <a:gd name="T84" fmla="*/ 5002 w 6233"/>
              <a:gd name="T85" fmla="*/ 1638 h 1800"/>
              <a:gd name="T86" fmla="*/ 5090 w 6233"/>
              <a:gd name="T87" fmla="*/ 1539 h 1800"/>
              <a:gd name="T88" fmla="*/ 4980 w 6233"/>
              <a:gd name="T89" fmla="*/ 1539 h 1800"/>
              <a:gd name="T90" fmla="*/ 5523 w 6233"/>
              <a:gd name="T91" fmla="*/ 964 h 1800"/>
              <a:gd name="T92" fmla="*/ 5268 w 6233"/>
              <a:gd name="T93" fmla="*/ 727 h 1800"/>
              <a:gd name="T94" fmla="*/ 5093 w 6233"/>
              <a:gd name="T95" fmla="*/ 727 h 1800"/>
              <a:gd name="T96" fmla="*/ 5304 w 6233"/>
              <a:gd name="T97" fmla="*/ 1100 h 1800"/>
              <a:gd name="T98" fmla="*/ 5556 w 6233"/>
              <a:gd name="T99" fmla="*/ 1356 h 1800"/>
              <a:gd name="T100" fmla="*/ 6106 w 6233"/>
              <a:gd name="T101" fmla="*/ 1126 h 1800"/>
              <a:gd name="T102" fmla="*/ 5913 w 6233"/>
              <a:gd name="T103" fmla="*/ 1137 h 1800"/>
              <a:gd name="T104" fmla="*/ 5812 w 6233"/>
              <a:gd name="T105" fmla="*/ 1279 h 1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6233" h="1800">
                <a:moveTo>
                  <a:pt x="6094" y="1565"/>
                </a:moveTo>
                <a:lnTo>
                  <a:pt x="6125" y="1565"/>
                </a:lnTo>
                <a:cubicBezTo>
                  <a:pt x="6140" y="1565"/>
                  <a:pt x="6150" y="1567"/>
                  <a:pt x="6159" y="1570"/>
                </a:cubicBezTo>
                <a:cubicBezTo>
                  <a:pt x="6174" y="1576"/>
                  <a:pt x="6185" y="1592"/>
                  <a:pt x="6185" y="1609"/>
                </a:cubicBezTo>
                <a:cubicBezTo>
                  <a:pt x="6185" y="1626"/>
                  <a:pt x="6181" y="1639"/>
                  <a:pt x="6172" y="1647"/>
                </a:cubicBezTo>
                <a:cubicBezTo>
                  <a:pt x="6161" y="1656"/>
                  <a:pt x="6147" y="1660"/>
                  <a:pt x="6123" y="1660"/>
                </a:cubicBezTo>
                <a:lnTo>
                  <a:pt x="6094" y="1660"/>
                </a:lnTo>
                <a:lnTo>
                  <a:pt x="6094" y="1565"/>
                </a:lnTo>
                <a:close/>
                <a:moveTo>
                  <a:pt x="6124" y="1539"/>
                </a:moveTo>
                <a:lnTo>
                  <a:pt x="6062" y="1539"/>
                </a:lnTo>
                <a:lnTo>
                  <a:pt x="6062" y="1795"/>
                </a:lnTo>
                <a:lnTo>
                  <a:pt x="6094" y="1795"/>
                </a:lnTo>
                <a:lnTo>
                  <a:pt x="6094" y="1679"/>
                </a:lnTo>
                <a:cubicBezTo>
                  <a:pt x="6107" y="1680"/>
                  <a:pt x="6113" y="1683"/>
                  <a:pt x="6124" y="1696"/>
                </a:cubicBezTo>
                <a:cubicBezTo>
                  <a:pt x="6159" y="1739"/>
                  <a:pt x="6185" y="1778"/>
                  <a:pt x="6193" y="1795"/>
                </a:cubicBezTo>
                <a:lnTo>
                  <a:pt x="6233" y="1795"/>
                </a:lnTo>
                <a:cubicBezTo>
                  <a:pt x="6233" y="1795"/>
                  <a:pt x="6182" y="1723"/>
                  <a:pt x="6171" y="1708"/>
                </a:cubicBezTo>
                <a:cubicBezTo>
                  <a:pt x="6165" y="1701"/>
                  <a:pt x="6156" y="1689"/>
                  <a:pt x="6144" y="1679"/>
                </a:cubicBezTo>
                <a:lnTo>
                  <a:pt x="6148" y="1679"/>
                </a:lnTo>
                <a:cubicBezTo>
                  <a:pt x="6191" y="1679"/>
                  <a:pt x="6219" y="1651"/>
                  <a:pt x="6219" y="1609"/>
                </a:cubicBezTo>
                <a:cubicBezTo>
                  <a:pt x="6219" y="1582"/>
                  <a:pt x="6205" y="1565"/>
                  <a:pt x="6193" y="1555"/>
                </a:cubicBezTo>
                <a:cubicBezTo>
                  <a:pt x="6180" y="1545"/>
                  <a:pt x="6161" y="1539"/>
                  <a:pt x="6124" y="1539"/>
                </a:cubicBezTo>
                <a:close/>
                <a:moveTo>
                  <a:pt x="5946" y="1539"/>
                </a:moveTo>
                <a:lnTo>
                  <a:pt x="5799" y="1539"/>
                </a:lnTo>
                <a:lnTo>
                  <a:pt x="5799" y="1795"/>
                </a:lnTo>
                <a:lnTo>
                  <a:pt x="5950" y="1795"/>
                </a:lnTo>
                <a:lnTo>
                  <a:pt x="5950" y="1769"/>
                </a:lnTo>
                <a:lnTo>
                  <a:pt x="5831" y="1769"/>
                </a:lnTo>
                <a:lnTo>
                  <a:pt x="5831" y="1675"/>
                </a:lnTo>
                <a:lnTo>
                  <a:pt x="5924" y="1675"/>
                </a:lnTo>
                <a:lnTo>
                  <a:pt x="5924" y="1648"/>
                </a:lnTo>
                <a:lnTo>
                  <a:pt x="5831" y="1648"/>
                </a:lnTo>
                <a:lnTo>
                  <a:pt x="5831" y="1564"/>
                </a:lnTo>
                <a:lnTo>
                  <a:pt x="5942" y="1564"/>
                </a:lnTo>
                <a:lnTo>
                  <a:pt x="5946" y="1539"/>
                </a:lnTo>
                <a:close/>
                <a:moveTo>
                  <a:pt x="5698" y="1539"/>
                </a:moveTo>
                <a:lnTo>
                  <a:pt x="5519" y="1539"/>
                </a:lnTo>
                <a:lnTo>
                  <a:pt x="5519" y="1565"/>
                </a:lnTo>
                <a:lnTo>
                  <a:pt x="5592" y="1565"/>
                </a:lnTo>
                <a:lnTo>
                  <a:pt x="5592" y="1795"/>
                </a:lnTo>
                <a:lnTo>
                  <a:pt x="5623" y="1795"/>
                </a:lnTo>
                <a:lnTo>
                  <a:pt x="5623" y="1565"/>
                </a:lnTo>
                <a:lnTo>
                  <a:pt x="5696" y="1565"/>
                </a:lnTo>
                <a:lnTo>
                  <a:pt x="5698" y="1539"/>
                </a:lnTo>
                <a:close/>
                <a:moveTo>
                  <a:pt x="5252" y="1753"/>
                </a:moveTo>
                <a:lnTo>
                  <a:pt x="5238" y="1777"/>
                </a:lnTo>
                <a:cubicBezTo>
                  <a:pt x="5264" y="1793"/>
                  <a:pt x="5292" y="1800"/>
                  <a:pt x="5324" y="1800"/>
                </a:cubicBezTo>
                <a:cubicBezTo>
                  <a:pt x="5349" y="1800"/>
                  <a:pt x="5367" y="1795"/>
                  <a:pt x="5385" y="1784"/>
                </a:cubicBezTo>
                <a:cubicBezTo>
                  <a:pt x="5409" y="1770"/>
                  <a:pt x="5422" y="1747"/>
                  <a:pt x="5422" y="1723"/>
                </a:cubicBezTo>
                <a:cubicBezTo>
                  <a:pt x="5422" y="1707"/>
                  <a:pt x="5415" y="1689"/>
                  <a:pt x="5404" y="1678"/>
                </a:cubicBezTo>
                <a:cubicBezTo>
                  <a:pt x="5393" y="1666"/>
                  <a:pt x="5381" y="1659"/>
                  <a:pt x="5357" y="1652"/>
                </a:cubicBezTo>
                <a:lnTo>
                  <a:pt x="5326" y="1642"/>
                </a:lnTo>
                <a:cubicBezTo>
                  <a:pt x="5294" y="1633"/>
                  <a:pt x="5281" y="1621"/>
                  <a:pt x="5281" y="1601"/>
                </a:cubicBezTo>
                <a:cubicBezTo>
                  <a:pt x="5281" y="1574"/>
                  <a:pt x="5301" y="1558"/>
                  <a:pt x="5335" y="1558"/>
                </a:cubicBezTo>
                <a:cubicBezTo>
                  <a:pt x="5358" y="1558"/>
                  <a:pt x="5375" y="1564"/>
                  <a:pt x="5400" y="1580"/>
                </a:cubicBezTo>
                <a:lnTo>
                  <a:pt x="5415" y="1558"/>
                </a:lnTo>
                <a:cubicBezTo>
                  <a:pt x="5389" y="1542"/>
                  <a:pt x="5362" y="1533"/>
                  <a:pt x="5333" y="1533"/>
                </a:cubicBezTo>
                <a:cubicBezTo>
                  <a:pt x="5281" y="1533"/>
                  <a:pt x="5246" y="1563"/>
                  <a:pt x="5246" y="1607"/>
                </a:cubicBezTo>
                <a:cubicBezTo>
                  <a:pt x="5246" y="1623"/>
                  <a:pt x="5252" y="1638"/>
                  <a:pt x="5263" y="1649"/>
                </a:cubicBezTo>
                <a:cubicBezTo>
                  <a:pt x="5274" y="1659"/>
                  <a:pt x="5286" y="1664"/>
                  <a:pt x="5311" y="1672"/>
                </a:cubicBezTo>
                <a:lnTo>
                  <a:pt x="5338" y="1679"/>
                </a:lnTo>
                <a:cubicBezTo>
                  <a:pt x="5371" y="1689"/>
                  <a:pt x="5386" y="1704"/>
                  <a:pt x="5386" y="1727"/>
                </a:cubicBezTo>
                <a:cubicBezTo>
                  <a:pt x="5386" y="1742"/>
                  <a:pt x="5380" y="1754"/>
                  <a:pt x="5367" y="1764"/>
                </a:cubicBezTo>
                <a:cubicBezTo>
                  <a:pt x="5356" y="1772"/>
                  <a:pt x="5345" y="1775"/>
                  <a:pt x="5324" y="1775"/>
                </a:cubicBezTo>
                <a:cubicBezTo>
                  <a:pt x="5297" y="1775"/>
                  <a:pt x="5274" y="1768"/>
                  <a:pt x="5252" y="1753"/>
                </a:cubicBezTo>
                <a:close/>
                <a:moveTo>
                  <a:pt x="4664" y="1539"/>
                </a:moveTo>
                <a:lnTo>
                  <a:pt x="4632" y="1539"/>
                </a:lnTo>
                <a:lnTo>
                  <a:pt x="4632" y="1723"/>
                </a:lnTo>
                <a:cubicBezTo>
                  <a:pt x="4632" y="1734"/>
                  <a:pt x="4633" y="1750"/>
                  <a:pt x="4640" y="1763"/>
                </a:cubicBezTo>
                <a:cubicBezTo>
                  <a:pt x="4655" y="1788"/>
                  <a:pt x="4678" y="1800"/>
                  <a:pt x="4720" y="1800"/>
                </a:cubicBezTo>
                <a:cubicBezTo>
                  <a:pt x="4753" y="1800"/>
                  <a:pt x="4774" y="1793"/>
                  <a:pt x="4791" y="1780"/>
                </a:cubicBezTo>
                <a:cubicBezTo>
                  <a:pt x="4807" y="1767"/>
                  <a:pt x="4811" y="1752"/>
                  <a:pt x="4811" y="1721"/>
                </a:cubicBezTo>
                <a:lnTo>
                  <a:pt x="4811" y="1539"/>
                </a:lnTo>
                <a:lnTo>
                  <a:pt x="4779" y="1539"/>
                </a:lnTo>
                <a:lnTo>
                  <a:pt x="4779" y="1717"/>
                </a:lnTo>
                <a:cubicBezTo>
                  <a:pt x="4779" y="1735"/>
                  <a:pt x="4778" y="1746"/>
                  <a:pt x="4769" y="1757"/>
                </a:cubicBezTo>
                <a:cubicBezTo>
                  <a:pt x="4761" y="1768"/>
                  <a:pt x="4744" y="1774"/>
                  <a:pt x="4722" y="1774"/>
                </a:cubicBezTo>
                <a:cubicBezTo>
                  <a:pt x="4689" y="1774"/>
                  <a:pt x="4674" y="1760"/>
                  <a:pt x="4669" y="1749"/>
                </a:cubicBezTo>
                <a:cubicBezTo>
                  <a:pt x="4665" y="1741"/>
                  <a:pt x="4664" y="1724"/>
                  <a:pt x="4664" y="1712"/>
                </a:cubicBezTo>
                <a:lnTo>
                  <a:pt x="4664" y="1539"/>
                </a:lnTo>
                <a:close/>
                <a:moveTo>
                  <a:pt x="4782" y="1503"/>
                </a:moveTo>
                <a:cubicBezTo>
                  <a:pt x="4782" y="1493"/>
                  <a:pt x="4773" y="1484"/>
                  <a:pt x="4762" y="1484"/>
                </a:cubicBezTo>
                <a:cubicBezTo>
                  <a:pt x="4751" y="1484"/>
                  <a:pt x="4742" y="1493"/>
                  <a:pt x="4742" y="1503"/>
                </a:cubicBezTo>
                <a:cubicBezTo>
                  <a:pt x="4742" y="1514"/>
                  <a:pt x="4751" y="1523"/>
                  <a:pt x="4762" y="1523"/>
                </a:cubicBezTo>
                <a:cubicBezTo>
                  <a:pt x="4774" y="1523"/>
                  <a:pt x="4782" y="1514"/>
                  <a:pt x="4782" y="1503"/>
                </a:cubicBezTo>
                <a:close/>
                <a:moveTo>
                  <a:pt x="4681" y="1523"/>
                </a:moveTo>
                <a:cubicBezTo>
                  <a:pt x="4693" y="1523"/>
                  <a:pt x="4701" y="1514"/>
                  <a:pt x="4701" y="1503"/>
                </a:cubicBezTo>
                <a:cubicBezTo>
                  <a:pt x="4701" y="1493"/>
                  <a:pt x="4692" y="1484"/>
                  <a:pt x="4681" y="1484"/>
                </a:cubicBezTo>
                <a:cubicBezTo>
                  <a:pt x="4670" y="1484"/>
                  <a:pt x="4661" y="1493"/>
                  <a:pt x="4661" y="1503"/>
                </a:cubicBezTo>
                <a:cubicBezTo>
                  <a:pt x="4661" y="1514"/>
                  <a:pt x="4670" y="1523"/>
                  <a:pt x="4681" y="1523"/>
                </a:cubicBezTo>
                <a:close/>
                <a:moveTo>
                  <a:pt x="4279" y="1539"/>
                </a:moveTo>
                <a:lnTo>
                  <a:pt x="4256" y="1795"/>
                </a:lnTo>
                <a:lnTo>
                  <a:pt x="4287" y="1795"/>
                </a:lnTo>
                <a:lnTo>
                  <a:pt x="4302" y="1613"/>
                </a:lnTo>
                <a:cubicBezTo>
                  <a:pt x="4303" y="1598"/>
                  <a:pt x="4304" y="1568"/>
                  <a:pt x="4305" y="1564"/>
                </a:cubicBezTo>
                <a:cubicBezTo>
                  <a:pt x="4306" y="1569"/>
                  <a:pt x="4310" y="1588"/>
                  <a:pt x="4318" y="1613"/>
                </a:cubicBezTo>
                <a:lnTo>
                  <a:pt x="4372" y="1795"/>
                </a:lnTo>
                <a:lnTo>
                  <a:pt x="4399" y="1795"/>
                </a:lnTo>
                <a:lnTo>
                  <a:pt x="4457" y="1604"/>
                </a:lnTo>
                <a:cubicBezTo>
                  <a:pt x="4462" y="1588"/>
                  <a:pt x="4467" y="1566"/>
                  <a:pt x="4467" y="1564"/>
                </a:cubicBezTo>
                <a:cubicBezTo>
                  <a:pt x="4467" y="1566"/>
                  <a:pt x="4468" y="1591"/>
                  <a:pt x="4469" y="1607"/>
                </a:cubicBezTo>
                <a:lnTo>
                  <a:pt x="4485" y="1795"/>
                </a:lnTo>
                <a:lnTo>
                  <a:pt x="4517" y="1795"/>
                </a:lnTo>
                <a:lnTo>
                  <a:pt x="4494" y="1539"/>
                </a:lnTo>
                <a:lnTo>
                  <a:pt x="4447" y="1539"/>
                </a:lnTo>
                <a:lnTo>
                  <a:pt x="4396" y="1709"/>
                </a:lnTo>
                <a:cubicBezTo>
                  <a:pt x="4390" y="1729"/>
                  <a:pt x="4387" y="1749"/>
                  <a:pt x="4386" y="1751"/>
                </a:cubicBezTo>
                <a:cubicBezTo>
                  <a:pt x="4386" y="1748"/>
                  <a:pt x="4382" y="1730"/>
                  <a:pt x="4375" y="1706"/>
                </a:cubicBezTo>
                <a:lnTo>
                  <a:pt x="4326" y="1539"/>
                </a:lnTo>
                <a:lnTo>
                  <a:pt x="4279" y="1539"/>
                </a:lnTo>
                <a:close/>
                <a:moveTo>
                  <a:pt x="3798" y="1662"/>
                </a:moveTo>
                <a:lnTo>
                  <a:pt x="0" y="1662"/>
                </a:lnTo>
                <a:lnTo>
                  <a:pt x="0" y="1796"/>
                </a:lnTo>
                <a:lnTo>
                  <a:pt x="3798" y="1796"/>
                </a:lnTo>
                <a:lnTo>
                  <a:pt x="3798" y="1662"/>
                </a:lnTo>
                <a:close/>
                <a:moveTo>
                  <a:pt x="3798" y="1103"/>
                </a:moveTo>
                <a:lnTo>
                  <a:pt x="0" y="1103"/>
                </a:lnTo>
                <a:lnTo>
                  <a:pt x="0" y="1166"/>
                </a:lnTo>
                <a:lnTo>
                  <a:pt x="3798" y="1166"/>
                </a:lnTo>
                <a:lnTo>
                  <a:pt x="3798" y="1103"/>
                </a:lnTo>
                <a:close/>
                <a:moveTo>
                  <a:pt x="0" y="862"/>
                </a:moveTo>
                <a:lnTo>
                  <a:pt x="1475" y="862"/>
                </a:lnTo>
                <a:lnTo>
                  <a:pt x="1475" y="727"/>
                </a:lnTo>
                <a:lnTo>
                  <a:pt x="0" y="727"/>
                </a:lnTo>
                <a:lnTo>
                  <a:pt x="0" y="862"/>
                </a:lnTo>
                <a:close/>
                <a:moveTo>
                  <a:pt x="1869" y="135"/>
                </a:moveTo>
                <a:lnTo>
                  <a:pt x="1929" y="135"/>
                </a:lnTo>
                <a:lnTo>
                  <a:pt x="1929" y="0"/>
                </a:lnTo>
                <a:lnTo>
                  <a:pt x="1869" y="0"/>
                </a:lnTo>
                <a:lnTo>
                  <a:pt x="1869" y="135"/>
                </a:lnTo>
                <a:close/>
                <a:moveTo>
                  <a:pt x="1772" y="254"/>
                </a:moveTo>
                <a:lnTo>
                  <a:pt x="2026" y="254"/>
                </a:lnTo>
                <a:lnTo>
                  <a:pt x="2026" y="191"/>
                </a:lnTo>
                <a:lnTo>
                  <a:pt x="1772" y="191"/>
                </a:lnTo>
                <a:lnTo>
                  <a:pt x="1772" y="254"/>
                </a:lnTo>
                <a:close/>
                <a:moveTo>
                  <a:pt x="1685" y="598"/>
                </a:moveTo>
                <a:lnTo>
                  <a:pt x="2116" y="598"/>
                </a:lnTo>
                <a:lnTo>
                  <a:pt x="2116" y="463"/>
                </a:lnTo>
                <a:lnTo>
                  <a:pt x="1685" y="463"/>
                </a:lnTo>
                <a:lnTo>
                  <a:pt x="1685" y="598"/>
                </a:lnTo>
                <a:close/>
                <a:moveTo>
                  <a:pt x="2323" y="862"/>
                </a:moveTo>
                <a:lnTo>
                  <a:pt x="3799" y="862"/>
                </a:lnTo>
                <a:lnTo>
                  <a:pt x="3799" y="727"/>
                </a:lnTo>
                <a:lnTo>
                  <a:pt x="2323" y="727"/>
                </a:lnTo>
                <a:lnTo>
                  <a:pt x="2323" y="862"/>
                </a:lnTo>
                <a:close/>
                <a:moveTo>
                  <a:pt x="4760" y="1356"/>
                </a:moveTo>
                <a:lnTo>
                  <a:pt x="4911" y="727"/>
                </a:lnTo>
                <a:lnTo>
                  <a:pt x="4779" y="727"/>
                </a:lnTo>
                <a:lnTo>
                  <a:pt x="4728" y="964"/>
                </a:lnTo>
                <a:cubicBezTo>
                  <a:pt x="4714" y="1025"/>
                  <a:pt x="4696" y="1151"/>
                  <a:pt x="4694" y="1171"/>
                </a:cubicBezTo>
                <a:cubicBezTo>
                  <a:pt x="4694" y="1171"/>
                  <a:pt x="4679" y="1064"/>
                  <a:pt x="4667" y="1006"/>
                </a:cubicBezTo>
                <a:lnTo>
                  <a:pt x="4609" y="727"/>
                </a:lnTo>
                <a:lnTo>
                  <a:pt x="4472" y="727"/>
                </a:lnTo>
                <a:lnTo>
                  <a:pt x="4417" y="979"/>
                </a:lnTo>
                <a:cubicBezTo>
                  <a:pt x="4398" y="1065"/>
                  <a:pt x="4387" y="1154"/>
                  <a:pt x="4384" y="1178"/>
                </a:cubicBezTo>
                <a:cubicBezTo>
                  <a:pt x="4384" y="1178"/>
                  <a:pt x="4376" y="1089"/>
                  <a:pt x="4351" y="973"/>
                </a:cubicBezTo>
                <a:lnTo>
                  <a:pt x="4297" y="727"/>
                </a:lnTo>
                <a:lnTo>
                  <a:pt x="4164" y="727"/>
                </a:lnTo>
                <a:lnTo>
                  <a:pt x="4313" y="1356"/>
                </a:lnTo>
                <a:lnTo>
                  <a:pt x="4456" y="1356"/>
                </a:lnTo>
                <a:lnTo>
                  <a:pt x="4508" y="1100"/>
                </a:lnTo>
                <a:cubicBezTo>
                  <a:pt x="4525" y="1018"/>
                  <a:pt x="4536" y="939"/>
                  <a:pt x="4538" y="924"/>
                </a:cubicBezTo>
                <a:cubicBezTo>
                  <a:pt x="4539" y="947"/>
                  <a:pt x="4549" y="1024"/>
                  <a:pt x="4567" y="1102"/>
                </a:cubicBezTo>
                <a:lnTo>
                  <a:pt x="4623" y="1356"/>
                </a:lnTo>
                <a:lnTo>
                  <a:pt x="4760" y="1356"/>
                </a:lnTo>
                <a:close/>
                <a:moveTo>
                  <a:pt x="4980" y="1539"/>
                </a:moveTo>
                <a:lnTo>
                  <a:pt x="4943" y="1539"/>
                </a:lnTo>
                <a:lnTo>
                  <a:pt x="4943" y="1795"/>
                </a:lnTo>
                <a:lnTo>
                  <a:pt x="4976" y="1795"/>
                </a:lnTo>
                <a:lnTo>
                  <a:pt x="4975" y="1647"/>
                </a:lnTo>
                <a:cubicBezTo>
                  <a:pt x="4974" y="1613"/>
                  <a:pt x="4971" y="1577"/>
                  <a:pt x="4971" y="1577"/>
                </a:cubicBezTo>
                <a:cubicBezTo>
                  <a:pt x="4971" y="1577"/>
                  <a:pt x="4985" y="1607"/>
                  <a:pt x="5002" y="1638"/>
                </a:cubicBezTo>
                <a:lnTo>
                  <a:pt x="5088" y="1795"/>
                </a:lnTo>
                <a:lnTo>
                  <a:pt x="5122" y="1795"/>
                </a:lnTo>
                <a:lnTo>
                  <a:pt x="5122" y="1539"/>
                </a:lnTo>
                <a:lnTo>
                  <a:pt x="5090" y="1539"/>
                </a:lnTo>
                <a:lnTo>
                  <a:pt x="5092" y="1678"/>
                </a:lnTo>
                <a:cubicBezTo>
                  <a:pt x="5092" y="1715"/>
                  <a:pt x="5095" y="1756"/>
                  <a:pt x="5095" y="1756"/>
                </a:cubicBezTo>
                <a:cubicBezTo>
                  <a:pt x="5094" y="1754"/>
                  <a:pt x="5083" y="1727"/>
                  <a:pt x="5070" y="1703"/>
                </a:cubicBezTo>
                <a:lnTo>
                  <a:pt x="4980" y="1539"/>
                </a:lnTo>
                <a:close/>
                <a:moveTo>
                  <a:pt x="5556" y="1356"/>
                </a:moveTo>
                <a:lnTo>
                  <a:pt x="5706" y="727"/>
                </a:lnTo>
                <a:lnTo>
                  <a:pt x="5575" y="727"/>
                </a:lnTo>
                <a:lnTo>
                  <a:pt x="5523" y="964"/>
                </a:lnTo>
                <a:cubicBezTo>
                  <a:pt x="5510" y="1025"/>
                  <a:pt x="5491" y="1151"/>
                  <a:pt x="5489" y="1171"/>
                </a:cubicBezTo>
                <a:cubicBezTo>
                  <a:pt x="5489" y="1171"/>
                  <a:pt x="5474" y="1064"/>
                  <a:pt x="5462" y="1006"/>
                </a:cubicBezTo>
                <a:lnTo>
                  <a:pt x="5405" y="727"/>
                </a:lnTo>
                <a:lnTo>
                  <a:pt x="5268" y="727"/>
                </a:lnTo>
                <a:lnTo>
                  <a:pt x="5212" y="979"/>
                </a:lnTo>
                <a:cubicBezTo>
                  <a:pt x="5193" y="1065"/>
                  <a:pt x="5182" y="1154"/>
                  <a:pt x="5180" y="1178"/>
                </a:cubicBezTo>
                <a:cubicBezTo>
                  <a:pt x="5180" y="1178"/>
                  <a:pt x="5172" y="1089"/>
                  <a:pt x="5147" y="973"/>
                </a:cubicBezTo>
                <a:lnTo>
                  <a:pt x="5093" y="727"/>
                </a:lnTo>
                <a:lnTo>
                  <a:pt x="4960" y="727"/>
                </a:lnTo>
                <a:lnTo>
                  <a:pt x="5109" y="1356"/>
                </a:lnTo>
                <a:lnTo>
                  <a:pt x="5252" y="1356"/>
                </a:lnTo>
                <a:lnTo>
                  <a:pt x="5304" y="1100"/>
                </a:lnTo>
                <a:cubicBezTo>
                  <a:pt x="5321" y="1018"/>
                  <a:pt x="5331" y="939"/>
                  <a:pt x="5333" y="924"/>
                </a:cubicBezTo>
                <a:cubicBezTo>
                  <a:pt x="5335" y="947"/>
                  <a:pt x="5345" y="1024"/>
                  <a:pt x="5363" y="1102"/>
                </a:cubicBezTo>
                <a:lnTo>
                  <a:pt x="5418" y="1356"/>
                </a:lnTo>
                <a:lnTo>
                  <a:pt x="5556" y="1356"/>
                </a:lnTo>
                <a:close/>
                <a:moveTo>
                  <a:pt x="6233" y="1147"/>
                </a:moveTo>
                <a:lnTo>
                  <a:pt x="6233" y="727"/>
                </a:lnTo>
                <a:lnTo>
                  <a:pt x="6106" y="727"/>
                </a:lnTo>
                <a:lnTo>
                  <a:pt x="6106" y="1126"/>
                </a:lnTo>
                <a:cubicBezTo>
                  <a:pt x="6106" y="1159"/>
                  <a:pt x="6106" y="1168"/>
                  <a:pt x="6104" y="1182"/>
                </a:cubicBezTo>
                <a:cubicBezTo>
                  <a:pt x="6099" y="1228"/>
                  <a:pt x="6064" y="1255"/>
                  <a:pt x="6009" y="1255"/>
                </a:cubicBezTo>
                <a:cubicBezTo>
                  <a:pt x="5968" y="1255"/>
                  <a:pt x="5938" y="1239"/>
                  <a:pt x="5924" y="1211"/>
                </a:cubicBezTo>
                <a:cubicBezTo>
                  <a:pt x="5917" y="1198"/>
                  <a:pt x="5913" y="1176"/>
                  <a:pt x="5913" y="1137"/>
                </a:cubicBezTo>
                <a:lnTo>
                  <a:pt x="5913" y="727"/>
                </a:lnTo>
                <a:lnTo>
                  <a:pt x="5785" y="727"/>
                </a:lnTo>
                <a:lnTo>
                  <a:pt x="5785" y="1161"/>
                </a:lnTo>
                <a:cubicBezTo>
                  <a:pt x="5785" y="1221"/>
                  <a:pt x="5791" y="1246"/>
                  <a:pt x="5812" y="1279"/>
                </a:cubicBezTo>
                <a:cubicBezTo>
                  <a:pt x="5847" y="1333"/>
                  <a:pt x="5917" y="1362"/>
                  <a:pt x="6012" y="1362"/>
                </a:cubicBezTo>
                <a:cubicBezTo>
                  <a:pt x="6146" y="1362"/>
                  <a:pt x="6207" y="1294"/>
                  <a:pt x="6224" y="1245"/>
                </a:cubicBezTo>
                <a:cubicBezTo>
                  <a:pt x="6233" y="1218"/>
                  <a:pt x="6233" y="1206"/>
                  <a:pt x="6233" y="1147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51382" tIns="25691" rIns="51382" bIns="25691" numCol="1" anchor="t" anchorCtr="0" compatLnSpc="1">
            <a:prstTxWarp prst="textNoShape">
              <a:avLst/>
            </a:prstTxWarp>
          </a:bodyPr>
          <a:lstStyle/>
          <a:p>
            <a:endParaRPr lang="de-DE" sz="1350" dirty="0"/>
          </a:p>
        </p:txBody>
      </p:sp>
      <p:sp>
        <p:nvSpPr>
          <p:cNvPr id="61" name="wissen.leben"/>
          <p:cNvSpPr>
            <a:spLocks noEditPoints="1"/>
          </p:cNvSpPr>
          <p:nvPr userDrawn="1"/>
        </p:nvSpPr>
        <p:spPr bwMode="auto">
          <a:xfrm>
            <a:off x="358401" y="6323606"/>
            <a:ext cx="1348595" cy="180000"/>
          </a:xfrm>
          <a:custGeom>
            <a:avLst/>
            <a:gdLst>
              <a:gd name="T0" fmla="*/ 3663 w 3750"/>
              <a:gd name="T1" fmla="*/ 144 h 500"/>
              <a:gd name="T2" fmla="*/ 3483 w 3750"/>
              <a:gd name="T3" fmla="*/ 162 h 500"/>
              <a:gd name="T4" fmla="*/ 3567 w 3750"/>
              <a:gd name="T5" fmla="*/ 486 h 500"/>
              <a:gd name="T6" fmla="*/ 3678 w 3750"/>
              <a:gd name="T7" fmla="*/ 265 h 500"/>
              <a:gd name="T8" fmla="*/ 3339 w 3750"/>
              <a:gd name="T9" fmla="*/ 286 h 500"/>
              <a:gd name="T10" fmla="*/ 3339 w 3750"/>
              <a:gd name="T11" fmla="*/ 286 h 500"/>
              <a:gd name="T12" fmla="*/ 3371 w 3750"/>
              <a:gd name="T13" fmla="*/ 179 h 500"/>
              <a:gd name="T14" fmla="*/ 3136 w 3750"/>
              <a:gd name="T15" fmla="*/ 320 h 500"/>
              <a:gd name="T16" fmla="*/ 3381 w 3750"/>
              <a:gd name="T17" fmla="*/ 406 h 500"/>
              <a:gd name="T18" fmla="*/ 3215 w 3750"/>
              <a:gd name="T19" fmla="*/ 339 h 500"/>
              <a:gd name="T20" fmla="*/ 2921 w 3750"/>
              <a:gd name="T21" fmla="*/ 431 h 500"/>
              <a:gd name="T22" fmla="*/ 2922 w 3750"/>
              <a:gd name="T23" fmla="*/ 206 h 500"/>
              <a:gd name="T24" fmla="*/ 2938 w 3750"/>
              <a:gd name="T25" fmla="*/ 144 h 500"/>
              <a:gd name="T26" fmla="*/ 2858 w 3750"/>
              <a:gd name="T27" fmla="*/ 144 h 500"/>
              <a:gd name="T28" fmla="*/ 2777 w 3750"/>
              <a:gd name="T29" fmla="*/ 16 h 500"/>
              <a:gd name="T30" fmla="*/ 2777 w 3750"/>
              <a:gd name="T31" fmla="*/ 486 h 500"/>
              <a:gd name="T32" fmla="*/ 2934 w 3750"/>
              <a:gd name="T33" fmla="*/ 493 h 500"/>
              <a:gd name="T34" fmla="*/ 2506 w 3750"/>
              <a:gd name="T35" fmla="*/ 286 h 500"/>
              <a:gd name="T36" fmla="*/ 2705 w 3750"/>
              <a:gd name="T37" fmla="*/ 339 h 500"/>
              <a:gd name="T38" fmla="*/ 2569 w 3750"/>
              <a:gd name="T39" fmla="*/ 144 h 500"/>
              <a:gd name="T40" fmla="*/ 2579 w 3750"/>
              <a:gd name="T41" fmla="*/ 495 h 500"/>
              <a:gd name="T42" fmla="*/ 2588 w 3750"/>
              <a:gd name="T43" fmla="*/ 439 h 500"/>
              <a:gd name="T44" fmla="*/ 2705 w 3750"/>
              <a:gd name="T45" fmla="*/ 339 h 500"/>
              <a:gd name="T46" fmla="*/ 2348 w 3750"/>
              <a:gd name="T47" fmla="*/ 435 h 500"/>
              <a:gd name="T48" fmla="*/ 2334 w 3750"/>
              <a:gd name="T49" fmla="*/ 1 h 500"/>
              <a:gd name="T50" fmla="*/ 2266 w 3750"/>
              <a:gd name="T51" fmla="*/ 399 h 500"/>
              <a:gd name="T52" fmla="*/ 2168 w 3750"/>
              <a:gd name="T53" fmla="*/ 425 h 500"/>
              <a:gd name="T54" fmla="*/ 2098 w 3750"/>
              <a:gd name="T55" fmla="*/ 500 h 500"/>
              <a:gd name="T56" fmla="*/ 1909 w 3750"/>
              <a:gd name="T57" fmla="*/ 237 h 500"/>
              <a:gd name="T58" fmla="*/ 1708 w 3750"/>
              <a:gd name="T59" fmla="*/ 143 h 500"/>
              <a:gd name="T60" fmla="*/ 1654 w 3750"/>
              <a:gd name="T61" fmla="*/ 486 h 500"/>
              <a:gd name="T62" fmla="*/ 1799 w 3750"/>
              <a:gd name="T63" fmla="*/ 206 h 500"/>
              <a:gd name="T64" fmla="*/ 1909 w 3750"/>
              <a:gd name="T65" fmla="*/ 486 h 500"/>
              <a:gd name="T66" fmla="*/ 1438 w 3750"/>
              <a:gd name="T67" fmla="*/ 199 h 500"/>
              <a:gd name="T68" fmla="*/ 1574 w 3750"/>
              <a:gd name="T69" fmla="*/ 324 h 500"/>
              <a:gd name="T70" fmla="*/ 1336 w 3750"/>
              <a:gd name="T71" fmla="*/ 189 h 500"/>
              <a:gd name="T72" fmla="*/ 1568 w 3750"/>
              <a:gd name="T73" fmla="*/ 451 h 500"/>
              <a:gd name="T74" fmla="*/ 1374 w 3750"/>
              <a:gd name="T75" fmla="*/ 344 h 500"/>
              <a:gd name="T76" fmla="*/ 1233 w 3750"/>
              <a:gd name="T77" fmla="*/ 382 h 500"/>
              <a:gd name="T78" fmla="*/ 1062 w 3750"/>
              <a:gd name="T79" fmla="*/ 239 h 500"/>
              <a:gd name="T80" fmla="*/ 1218 w 3750"/>
              <a:gd name="T81" fmla="*/ 170 h 500"/>
              <a:gd name="T82" fmla="*/ 1063 w 3750"/>
              <a:gd name="T83" fmla="*/ 339 h 500"/>
              <a:gd name="T84" fmla="*/ 1104 w 3750"/>
              <a:gd name="T85" fmla="*/ 441 h 500"/>
              <a:gd name="T86" fmla="*/ 1098 w 3750"/>
              <a:gd name="T87" fmla="*/ 495 h 500"/>
              <a:gd name="T88" fmla="*/ 836 w 3750"/>
              <a:gd name="T89" fmla="*/ 289 h 500"/>
              <a:gd name="T90" fmla="*/ 800 w 3750"/>
              <a:gd name="T91" fmla="*/ 196 h 500"/>
              <a:gd name="T92" fmla="*/ 796 w 3750"/>
              <a:gd name="T93" fmla="*/ 141 h 500"/>
              <a:gd name="T94" fmla="*/ 792 w 3750"/>
              <a:gd name="T95" fmla="*/ 348 h 500"/>
              <a:gd name="T96" fmla="*/ 683 w 3750"/>
              <a:gd name="T97" fmla="*/ 406 h 500"/>
              <a:gd name="T98" fmla="*/ 921 w 3750"/>
              <a:gd name="T99" fmla="*/ 382 h 500"/>
              <a:gd name="T100" fmla="*/ 500 w 3750"/>
              <a:gd name="T101" fmla="*/ 55 h 500"/>
              <a:gd name="T102" fmla="*/ 584 w 3750"/>
              <a:gd name="T103" fmla="*/ 486 h 500"/>
              <a:gd name="T104" fmla="*/ 511 w 3750"/>
              <a:gd name="T105" fmla="*/ 486 h 500"/>
              <a:gd name="T106" fmla="*/ 372 w 3750"/>
              <a:gd name="T107" fmla="*/ 152 h 500"/>
              <a:gd name="T108" fmla="*/ 319 w 3750"/>
              <a:gd name="T109" fmla="*/ 398 h 500"/>
              <a:gd name="T110" fmla="*/ 189 w 3750"/>
              <a:gd name="T111" fmla="*/ 152 h 500"/>
              <a:gd name="T112" fmla="*/ 125 w 3750"/>
              <a:gd name="T113" fmla="*/ 396 h 500"/>
              <a:gd name="T114" fmla="*/ 0 w 3750"/>
              <a:gd name="T115" fmla="*/ 157 h 500"/>
              <a:gd name="T116" fmla="*/ 199 w 3750"/>
              <a:gd name="T117" fmla="*/ 337 h 500"/>
              <a:gd name="T118" fmla="*/ 244 w 3750"/>
              <a:gd name="T119" fmla="*/ 334 h 500"/>
              <a:gd name="T120" fmla="*/ 447 w 3750"/>
              <a:gd name="T121" fmla="*/ 152 h 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750" h="500">
                <a:moveTo>
                  <a:pt x="3750" y="486"/>
                </a:moveTo>
                <a:lnTo>
                  <a:pt x="3750" y="237"/>
                </a:lnTo>
                <a:cubicBezTo>
                  <a:pt x="3750" y="175"/>
                  <a:pt x="3714" y="144"/>
                  <a:pt x="3663" y="144"/>
                </a:cubicBezTo>
                <a:cubicBezTo>
                  <a:pt x="3627" y="144"/>
                  <a:pt x="3596" y="160"/>
                  <a:pt x="3561" y="191"/>
                </a:cubicBezTo>
                <a:cubicBezTo>
                  <a:pt x="3561" y="173"/>
                  <a:pt x="3557" y="158"/>
                  <a:pt x="3549" y="143"/>
                </a:cubicBezTo>
                <a:lnTo>
                  <a:pt x="3483" y="162"/>
                </a:lnTo>
                <a:cubicBezTo>
                  <a:pt x="3492" y="185"/>
                  <a:pt x="3495" y="206"/>
                  <a:pt x="3495" y="241"/>
                </a:cubicBezTo>
                <a:lnTo>
                  <a:pt x="3495" y="486"/>
                </a:lnTo>
                <a:lnTo>
                  <a:pt x="3567" y="486"/>
                </a:lnTo>
                <a:lnTo>
                  <a:pt x="3567" y="244"/>
                </a:lnTo>
                <a:cubicBezTo>
                  <a:pt x="3588" y="222"/>
                  <a:pt x="3619" y="206"/>
                  <a:pt x="3640" y="206"/>
                </a:cubicBezTo>
                <a:cubicBezTo>
                  <a:pt x="3668" y="206"/>
                  <a:pt x="3678" y="219"/>
                  <a:pt x="3678" y="265"/>
                </a:cubicBezTo>
                <a:lnTo>
                  <a:pt x="3678" y="486"/>
                </a:lnTo>
                <a:lnTo>
                  <a:pt x="3750" y="486"/>
                </a:lnTo>
                <a:close/>
                <a:moveTo>
                  <a:pt x="3339" y="286"/>
                </a:moveTo>
                <a:lnTo>
                  <a:pt x="3216" y="286"/>
                </a:lnTo>
                <a:cubicBezTo>
                  <a:pt x="3216" y="232"/>
                  <a:pt x="3238" y="199"/>
                  <a:pt x="3279" y="199"/>
                </a:cubicBezTo>
                <a:cubicBezTo>
                  <a:pt x="3316" y="199"/>
                  <a:pt x="3339" y="232"/>
                  <a:pt x="3339" y="286"/>
                </a:cubicBezTo>
                <a:close/>
                <a:moveTo>
                  <a:pt x="3415" y="339"/>
                </a:moveTo>
                <a:lnTo>
                  <a:pt x="3415" y="324"/>
                </a:lnTo>
                <a:cubicBezTo>
                  <a:pt x="3415" y="246"/>
                  <a:pt x="3400" y="205"/>
                  <a:pt x="3371" y="179"/>
                </a:cubicBezTo>
                <a:cubicBezTo>
                  <a:pt x="3343" y="153"/>
                  <a:pt x="3312" y="144"/>
                  <a:pt x="3279" y="144"/>
                </a:cubicBezTo>
                <a:cubicBezTo>
                  <a:pt x="3237" y="144"/>
                  <a:pt x="3204" y="158"/>
                  <a:pt x="3177" y="189"/>
                </a:cubicBezTo>
                <a:cubicBezTo>
                  <a:pt x="3148" y="222"/>
                  <a:pt x="3136" y="261"/>
                  <a:pt x="3136" y="320"/>
                </a:cubicBezTo>
                <a:cubicBezTo>
                  <a:pt x="3136" y="427"/>
                  <a:pt x="3195" y="495"/>
                  <a:pt x="3289" y="495"/>
                </a:cubicBezTo>
                <a:cubicBezTo>
                  <a:pt x="3334" y="495"/>
                  <a:pt x="3374" y="480"/>
                  <a:pt x="3409" y="451"/>
                </a:cubicBezTo>
                <a:lnTo>
                  <a:pt x="3381" y="406"/>
                </a:lnTo>
                <a:cubicBezTo>
                  <a:pt x="3356" y="428"/>
                  <a:pt x="3329" y="439"/>
                  <a:pt x="3298" y="439"/>
                </a:cubicBezTo>
                <a:cubicBezTo>
                  <a:pt x="3233" y="439"/>
                  <a:pt x="3215" y="391"/>
                  <a:pt x="3215" y="344"/>
                </a:cubicBezTo>
                <a:lnTo>
                  <a:pt x="3215" y="339"/>
                </a:lnTo>
                <a:lnTo>
                  <a:pt x="3415" y="339"/>
                </a:lnTo>
                <a:close/>
                <a:moveTo>
                  <a:pt x="2986" y="315"/>
                </a:moveTo>
                <a:cubicBezTo>
                  <a:pt x="2986" y="398"/>
                  <a:pt x="2966" y="431"/>
                  <a:pt x="2921" y="431"/>
                </a:cubicBezTo>
                <a:cubicBezTo>
                  <a:pt x="2894" y="431"/>
                  <a:pt x="2873" y="418"/>
                  <a:pt x="2859" y="402"/>
                </a:cubicBezTo>
                <a:lnTo>
                  <a:pt x="2859" y="239"/>
                </a:lnTo>
                <a:cubicBezTo>
                  <a:pt x="2872" y="223"/>
                  <a:pt x="2892" y="206"/>
                  <a:pt x="2922" y="206"/>
                </a:cubicBezTo>
                <a:cubicBezTo>
                  <a:pt x="2974" y="206"/>
                  <a:pt x="2986" y="255"/>
                  <a:pt x="2986" y="315"/>
                </a:cubicBezTo>
                <a:close/>
                <a:moveTo>
                  <a:pt x="3068" y="314"/>
                </a:moveTo>
                <a:cubicBezTo>
                  <a:pt x="3068" y="210"/>
                  <a:pt x="3018" y="144"/>
                  <a:pt x="2938" y="144"/>
                </a:cubicBezTo>
                <a:cubicBezTo>
                  <a:pt x="2906" y="144"/>
                  <a:pt x="2882" y="154"/>
                  <a:pt x="2859" y="177"/>
                </a:cubicBezTo>
                <a:lnTo>
                  <a:pt x="2856" y="176"/>
                </a:lnTo>
                <a:cubicBezTo>
                  <a:pt x="2856" y="176"/>
                  <a:pt x="2858" y="166"/>
                  <a:pt x="2858" y="144"/>
                </a:cubicBezTo>
                <a:lnTo>
                  <a:pt x="2858" y="67"/>
                </a:lnTo>
                <a:cubicBezTo>
                  <a:pt x="2858" y="40"/>
                  <a:pt x="2857" y="24"/>
                  <a:pt x="2853" y="0"/>
                </a:cubicBezTo>
                <a:lnTo>
                  <a:pt x="2777" y="16"/>
                </a:lnTo>
                <a:cubicBezTo>
                  <a:pt x="2783" y="35"/>
                  <a:pt x="2786" y="59"/>
                  <a:pt x="2786" y="97"/>
                </a:cubicBezTo>
                <a:lnTo>
                  <a:pt x="2786" y="412"/>
                </a:lnTo>
                <a:cubicBezTo>
                  <a:pt x="2786" y="457"/>
                  <a:pt x="2783" y="471"/>
                  <a:pt x="2777" y="486"/>
                </a:cubicBezTo>
                <a:lnTo>
                  <a:pt x="2844" y="486"/>
                </a:lnTo>
                <a:cubicBezTo>
                  <a:pt x="2849" y="477"/>
                  <a:pt x="2850" y="472"/>
                  <a:pt x="2853" y="455"/>
                </a:cubicBezTo>
                <a:cubicBezTo>
                  <a:pt x="2874" y="480"/>
                  <a:pt x="2901" y="493"/>
                  <a:pt x="2934" y="493"/>
                </a:cubicBezTo>
                <a:cubicBezTo>
                  <a:pt x="3012" y="493"/>
                  <a:pt x="3068" y="421"/>
                  <a:pt x="3068" y="314"/>
                </a:cubicBezTo>
                <a:close/>
                <a:moveTo>
                  <a:pt x="2629" y="286"/>
                </a:moveTo>
                <a:lnTo>
                  <a:pt x="2506" y="286"/>
                </a:lnTo>
                <a:cubicBezTo>
                  <a:pt x="2506" y="232"/>
                  <a:pt x="2528" y="199"/>
                  <a:pt x="2569" y="199"/>
                </a:cubicBezTo>
                <a:cubicBezTo>
                  <a:pt x="2606" y="199"/>
                  <a:pt x="2629" y="232"/>
                  <a:pt x="2629" y="286"/>
                </a:cubicBezTo>
                <a:close/>
                <a:moveTo>
                  <a:pt x="2705" y="339"/>
                </a:moveTo>
                <a:lnTo>
                  <a:pt x="2705" y="324"/>
                </a:lnTo>
                <a:cubicBezTo>
                  <a:pt x="2705" y="246"/>
                  <a:pt x="2690" y="205"/>
                  <a:pt x="2661" y="179"/>
                </a:cubicBezTo>
                <a:cubicBezTo>
                  <a:pt x="2633" y="153"/>
                  <a:pt x="2602" y="144"/>
                  <a:pt x="2569" y="144"/>
                </a:cubicBezTo>
                <a:cubicBezTo>
                  <a:pt x="2527" y="144"/>
                  <a:pt x="2494" y="158"/>
                  <a:pt x="2467" y="189"/>
                </a:cubicBezTo>
                <a:cubicBezTo>
                  <a:pt x="2438" y="222"/>
                  <a:pt x="2425" y="261"/>
                  <a:pt x="2425" y="320"/>
                </a:cubicBezTo>
                <a:cubicBezTo>
                  <a:pt x="2425" y="427"/>
                  <a:pt x="2485" y="495"/>
                  <a:pt x="2579" y="495"/>
                </a:cubicBezTo>
                <a:cubicBezTo>
                  <a:pt x="2624" y="495"/>
                  <a:pt x="2664" y="480"/>
                  <a:pt x="2699" y="451"/>
                </a:cubicBezTo>
                <a:lnTo>
                  <a:pt x="2671" y="406"/>
                </a:lnTo>
                <a:cubicBezTo>
                  <a:pt x="2646" y="428"/>
                  <a:pt x="2619" y="439"/>
                  <a:pt x="2588" y="439"/>
                </a:cubicBezTo>
                <a:cubicBezTo>
                  <a:pt x="2522" y="439"/>
                  <a:pt x="2505" y="391"/>
                  <a:pt x="2505" y="344"/>
                </a:cubicBezTo>
                <a:lnTo>
                  <a:pt x="2505" y="339"/>
                </a:lnTo>
                <a:lnTo>
                  <a:pt x="2705" y="339"/>
                </a:lnTo>
                <a:close/>
                <a:moveTo>
                  <a:pt x="2383" y="486"/>
                </a:moveTo>
                <a:lnTo>
                  <a:pt x="2371" y="441"/>
                </a:lnTo>
                <a:cubicBezTo>
                  <a:pt x="2363" y="445"/>
                  <a:pt x="2351" y="441"/>
                  <a:pt x="2348" y="435"/>
                </a:cubicBezTo>
                <a:cubicBezTo>
                  <a:pt x="2342" y="428"/>
                  <a:pt x="2340" y="420"/>
                  <a:pt x="2340" y="375"/>
                </a:cubicBezTo>
                <a:lnTo>
                  <a:pt x="2340" y="92"/>
                </a:lnTo>
                <a:cubicBezTo>
                  <a:pt x="2340" y="49"/>
                  <a:pt x="2340" y="21"/>
                  <a:pt x="2334" y="1"/>
                </a:cubicBezTo>
                <a:lnTo>
                  <a:pt x="2260" y="17"/>
                </a:lnTo>
                <a:cubicBezTo>
                  <a:pt x="2264" y="45"/>
                  <a:pt x="2266" y="69"/>
                  <a:pt x="2266" y="115"/>
                </a:cubicBezTo>
                <a:lnTo>
                  <a:pt x="2266" y="399"/>
                </a:lnTo>
                <a:cubicBezTo>
                  <a:pt x="2266" y="428"/>
                  <a:pt x="2266" y="493"/>
                  <a:pt x="2340" y="493"/>
                </a:cubicBezTo>
                <a:cubicBezTo>
                  <a:pt x="2356" y="493"/>
                  <a:pt x="2370" y="491"/>
                  <a:pt x="2383" y="486"/>
                </a:cubicBezTo>
                <a:close/>
                <a:moveTo>
                  <a:pt x="2168" y="425"/>
                </a:moveTo>
                <a:cubicBezTo>
                  <a:pt x="2168" y="386"/>
                  <a:pt x="2136" y="354"/>
                  <a:pt x="2096" y="354"/>
                </a:cubicBezTo>
                <a:cubicBezTo>
                  <a:pt x="2057" y="354"/>
                  <a:pt x="2026" y="386"/>
                  <a:pt x="2026" y="425"/>
                </a:cubicBezTo>
                <a:cubicBezTo>
                  <a:pt x="2026" y="466"/>
                  <a:pt x="2058" y="500"/>
                  <a:pt x="2098" y="500"/>
                </a:cubicBezTo>
                <a:cubicBezTo>
                  <a:pt x="2136" y="500"/>
                  <a:pt x="2168" y="466"/>
                  <a:pt x="2168" y="425"/>
                </a:cubicBezTo>
                <a:close/>
                <a:moveTo>
                  <a:pt x="1909" y="486"/>
                </a:moveTo>
                <a:lnTo>
                  <a:pt x="1909" y="237"/>
                </a:lnTo>
                <a:cubicBezTo>
                  <a:pt x="1909" y="175"/>
                  <a:pt x="1873" y="144"/>
                  <a:pt x="1822" y="144"/>
                </a:cubicBezTo>
                <a:cubicBezTo>
                  <a:pt x="1786" y="144"/>
                  <a:pt x="1755" y="160"/>
                  <a:pt x="1720" y="191"/>
                </a:cubicBezTo>
                <a:cubicBezTo>
                  <a:pt x="1720" y="173"/>
                  <a:pt x="1716" y="158"/>
                  <a:pt x="1708" y="143"/>
                </a:cubicBezTo>
                <a:lnTo>
                  <a:pt x="1642" y="162"/>
                </a:lnTo>
                <a:cubicBezTo>
                  <a:pt x="1651" y="185"/>
                  <a:pt x="1654" y="206"/>
                  <a:pt x="1654" y="241"/>
                </a:cubicBezTo>
                <a:lnTo>
                  <a:pt x="1654" y="486"/>
                </a:lnTo>
                <a:lnTo>
                  <a:pt x="1726" y="486"/>
                </a:lnTo>
                <a:lnTo>
                  <a:pt x="1726" y="244"/>
                </a:lnTo>
                <a:cubicBezTo>
                  <a:pt x="1747" y="222"/>
                  <a:pt x="1778" y="206"/>
                  <a:pt x="1799" y="206"/>
                </a:cubicBezTo>
                <a:cubicBezTo>
                  <a:pt x="1827" y="206"/>
                  <a:pt x="1837" y="219"/>
                  <a:pt x="1837" y="265"/>
                </a:cubicBezTo>
                <a:lnTo>
                  <a:pt x="1837" y="486"/>
                </a:lnTo>
                <a:lnTo>
                  <a:pt x="1909" y="486"/>
                </a:lnTo>
                <a:close/>
                <a:moveTo>
                  <a:pt x="1498" y="286"/>
                </a:moveTo>
                <a:lnTo>
                  <a:pt x="1375" y="286"/>
                </a:lnTo>
                <a:cubicBezTo>
                  <a:pt x="1375" y="232"/>
                  <a:pt x="1397" y="199"/>
                  <a:pt x="1438" y="199"/>
                </a:cubicBezTo>
                <a:cubicBezTo>
                  <a:pt x="1475" y="199"/>
                  <a:pt x="1498" y="232"/>
                  <a:pt x="1498" y="286"/>
                </a:cubicBezTo>
                <a:close/>
                <a:moveTo>
                  <a:pt x="1574" y="339"/>
                </a:moveTo>
                <a:lnTo>
                  <a:pt x="1574" y="324"/>
                </a:lnTo>
                <a:cubicBezTo>
                  <a:pt x="1574" y="246"/>
                  <a:pt x="1559" y="205"/>
                  <a:pt x="1530" y="179"/>
                </a:cubicBezTo>
                <a:cubicBezTo>
                  <a:pt x="1502" y="153"/>
                  <a:pt x="1471" y="144"/>
                  <a:pt x="1438" y="144"/>
                </a:cubicBezTo>
                <a:cubicBezTo>
                  <a:pt x="1396" y="144"/>
                  <a:pt x="1363" y="158"/>
                  <a:pt x="1336" y="189"/>
                </a:cubicBezTo>
                <a:cubicBezTo>
                  <a:pt x="1307" y="222"/>
                  <a:pt x="1295" y="261"/>
                  <a:pt x="1295" y="320"/>
                </a:cubicBezTo>
                <a:cubicBezTo>
                  <a:pt x="1295" y="427"/>
                  <a:pt x="1354" y="495"/>
                  <a:pt x="1448" y="495"/>
                </a:cubicBezTo>
                <a:cubicBezTo>
                  <a:pt x="1493" y="495"/>
                  <a:pt x="1533" y="480"/>
                  <a:pt x="1568" y="451"/>
                </a:cubicBezTo>
                <a:lnTo>
                  <a:pt x="1540" y="406"/>
                </a:lnTo>
                <a:cubicBezTo>
                  <a:pt x="1515" y="428"/>
                  <a:pt x="1488" y="439"/>
                  <a:pt x="1457" y="439"/>
                </a:cubicBezTo>
                <a:cubicBezTo>
                  <a:pt x="1392" y="439"/>
                  <a:pt x="1374" y="391"/>
                  <a:pt x="1374" y="344"/>
                </a:cubicBezTo>
                <a:lnTo>
                  <a:pt x="1374" y="339"/>
                </a:lnTo>
                <a:lnTo>
                  <a:pt x="1574" y="339"/>
                </a:lnTo>
                <a:close/>
                <a:moveTo>
                  <a:pt x="1233" y="382"/>
                </a:moveTo>
                <a:cubicBezTo>
                  <a:pt x="1233" y="343"/>
                  <a:pt x="1215" y="306"/>
                  <a:pt x="1148" y="289"/>
                </a:cubicBezTo>
                <a:lnTo>
                  <a:pt x="1106" y="278"/>
                </a:lnTo>
                <a:cubicBezTo>
                  <a:pt x="1073" y="270"/>
                  <a:pt x="1062" y="259"/>
                  <a:pt x="1062" y="239"/>
                </a:cubicBezTo>
                <a:cubicBezTo>
                  <a:pt x="1062" y="213"/>
                  <a:pt x="1081" y="196"/>
                  <a:pt x="1112" y="196"/>
                </a:cubicBezTo>
                <a:cubicBezTo>
                  <a:pt x="1139" y="196"/>
                  <a:pt x="1163" y="204"/>
                  <a:pt x="1194" y="220"/>
                </a:cubicBezTo>
                <a:lnTo>
                  <a:pt x="1218" y="170"/>
                </a:lnTo>
                <a:cubicBezTo>
                  <a:pt x="1190" y="155"/>
                  <a:pt x="1153" y="141"/>
                  <a:pt x="1108" y="141"/>
                </a:cubicBezTo>
                <a:cubicBezTo>
                  <a:pt x="1034" y="141"/>
                  <a:pt x="984" y="185"/>
                  <a:pt x="984" y="247"/>
                </a:cubicBezTo>
                <a:cubicBezTo>
                  <a:pt x="984" y="294"/>
                  <a:pt x="1013" y="329"/>
                  <a:pt x="1063" y="339"/>
                </a:cubicBezTo>
                <a:lnTo>
                  <a:pt x="1104" y="348"/>
                </a:lnTo>
                <a:cubicBezTo>
                  <a:pt x="1141" y="356"/>
                  <a:pt x="1158" y="369"/>
                  <a:pt x="1158" y="395"/>
                </a:cubicBezTo>
                <a:cubicBezTo>
                  <a:pt x="1158" y="422"/>
                  <a:pt x="1135" y="441"/>
                  <a:pt x="1104" y="441"/>
                </a:cubicBezTo>
                <a:cubicBezTo>
                  <a:pt x="1066" y="441"/>
                  <a:pt x="1025" y="424"/>
                  <a:pt x="996" y="406"/>
                </a:cubicBezTo>
                <a:lnTo>
                  <a:pt x="970" y="459"/>
                </a:lnTo>
                <a:cubicBezTo>
                  <a:pt x="1013" y="482"/>
                  <a:pt x="1057" y="495"/>
                  <a:pt x="1098" y="495"/>
                </a:cubicBezTo>
                <a:cubicBezTo>
                  <a:pt x="1178" y="495"/>
                  <a:pt x="1233" y="449"/>
                  <a:pt x="1233" y="382"/>
                </a:cubicBezTo>
                <a:close/>
                <a:moveTo>
                  <a:pt x="921" y="382"/>
                </a:moveTo>
                <a:cubicBezTo>
                  <a:pt x="921" y="343"/>
                  <a:pt x="903" y="306"/>
                  <a:pt x="836" y="289"/>
                </a:cubicBezTo>
                <a:lnTo>
                  <a:pt x="794" y="278"/>
                </a:lnTo>
                <a:cubicBezTo>
                  <a:pt x="761" y="270"/>
                  <a:pt x="749" y="259"/>
                  <a:pt x="749" y="239"/>
                </a:cubicBezTo>
                <a:cubicBezTo>
                  <a:pt x="749" y="213"/>
                  <a:pt x="769" y="196"/>
                  <a:pt x="800" y="196"/>
                </a:cubicBezTo>
                <a:cubicBezTo>
                  <a:pt x="827" y="196"/>
                  <a:pt x="851" y="204"/>
                  <a:pt x="882" y="220"/>
                </a:cubicBezTo>
                <a:lnTo>
                  <a:pt x="906" y="170"/>
                </a:lnTo>
                <a:cubicBezTo>
                  <a:pt x="877" y="155"/>
                  <a:pt x="841" y="141"/>
                  <a:pt x="796" y="141"/>
                </a:cubicBezTo>
                <a:cubicBezTo>
                  <a:pt x="722" y="141"/>
                  <a:pt x="671" y="185"/>
                  <a:pt x="671" y="247"/>
                </a:cubicBezTo>
                <a:cubicBezTo>
                  <a:pt x="671" y="294"/>
                  <a:pt x="701" y="329"/>
                  <a:pt x="751" y="339"/>
                </a:cubicBezTo>
                <a:lnTo>
                  <a:pt x="792" y="348"/>
                </a:lnTo>
                <a:cubicBezTo>
                  <a:pt x="829" y="356"/>
                  <a:pt x="846" y="369"/>
                  <a:pt x="846" y="395"/>
                </a:cubicBezTo>
                <a:cubicBezTo>
                  <a:pt x="846" y="422"/>
                  <a:pt x="823" y="441"/>
                  <a:pt x="792" y="441"/>
                </a:cubicBezTo>
                <a:cubicBezTo>
                  <a:pt x="754" y="441"/>
                  <a:pt x="713" y="424"/>
                  <a:pt x="683" y="406"/>
                </a:cubicBezTo>
                <a:lnTo>
                  <a:pt x="658" y="459"/>
                </a:lnTo>
                <a:cubicBezTo>
                  <a:pt x="701" y="482"/>
                  <a:pt x="745" y="495"/>
                  <a:pt x="786" y="495"/>
                </a:cubicBezTo>
                <a:cubicBezTo>
                  <a:pt x="866" y="495"/>
                  <a:pt x="921" y="449"/>
                  <a:pt x="921" y="382"/>
                </a:cubicBezTo>
                <a:close/>
                <a:moveTo>
                  <a:pt x="596" y="55"/>
                </a:moveTo>
                <a:cubicBezTo>
                  <a:pt x="596" y="27"/>
                  <a:pt x="574" y="6"/>
                  <a:pt x="548" y="6"/>
                </a:cubicBezTo>
                <a:cubicBezTo>
                  <a:pt x="521" y="6"/>
                  <a:pt x="500" y="28"/>
                  <a:pt x="500" y="55"/>
                </a:cubicBezTo>
                <a:cubicBezTo>
                  <a:pt x="500" y="81"/>
                  <a:pt x="521" y="103"/>
                  <a:pt x="547" y="103"/>
                </a:cubicBezTo>
                <a:cubicBezTo>
                  <a:pt x="574" y="103"/>
                  <a:pt x="596" y="81"/>
                  <a:pt x="596" y="55"/>
                </a:cubicBezTo>
                <a:close/>
                <a:moveTo>
                  <a:pt x="584" y="486"/>
                </a:moveTo>
                <a:lnTo>
                  <a:pt x="584" y="144"/>
                </a:lnTo>
                <a:lnTo>
                  <a:pt x="511" y="158"/>
                </a:lnTo>
                <a:lnTo>
                  <a:pt x="511" y="486"/>
                </a:lnTo>
                <a:lnTo>
                  <a:pt x="584" y="486"/>
                </a:lnTo>
                <a:close/>
                <a:moveTo>
                  <a:pt x="447" y="152"/>
                </a:moveTo>
                <a:lnTo>
                  <a:pt x="372" y="152"/>
                </a:lnTo>
                <a:lnTo>
                  <a:pt x="338" y="308"/>
                </a:lnTo>
                <a:cubicBezTo>
                  <a:pt x="329" y="347"/>
                  <a:pt x="321" y="398"/>
                  <a:pt x="321" y="398"/>
                </a:cubicBezTo>
                <a:lnTo>
                  <a:pt x="319" y="398"/>
                </a:lnTo>
                <a:cubicBezTo>
                  <a:pt x="319" y="398"/>
                  <a:pt x="312" y="357"/>
                  <a:pt x="298" y="303"/>
                </a:cubicBezTo>
                <a:lnTo>
                  <a:pt x="261" y="152"/>
                </a:lnTo>
                <a:lnTo>
                  <a:pt x="189" y="152"/>
                </a:lnTo>
                <a:lnTo>
                  <a:pt x="146" y="307"/>
                </a:lnTo>
                <a:cubicBezTo>
                  <a:pt x="134" y="353"/>
                  <a:pt x="127" y="396"/>
                  <a:pt x="127" y="396"/>
                </a:cubicBezTo>
                <a:lnTo>
                  <a:pt x="125" y="396"/>
                </a:lnTo>
                <a:cubicBezTo>
                  <a:pt x="125" y="396"/>
                  <a:pt x="117" y="350"/>
                  <a:pt x="108" y="309"/>
                </a:cubicBezTo>
                <a:lnTo>
                  <a:pt x="72" y="147"/>
                </a:lnTo>
                <a:lnTo>
                  <a:pt x="0" y="157"/>
                </a:lnTo>
                <a:lnTo>
                  <a:pt x="91" y="488"/>
                </a:lnTo>
                <a:lnTo>
                  <a:pt x="159" y="488"/>
                </a:lnTo>
                <a:lnTo>
                  <a:pt x="199" y="337"/>
                </a:lnTo>
                <a:cubicBezTo>
                  <a:pt x="216" y="276"/>
                  <a:pt x="221" y="243"/>
                  <a:pt x="221" y="243"/>
                </a:cubicBezTo>
                <a:lnTo>
                  <a:pt x="222" y="243"/>
                </a:lnTo>
                <a:cubicBezTo>
                  <a:pt x="222" y="243"/>
                  <a:pt x="234" y="294"/>
                  <a:pt x="244" y="334"/>
                </a:cubicBezTo>
                <a:lnTo>
                  <a:pt x="285" y="488"/>
                </a:lnTo>
                <a:lnTo>
                  <a:pt x="353" y="488"/>
                </a:lnTo>
                <a:lnTo>
                  <a:pt x="447" y="152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51382" tIns="25691" rIns="51382" bIns="25691" numCol="1" anchor="t" anchorCtr="0" compatLnSpc="1">
            <a:prstTxWarp prst="textNoShape">
              <a:avLst/>
            </a:prstTxWarp>
          </a:bodyPr>
          <a:lstStyle/>
          <a:p>
            <a:endParaRPr lang="de-DE" sz="1350"/>
          </a:p>
        </p:txBody>
      </p:sp>
      <p:grpSp>
        <p:nvGrpSpPr>
          <p:cNvPr id="38" name="Ecke">
            <a:extLst>
              <a:ext uri="{FF2B5EF4-FFF2-40B4-BE49-F238E27FC236}">
                <a16:creationId xmlns:a16="http://schemas.microsoft.com/office/drawing/2014/main" id="{C3C17E66-950A-45CE-86E4-111035CC1E0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812557" y="0"/>
            <a:ext cx="3379443" cy="6858000"/>
            <a:chOff x="1316" y="-660"/>
            <a:chExt cx="2131" cy="4320"/>
          </a:xfrm>
        </p:grpSpPr>
        <p:sp>
          <p:nvSpPr>
            <p:cNvPr id="39" name="Fläche">
              <a:extLst>
                <a:ext uri="{FF2B5EF4-FFF2-40B4-BE49-F238E27FC236}">
                  <a16:creationId xmlns:a16="http://schemas.microsoft.com/office/drawing/2014/main" id="{82BA5116-B2E1-4AA3-B7CF-7686789DAB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16" y="-660"/>
              <a:ext cx="2131" cy="4320"/>
            </a:xfrm>
            <a:custGeom>
              <a:avLst/>
              <a:gdLst>
                <a:gd name="T0" fmla="*/ 9400 w 9400"/>
                <a:gd name="T1" fmla="*/ 0 h 19050"/>
                <a:gd name="T2" fmla="*/ 0 w 9400"/>
                <a:gd name="T3" fmla="*/ 19050 h 19050"/>
                <a:gd name="T4" fmla="*/ 9400 w 9400"/>
                <a:gd name="T5" fmla="*/ 19050 h 19050"/>
                <a:gd name="T6" fmla="*/ 9400 w 9400"/>
                <a:gd name="T7" fmla="*/ 0 h 19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400" h="19050">
                  <a:moveTo>
                    <a:pt x="9400" y="0"/>
                  </a:moveTo>
                  <a:lnTo>
                    <a:pt x="0" y="19050"/>
                  </a:lnTo>
                  <a:lnTo>
                    <a:pt x="9400" y="19050"/>
                  </a:lnTo>
                  <a:lnTo>
                    <a:pt x="94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 sz="1012"/>
            </a:p>
          </p:txBody>
        </p:sp>
        <p:sp>
          <p:nvSpPr>
            <p:cNvPr id="40" name="FONT">
              <a:extLst>
                <a:ext uri="{FF2B5EF4-FFF2-40B4-BE49-F238E27FC236}">
                  <a16:creationId xmlns:a16="http://schemas.microsoft.com/office/drawing/2014/main" id="{4DC2A972-FC54-4040-9D76-B43D33E5A55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406" y="-479"/>
              <a:ext cx="2041" cy="4139"/>
            </a:xfrm>
            <a:custGeom>
              <a:avLst/>
              <a:gdLst>
                <a:gd name="T0" fmla="*/ 9002 w 9002"/>
                <a:gd name="T1" fmla="*/ 357 h 18254"/>
                <a:gd name="T2" fmla="*/ 906 w 9002"/>
                <a:gd name="T3" fmla="*/ 16229 h 18254"/>
                <a:gd name="T4" fmla="*/ 2239 w 9002"/>
                <a:gd name="T5" fmla="*/ 14589 h 18254"/>
                <a:gd name="T6" fmla="*/ 3365 w 9002"/>
                <a:gd name="T7" fmla="*/ 12300 h 18254"/>
                <a:gd name="T8" fmla="*/ 4050 w 9002"/>
                <a:gd name="T9" fmla="*/ 10908 h 18254"/>
                <a:gd name="T10" fmla="*/ 4678 w 9002"/>
                <a:gd name="T11" fmla="*/ 9535 h 18254"/>
                <a:gd name="T12" fmla="*/ 5641 w 9002"/>
                <a:gd name="T13" fmla="*/ 7561 h 18254"/>
                <a:gd name="T14" fmla="*/ 6238 w 9002"/>
                <a:gd name="T15" fmla="*/ 6461 h 18254"/>
                <a:gd name="T16" fmla="*/ 7029 w 9002"/>
                <a:gd name="T17" fmla="*/ 4855 h 18254"/>
                <a:gd name="T18" fmla="*/ 7419 w 9002"/>
                <a:gd name="T19" fmla="*/ 3133 h 18254"/>
                <a:gd name="T20" fmla="*/ 8803 w 9002"/>
                <a:gd name="T21" fmla="*/ 1078 h 18254"/>
                <a:gd name="T22" fmla="*/ 8728 w 9002"/>
                <a:gd name="T23" fmla="*/ 2142 h 18254"/>
                <a:gd name="T24" fmla="*/ 2062 w 9002"/>
                <a:gd name="T25" fmla="*/ 16564 h 18254"/>
                <a:gd name="T26" fmla="*/ 2461 w 9002"/>
                <a:gd name="T27" fmla="*/ 14687 h 18254"/>
                <a:gd name="T28" fmla="*/ 3518 w 9002"/>
                <a:gd name="T29" fmla="*/ 13239 h 18254"/>
                <a:gd name="T30" fmla="*/ 4944 w 9002"/>
                <a:gd name="T31" fmla="*/ 10647 h 18254"/>
                <a:gd name="T32" fmla="*/ 5586 w 9002"/>
                <a:gd name="T33" fmla="*/ 9227 h 18254"/>
                <a:gd name="T34" fmla="*/ 6125 w 9002"/>
                <a:gd name="T35" fmla="*/ 7589 h 18254"/>
                <a:gd name="T36" fmla="*/ 6868 w 9002"/>
                <a:gd name="T37" fmla="*/ 6017 h 18254"/>
                <a:gd name="T38" fmla="*/ 7654 w 9002"/>
                <a:gd name="T39" fmla="*/ 5212 h 18254"/>
                <a:gd name="T40" fmla="*/ 8238 w 9002"/>
                <a:gd name="T41" fmla="*/ 3137 h 18254"/>
                <a:gd name="T42" fmla="*/ 2173 w 9002"/>
                <a:gd name="T43" fmla="*/ 17188 h 18254"/>
                <a:gd name="T44" fmla="*/ 3279 w 9002"/>
                <a:gd name="T45" fmla="*/ 15781 h 18254"/>
                <a:gd name="T46" fmla="*/ 3545 w 9002"/>
                <a:gd name="T47" fmla="*/ 14500 h 18254"/>
                <a:gd name="T48" fmla="*/ 4723 w 9002"/>
                <a:gd name="T49" fmla="*/ 12890 h 18254"/>
                <a:gd name="T50" fmla="*/ 5595 w 9002"/>
                <a:gd name="T51" fmla="*/ 11220 h 18254"/>
                <a:gd name="T52" fmla="*/ 6528 w 9002"/>
                <a:gd name="T53" fmla="*/ 9189 h 18254"/>
                <a:gd name="T54" fmla="*/ 7202 w 9002"/>
                <a:gd name="T55" fmla="*/ 7179 h 18254"/>
                <a:gd name="T56" fmla="*/ 8023 w 9002"/>
                <a:gd name="T57" fmla="*/ 5298 h 18254"/>
                <a:gd name="T58" fmla="*/ 8797 w 9002"/>
                <a:gd name="T59" fmla="*/ 4434 h 18254"/>
                <a:gd name="T60" fmla="*/ 8821 w 9002"/>
                <a:gd name="T61" fmla="*/ 5411 h 18254"/>
                <a:gd name="T62" fmla="*/ 3561 w 9002"/>
                <a:gd name="T63" fmla="*/ 17003 h 18254"/>
                <a:gd name="T64" fmla="*/ 4387 w 9002"/>
                <a:gd name="T65" fmla="*/ 15116 h 18254"/>
                <a:gd name="T66" fmla="*/ 5272 w 9002"/>
                <a:gd name="T67" fmla="*/ 13232 h 18254"/>
                <a:gd name="T68" fmla="*/ 5825 w 9002"/>
                <a:gd name="T69" fmla="*/ 11492 h 18254"/>
                <a:gd name="T70" fmla="*/ 6451 w 9002"/>
                <a:gd name="T71" fmla="*/ 10468 h 18254"/>
                <a:gd name="T72" fmla="*/ 7035 w 9002"/>
                <a:gd name="T73" fmla="*/ 9133 h 18254"/>
                <a:gd name="T74" fmla="*/ 8329 w 9002"/>
                <a:gd name="T75" fmla="*/ 7390 h 18254"/>
                <a:gd name="T76" fmla="*/ 3579 w 9002"/>
                <a:gd name="T77" fmla="*/ 17782 h 18254"/>
                <a:gd name="T78" fmla="*/ 4870 w 9002"/>
                <a:gd name="T79" fmla="*/ 15446 h 18254"/>
                <a:gd name="T80" fmla="*/ 5550 w 9002"/>
                <a:gd name="T81" fmla="*/ 14081 h 18254"/>
                <a:gd name="T82" fmla="*/ 6566 w 9002"/>
                <a:gd name="T83" fmla="*/ 12611 h 18254"/>
                <a:gd name="T84" fmla="*/ 7519 w 9002"/>
                <a:gd name="T85" fmla="*/ 10679 h 18254"/>
                <a:gd name="T86" fmla="*/ 7704 w 9002"/>
                <a:gd name="T87" fmla="*/ 9498 h 18254"/>
                <a:gd name="T88" fmla="*/ 8504 w 9002"/>
                <a:gd name="T89" fmla="*/ 7774 h 18254"/>
                <a:gd name="T90" fmla="*/ 4565 w 9002"/>
                <a:gd name="T91" fmla="*/ 17623 h 18254"/>
                <a:gd name="T92" fmla="*/ 6006 w 9002"/>
                <a:gd name="T93" fmla="*/ 15562 h 18254"/>
                <a:gd name="T94" fmla="*/ 6311 w 9002"/>
                <a:gd name="T95" fmla="*/ 14432 h 18254"/>
                <a:gd name="T96" fmla="*/ 7213 w 9002"/>
                <a:gd name="T97" fmla="*/ 13329 h 18254"/>
                <a:gd name="T98" fmla="*/ 7814 w 9002"/>
                <a:gd name="T99" fmla="*/ 11324 h 18254"/>
                <a:gd name="T100" fmla="*/ 8423 w 9002"/>
                <a:gd name="T101" fmla="*/ 10161 h 18254"/>
                <a:gd name="T102" fmla="*/ 6000 w 9002"/>
                <a:gd name="T103" fmla="*/ 16515 h 18254"/>
                <a:gd name="T104" fmla="*/ 7055 w 9002"/>
                <a:gd name="T105" fmla="*/ 15156 h 18254"/>
                <a:gd name="T106" fmla="*/ 7556 w 9002"/>
                <a:gd name="T107" fmla="*/ 14068 h 18254"/>
                <a:gd name="T108" fmla="*/ 8506 w 9002"/>
                <a:gd name="T109" fmla="*/ 12028 h 18254"/>
                <a:gd name="T110" fmla="*/ 6203 w 9002"/>
                <a:gd name="T111" fmla="*/ 18169 h 18254"/>
                <a:gd name="T112" fmla="*/ 6705 w 9002"/>
                <a:gd name="T113" fmla="*/ 17310 h 18254"/>
                <a:gd name="T114" fmla="*/ 7589 w 9002"/>
                <a:gd name="T115" fmla="*/ 15425 h 18254"/>
                <a:gd name="T116" fmla="*/ 8143 w 9002"/>
                <a:gd name="T117" fmla="*/ 13685 h 18254"/>
                <a:gd name="T118" fmla="*/ 8894 w 9002"/>
                <a:gd name="T119" fmla="*/ 14320 h 18254"/>
                <a:gd name="T120" fmla="*/ 7916 w 9002"/>
                <a:gd name="T121" fmla="*/ 16724 h 18254"/>
                <a:gd name="T122" fmla="*/ 8631 w 9002"/>
                <a:gd name="T123" fmla="*/ 15405 h 18254"/>
                <a:gd name="T124" fmla="*/ 8486 w 9002"/>
                <a:gd name="T125" fmla="*/ 17234 h 18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002" h="18254">
                  <a:moveTo>
                    <a:pt x="9002" y="17952"/>
                  </a:moveTo>
                  <a:lnTo>
                    <a:pt x="8657" y="17818"/>
                  </a:lnTo>
                  <a:lnTo>
                    <a:pt x="8623" y="17886"/>
                  </a:lnTo>
                  <a:lnTo>
                    <a:pt x="8847" y="18088"/>
                  </a:lnTo>
                  <a:cubicBezTo>
                    <a:pt x="8861" y="18100"/>
                    <a:pt x="8873" y="18110"/>
                    <a:pt x="8884" y="18119"/>
                  </a:cubicBezTo>
                  <a:cubicBezTo>
                    <a:pt x="8896" y="18127"/>
                    <a:pt x="8902" y="18132"/>
                    <a:pt x="8903" y="18133"/>
                  </a:cubicBezTo>
                  <a:cubicBezTo>
                    <a:pt x="8901" y="18133"/>
                    <a:pt x="8893" y="18130"/>
                    <a:pt x="8879" y="18127"/>
                  </a:cubicBezTo>
                  <a:cubicBezTo>
                    <a:pt x="8866" y="18123"/>
                    <a:pt x="8848" y="18119"/>
                    <a:pt x="8828" y="18115"/>
                  </a:cubicBezTo>
                  <a:lnTo>
                    <a:pt x="8538" y="18061"/>
                  </a:lnTo>
                  <a:lnTo>
                    <a:pt x="8504" y="18129"/>
                  </a:lnTo>
                  <a:lnTo>
                    <a:pt x="8710" y="18254"/>
                  </a:lnTo>
                  <a:lnTo>
                    <a:pt x="8804" y="18254"/>
                  </a:lnTo>
                  <a:lnTo>
                    <a:pt x="8633" y="18152"/>
                  </a:lnTo>
                  <a:cubicBezTo>
                    <a:pt x="8627" y="18149"/>
                    <a:pt x="8621" y="18145"/>
                    <a:pt x="8613" y="18141"/>
                  </a:cubicBezTo>
                  <a:cubicBezTo>
                    <a:pt x="8606" y="18136"/>
                    <a:pt x="8598" y="18132"/>
                    <a:pt x="8591" y="18128"/>
                  </a:cubicBezTo>
                  <a:cubicBezTo>
                    <a:pt x="8583" y="18124"/>
                    <a:pt x="8577" y="18120"/>
                    <a:pt x="8571" y="18117"/>
                  </a:cubicBezTo>
                  <a:cubicBezTo>
                    <a:pt x="8567" y="18114"/>
                    <a:pt x="8564" y="18113"/>
                    <a:pt x="8562" y="18112"/>
                  </a:cubicBezTo>
                  <a:cubicBezTo>
                    <a:pt x="8567" y="18113"/>
                    <a:pt x="8576" y="18115"/>
                    <a:pt x="8590" y="18118"/>
                  </a:cubicBezTo>
                  <a:cubicBezTo>
                    <a:pt x="8605" y="18121"/>
                    <a:pt x="8623" y="18124"/>
                    <a:pt x="8645" y="18129"/>
                  </a:cubicBezTo>
                  <a:lnTo>
                    <a:pt x="8961" y="18188"/>
                  </a:lnTo>
                  <a:lnTo>
                    <a:pt x="8980" y="18148"/>
                  </a:lnTo>
                  <a:lnTo>
                    <a:pt x="8730" y="17920"/>
                  </a:lnTo>
                  <a:cubicBezTo>
                    <a:pt x="8724" y="17916"/>
                    <a:pt x="8719" y="17911"/>
                    <a:pt x="8713" y="17906"/>
                  </a:cubicBezTo>
                  <a:cubicBezTo>
                    <a:pt x="8707" y="17901"/>
                    <a:pt x="8702" y="17897"/>
                    <a:pt x="8696" y="17892"/>
                  </a:cubicBezTo>
                  <a:cubicBezTo>
                    <a:pt x="8691" y="17887"/>
                    <a:pt x="8687" y="17884"/>
                    <a:pt x="8683" y="17881"/>
                  </a:cubicBezTo>
                  <a:cubicBezTo>
                    <a:pt x="8679" y="17878"/>
                    <a:pt x="8677" y="17876"/>
                    <a:pt x="8676" y="17875"/>
                  </a:cubicBezTo>
                  <a:cubicBezTo>
                    <a:pt x="8677" y="17875"/>
                    <a:pt x="8680" y="17877"/>
                    <a:pt x="8684" y="17879"/>
                  </a:cubicBezTo>
                  <a:cubicBezTo>
                    <a:pt x="8689" y="17881"/>
                    <a:pt x="8695" y="17883"/>
                    <a:pt x="8702" y="17886"/>
                  </a:cubicBezTo>
                  <a:cubicBezTo>
                    <a:pt x="8708" y="17889"/>
                    <a:pt x="8715" y="17893"/>
                    <a:pt x="8723" y="17896"/>
                  </a:cubicBezTo>
                  <a:cubicBezTo>
                    <a:pt x="8731" y="17899"/>
                    <a:pt x="8738" y="17902"/>
                    <a:pt x="8744" y="17905"/>
                  </a:cubicBezTo>
                  <a:lnTo>
                    <a:pt x="9002" y="18007"/>
                  </a:lnTo>
                  <a:lnTo>
                    <a:pt x="9002" y="17952"/>
                  </a:lnTo>
                  <a:close/>
                  <a:moveTo>
                    <a:pt x="217" y="17712"/>
                  </a:moveTo>
                  <a:lnTo>
                    <a:pt x="194" y="17759"/>
                  </a:lnTo>
                  <a:lnTo>
                    <a:pt x="396" y="17919"/>
                  </a:lnTo>
                  <a:cubicBezTo>
                    <a:pt x="409" y="17929"/>
                    <a:pt x="422" y="17939"/>
                    <a:pt x="435" y="17949"/>
                  </a:cubicBezTo>
                  <a:cubicBezTo>
                    <a:pt x="448" y="17959"/>
                    <a:pt x="459" y="17967"/>
                    <a:pt x="469" y="17975"/>
                  </a:cubicBezTo>
                  <a:cubicBezTo>
                    <a:pt x="480" y="17982"/>
                    <a:pt x="488" y="17988"/>
                    <a:pt x="494" y="17993"/>
                  </a:cubicBezTo>
                  <a:cubicBezTo>
                    <a:pt x="500" y="17997"/>
                    <a:pt x="503" y="17999"/>
                    <a:pt x="504" y="18000"/>
                  </a:cubicBezTo>
                  <a:cubicBezTo>
                    <a:pt x="503" y="18000"/>
                    <a:pt x="500" y="17999"/>
                    <a:pt x="495" y="17998"/>
                  </a:cubicBezTo>
                  <a:cubicBezTo>
                    <a:pt x="489" y="17996"/>
                    <a:pt x="481" y="17993"/>
                    <a:pt x="471" y="17990"/>
                  </a:cubicBezTo>
                  <a:cubicBezTo>
                    <a:pt x="460" y="17988"/>
                    <a:pt x="449" y="17984"/>
                    <a:pt x="435" y="17981"/>
                  </a:cubicBezTo>
                  <a:cubicBezTo>
                    <a:pt x="422" y="17977"/>
                    <a:pt x="407" y="17974"/>
                    <a:pt x="391" y="17970"/>
                  </a:cubicBezTo>
                  <a:lnTo>
                    <a:pt x="122" y="17904"/>
                  </a:lnTo>
                  <a:lnTo>
                    <a:pt x="96" y="17957"/>
                  </a:lnTo>
                  <a:lnTo>
                    <a:pt x="305" y="18124"/>
                  </a:lnTo>
                  <a:cubicBezTo>
                    <a:pt x="315" y="18132"/>
                    <a:pt x="325" y="18140"/>
                    <a:pt x="337" y="18149"/>
                  </a:cubicBezTo>
                  <a:cubicBezTo>
                    <a:pt x="349" y="18158"/>
                    <a:pt x="359" y="18167"/>
                    <a:pt x="369" y="18174"/>
                  </a:cubicBezTo>
                  <a:cubicBezTo>
                    <a:pt x="379" y="18182"/>
                    <a:pt x="388" y="18188"/>
                    <a:pt x="395" y="18193"/>
                  </a:cubicBezTo>
                  <a:cubicBezTo>
                    <a:pt x="402" y="18199"/>
                    <a:pt x="406" y="18202"/>
                    <a:pt x="407" y="18202"/>
                  </a:cubicBezTo>
                  <a:cubicBezTo>
                    <a:pt x="405" y="18202"/>
                    <a:pt x="400" y="18200"/>
                    <a:pt x="391" y="18197"/>
                  </a:cubicBezTo>
                  <a:cubicBezTo>
                    <a:pt x="383" y="18195"/>
                    <a:pt x="372" y="18191"/>
                    <a:pt x="360" y="18188"/>
                  </a:cubicBezTo>
                  <a:cubicBezTo>
                    <a:pt x="348" y="18184"/>
                    <a:pt x="334" y="18180"/>
                    <a:pt x="320" y="18176"/>
                  </a:cubicBezTo>
                  <a:cubicBezTo>
                    <a:pt x="305" y="18172"/>
                    <a:pt x="291" y="18168"/>
                    <a:pt x="278" y="18165"/>
                  </a:cubicBezTo>
                  <a:lnTo>
                    <a:pt x="25" y="18102"/>
                  </a:lnTo>
                  <a:lnTo>
                    <a:pt x="0" y="18152"/>
                  </a:lnTo>
                  <a:lnTo>
                    <a:pt x="436" y="18252"/>
                  </a:lnTo>
                  <a:lnTo>
                    <a:pt x="466" y="18192"/>
                  </a:lnTo>
                  <a:lnTo>
                    <a:pt x="269" y="18035"/>
                  </a:lnTo>
                  <a:cubicBezTo>
                    <a:pt x="258" y="18026"/>
                    <a:pt x="246" y="18018"/>
                    <a:pt x="235" y="18009"/>
                  </a:cubicBezTo>
                  <a:cubicBezTo>
                    <a:pt x="224" y="18000"/>
                    <a:pt x="214" y="17993"/>
                    <a:pt x="205" y="17986"/>
                  </a:cubicBezTo>
                  <a:cubicBezTo>
                    <a:pt x="196" y="17980"/>
                    <a:pt x="188" y="17975"/>
                    <a:pt x="183" y="17970"/>
                  </a:cubicBezTo>
                  <a:cubicBezTo>
                    <a:pt x="177" y="17966"/>
                    <a:pt x="173" y="17964"/>
                    <a:pt x="172" y="17963"/>
                  </a:cubicBezTo>
                  <a:cubicBezTo>
                    <a:pt x="174" y="17964"/>
                    <a:pt x="178" y="17965"/>
                    <a:pt x="185" y="17967"/>
                  </a:cubicBezTo>
                  <a:cubicBezTo>
                    <a:pt x="192" y="17969"/>
                    <a:pt x="200" y="17971"/>
                    <a:pt x="211" y="17975"/>
                  </a:cubicBezTo>
                  <a:cubicBezTo>
                    <a:pt x="222" y="17978"/>
                    <a:pt x="234" y="17981"/>
                    <a:pt x="248" y="17985"/>
                  </a:cubicBezTo>
                  <a:cubicBezTo>
                    <a:pt x="262" y="17989"/>
                    <a:pt x="277" y="17993"/>
                    <a:pt x="292" y="17997"/>
                  </a:cubicBezTo>
                  <a:lnTo>
                    <a:pt x="533" y="18055"/>
                  </a:lnTo>
                  <a:lnTo>
                    <a:pt x="563" y="17994"/>
                  </a:lnTo>
                  <a:lnTo>
                    <a:pt x="217" y="17712"/>
                  </a:lnTo>
                  <a:close/>
                  <a:moveTo>
                    <a:pt x="9002" y="782"/>
                  </a:moveTo>
                  <a:lnTo>
                    <a:pt x="9002" y="727"/>
                  </a:lnTo>
                  <a:cubicBezTo>
                    <a:pt x="8996" y="730"/>
                    <a:pt x="8990" y="733"/>
                    <a:pt x="8984" y="734"/>
                  </a:cubicBezTo>
                  <a:cubicBezTo>
                    <a:pt x="8978" y="735"/>
                    <a:pt x="8972" y="736"/>
                    <a:pt x="8967" y="736"/>
                  </a:cubicBezTo>
                  <a:cubicBezTo>
                    <a:pt x="8960" y="736"/>
                    <a:pt x="8950" y="733"/>
                    <a:pt x="8939" y="729"/>
                  </a:cubicBezTo>
                  <a:cubicBezTo>
                    <a:pt x="8928" y="724"/>
                    <a:pt x="8917" y="720"/>
                    <a:pt x="8907" y="715"/>
                  </a:cubicBezTo>
                  <a:lnTo>
                    <a:pt x="8644" y="585"/>
                  </a:lnTo>
                  <a:lnTo>
                    <a:pt x="8621" y="632"/>
                  </a:lnTo>
                  <a:lnTo>
                    <a:pt x="8902" y="769"/>
                  </a:lnTo>
                  <a:cubicBezTo>
                    <a:pt x="8910" y="774"/>
                    <a:pt x="8921" y="778"/>
                    <a:pt x="8932" y="783"/>
                  </a:cubicBezTo>
                  <a:cubicBezTo>
                    <a:pt x="8944" y="787"/>
                    <a:pt x="8956" y="789"/>
                    <a:pt x="8968" y="788"/>
                  </a:cubicBezTo>
                  <a:cubicBezTo>
                    <a:pt x="8980" y="788"/>
                    <a:pt x="8992" y="786"/>
                    <a:pt x="9002" y="782"/>
                  </a:cubicBezTo>
                  <a:close/>
                  <a:moveTo>
                    <a:pt x="9002" y="554"/>
                  </a:moveTo>
                  <a:lnTo>
                    <a:pt x="9002" y="497"/>
                  </a:lnTo>
                  <a:lnTo>
                    <a:pt x="8749" y="372"/>
                  </a:lnTo>
                  <a:lnTo>
                    <a:pt x="8726" y="418"/>
                  </a:lnTo>
                  <a:lnTo>
                    <a:pt x="8998" y="552"/>
                  </a:lnTo>
                  <a:lnTo>
                    <a:pt x="9002" y="554"/>
                  </a:lnTo>
                  <a:close/>
                  <a:moveTo>
                    <a:pt x="9002" y="357"/>
                  </a:moveTo>
                  <a:lnTo>
                    <a:pt x="9002" y="299"/>
                  </a:lnTo>
                  <a:lnTo>
                    <a:pt x="8991" y="294"/>
                  </a:lnTo>
                  <a:cubicBezTo>
                    <a:pt x="8980" y="289"/>
                    <a:pt x="8968" y="283"/>
                    <a:pt x="8957" y="278"/>
                  </a:cubicBezTo>
                  <a:cubicBezTo>
                    <a:pt x="8945" y="273"/>
                    <a:pt x="8934" y="269"/>
                    <a:pt x="8924" y="264"/>
                  </a:cubicBezTo>
                  <a:cubicBezTo>
                    <a:pt x="8914" y="260"/>
                    <a:pt x="8905" y="256"/>
                    <a:pt x="8898" y="253"/>
                  </a:cubicBezTo>
                  <a:cubicBezTo>
                    <a:pt x="8891" y="250"/>
                    <a:pt x="8886" y="248"/>
                    <a:pt x="8883" y="247"/>
                  </a:cubicBezTo>
                  <a:cubicBezTo>
                    <a:pt x="8887" y="248"/>
                    <a:pt x="8892" y="248"/>
                    <a:pt x="8900" y="248"/>
                  </a:cubicBezTo>
                  <a:cubicBezTo>
                    <a:pt x="8907" y="249"/>
                    <a:pt x="8916" y="249"/>
                    <a:pt x="8926" y="249"/>
                  </a:cubicBezTo>
                  <a:cubicBezTo>
                    <a:pt x="8936" y="249"/>
                    <a:pt x="8947" y="249"/>
                    <a:pt x="8959" y="249"/>
                  </a:cubicBezTo>
                  <a:cubicBezTo>
                    <a:pt x="8972" y="249"/>
                    <a:pt x="8984" y="249"/>
                    <a:pt x="8998" y="249"/>
                  </a:cubicBezTo>
                  <a:lnTo>
                    <a:pt x="9002" y="249"/>
                  </a:lnTo>
                  <a:lnTo>
                    <a:pt x="9002" y="202"/>
                  </a:lnTo>
                  <a:lnTo>
                    <a:pt x="8831" y="205"/>
                  </a:lnTo>
                  <a:lnTo>
                    <a:pt x="8804" y="260"/>
                  </a:lnTo>
                  <a:lnTo>
                    <a:pt x="9002" y="357"/>
                  </a:lnTo>
                  <a:close/>
                  <a:moveTo>
                    <a:pt x="9002" y="91"/>
                  </a:moveTo>
                  <a:lnTo>
                    <a:pt x="9002" y="34"/>
                  </a:lnTo>
                  <a:lnTo>
                    <a:pt x="8932" y="0"/>
                  </a:lnTo>
                  <a:lnTo>
                    <a:pt x="8909" y="46"/>
                  </a:lnTo>
                  <a:lnTo>
                    <a:pt x="9002" y="91"/>
                  </a:lnTo>
                  <a:close/>
                  <a:moveTo>
                    <a:pt x="754" y="17607"/>
                  </a:moveTo>
                  <a:lnTo>
                    <a:pt x="714" y="17587"/>
                  </a:lnTo>
                  <a:lnTo>
                    <a:pt x="629" y="17759"/>
                  </a:lnTo>
                  <a:lnTo>
                    <a:pt x="486" y="17689"/>
                  </a:lnTo>
                  <a:lnTo>
                    <a:pt x="552" y="17555"/>
                  </a:lnTo>
                  <a:lnTo>
                    <a:pt x="511" y="17535"/>
                  </a:lnTo>
                  <a:lnTo>
                    <a:pt x="445" y="17669"/>
                  </a:lnTo>
                  <a:lnTo>
                    <a:pt x="317" y="17606"/>
                  </a:lnTo>
                  <a:lnTo>
                    <a:pt x="396" y="17445"/>
                  </a:lnTo>
                  <a:lnTo>
                    <a:pt x="360" y="17420"/>
                  </a:lnTo>
                  <a:lnTo>
                    <a:pt x="255" y="17634"/>
                  </a:lnTo>
                  <a:lnTo>
                    <a:pt x="646" y="17826"/>
                  </a:lnTo>
                  <a:lnTo>
                    <a:pt x="754" y="17607"/>
                  </a:lnTo>
                  <a:close/>
                  <a:moveTo>
                    <a:pt x="770" y="17203"/>
                  </a:moveTo>
                  <a:cubicBezTo>
                    <a:pt x="755" y="17201"/>
                    <a:pt x="742" y="17202"/>
                    <a:pt x="728" y="17205"/>
                  </a:cubicBezTo>
                  <a:cubicBezTo>
                    <a:pt x="715" y="17209"/>
                    <a:pt x="703" y="17214"/>
                    <a:pt x="693" y="17222"/>
                  </a:cubicBezTo>
                  <a:cubicBezTo>
                    <a:pt x="682" y="17229"/>
                    <a:pt x="669" y="17240"/>
                    <a:pt x="655" y="17255"/>
                  </a:cubicBezTo>
                  <a:lnTo>
                    <a:pt x="619" y="17293"/>
                  </a:lnTo>
                  <a:cubicBezTo>
                    <a:pt x="600" y="17313"/>
                    <a:pt x="583" y="17325"/>
                    <a:pt x="569" y="17330"/>
                  </a:cubicBezTo>
                  <a:cubicBezTo>
                    <a:pt x="554" y="17336"/>
                    <a:pt x="539" y="17334"/>
                    <a:pt x="523" y="17327"/>
                  </a:cubicBezTo>
                  <a:cubicBezTo>
                    <a:pt x="503" y="17317"/>
                    <a:pt x="491" y="17302"/>
                    <a:pt x="486" y="17283"/>
                  </a:cubicBezTo>
                  <a:cubicBezTo>
                    <a:pt x="481" y="17264"/>
                    <a:pt x="485" y="17242"/>
                    <a:pt x="497" y="17217"/>
                  </a:cubicBezTo>
                  <a:cubicBezTo>
                    <a:pt x="501" y="17209"/>
                    <a:pt x="506" y="17201"/>
                    <a:pt x="510" y="17194"/>
                  </a:cubicBezTo>
                  <a:cubicBezTo>
                    <a:pt x="515" y="17187"/>
                    <a:pt x="521" y="17181"/>
                    <a:pt x="527" y="17175"/>
                  </a:cubicBezTo>
                  <a:cubicBezTo>
                    <a:pt x="533" y="17169"/>
                    <a:pt x="541" y="17163"/>
                    <a:pt x="549" y="17157"/>
                  </a:cubicBezTo>
                  <a:cubicBezTo>
                    <a:pt x="557" y="17151"/>
                    <a:pt x="566" y="17145"/>
                    <a:pt x="577" y="17138"/>
                  </a:cubicBezTo>
                  <a:lnTo>
                    <a:pt x="553" y="17101"/>
                  </a:lnTo>
                  <a:cubicBezTo>
                    <a:pt x="510" y="17126"/>
                    <a:pt x="478" y="17159"/>
                    <a:pt x="458" y="17200"/>
                  </a:cubicBezTo>
                  <a:cubicBezTo>
                    <a:pt x="448" y="17219"/>
                    <a:pt x="443" y="17238"/>
                    <a:pt x="441" y="17256"/>
                  </a:cubicBezTo>
                  <a:cubicBezTo>
                    <a:pt x="438" y="17275"/>
                    <a:pt x="440" y="17292"/>
                    <a:pt x="444" y="17308"/>
                  </a:cubicBezTo>
                  <a:cubicBezTo>
                    <a:pt x="448" y="17323"/>
                    <a:pt x="456" y="17338"/>
                    <a:pt x="467" y="17351"/>
                  </a:cubicBezTo>
                  <a:cubicBezTo>
                    <a:pt x="477" y="17363"/>
                    <a:pt x="491" y="17374"/>
                    <a:pt x="508" y="17382"/>
                  </a:cubicBezTo>
                  <a:cubicBezTo>
                    <a:pt x="533" y="17394"/>
                    <a:pt x="558" y="17397"/>
                    <a:pt x="584" y="17389"/>
                  </a:cubicBezTo>
                  <a:cubicBezTo>
                    <a:pt x="595" y="17385"/>
                    <a:pt x="606" y="17380"/>
                    <a:pt x="616" y="17371"/>
                  </a:cubicBezTo>
                  <a:cubicBezTo>
                    <a:pt x="626" y="17363"/>
                    <a:pt x="639" y="17352"/>
                    <a:pt x="653" y="17337"/>
                  </a:cubicBezTo>
                  <a:lnTo>
                    <a:pt x="684" y="17303"/>
                  </a:lnTo>
                  <a:cubicBezTo>
                    <a:pt x="721" y="17263"/>
                    <a:pt x="757" y="17252"/>
                    <a:pt x="791" y="17269"/>
                  </a:cubicBezTo>
                  <a:cubicBezTo>
                    <a:pt x="815" y="17280"/>
                    <a:pt x="829" y="17299"/>
                    <a:pt x="833" y="17324"/>
                  </a:cubicBezTo>
                  <a:cubicBezTo>
                    <a:pt x="836" y="17336"/>
                    <a:pt x="836" y="17347"/>
                    <a:pt x="834" y="17357"/>
                  </a:cubicBezTo>
                  <a:cubicBezTo>
                    <a:pt x="832" y="17367"/>
                    <a:pt x="827" y="17380"/>
                    <a:pt x="820" y="17395"/>
                  </a:cubicBezTo>
                  <a:cubicBezTo>
                    <a:pt x="810" y="17415"/>
                    <a:pt x="799" y="17432"/>
                    <a:pt x="785" y="17446"/>
                  </a:cubicBezTo>
                  <a:cubicBezTo>
                    <a:pt x="771" y="17460"/>
                    <a:pt x="755" y="17473"/>
                    <a:pt x="735" y="17483"/>
                  </a:cubicBezTo>
                  <a:lnTo>
                    <a:pt x="761" y="17522"/>
                  </a:lnTo>
                  <a:cubicBezTo>
                    <a:pt x="783" y="17508"/>
                    <a:pt x="802" y="17493"/>
                    <a:pt x="817" y="17475"/>
                  </a:cubicBezTo>
                  <a:cubicBezTo>
                    <a:pt x="833" y="17458"/>
                    <a:pt x="847" y="17437"/>
                    <a:pt x="858" y="17414"/>
                  </a:cubicBezTo>
                  <a:cubicBezTo>
                    <a:pt x="867" y="17395"/>
                    <a:pt x="873" y="17379"/>
                    <a:pt x="876" y="17363"/>
                  </a:cubicBezTo>
                  <a:cubicBezTo>
                    <a:pt x="879" y="17347"/>
                    <a:pt x="879" y="17331"/>
                    <a:pt x="877" y="17314"/>
                  </a:cubicBezTo>
                  <a:cubicBezTo>
                    <a:pt x="875" y="17291"/>
                    <a:pt x="868" y="17271"/>
                    <a:pt x="856" y="17253"/>
                  </a:cubicBezTo>
                  <a:cubicBezTo>
                    <a:pt x="843" y="17236"/>
                    <a:pt x="828" y="17223"/>
                    <a:pt x="810" y="17214"/>
                  </a:cubicBezTo>
                  <a:cubicBezTo>
                    <a:pt x="798" y="17208"/>
                    <a:pt x="784" y="17204"/>
                    <a:pt x="770" y="17203"/>
                  </a:cubicBezTo>
                  <a:close/>
                  <a:moveTo>
                    <a:pt x="687" y="16756"/>
                  </a:moveTo>
                  <a:lnTo>
                    <a:pt x="560" y="17014"/>
                  </a:lnTo>
                  <a:lnTo>
                    <a:pt x="599" y="17034"/>
                  </a:lnTo>
                  <a:lnTo>
                    <a:pt x="651" y="16929"/>
                  </a:lnTo>
                  <a:lnTo>
                    <a:pt x="1002" y="17102"/>
                  </a:lnTo>
                  <a:lnTo>
                    <a:pt x="1025" y="17057"/>
                  </a:lnTo>
                  <a:lnTo>
                    <a:pt x="673" y="16884"/>
                  </a:lnTo>
                  <a:lnTo>
                    <a:pt x="725" y="16778"/>
                  </a:lnTo>
                  <a:lnTo>
                    <a:pt x="687" y="16756"/>
                  </a:lnTo>
                  <a:close/>
                  <a:moveTo>
                    <a:pt x="821" y="16483"/>
                  </a:moveTo>
                  <a:lnTo>
                    <a:pt x="720" y="16689"/>
                  </a:lnTo>
                  <a:lnTo>
                    <a:pt x="1111" y="16881"/>
                  </a:lnTo>
                  <a:lnTo>
                    <a:pt x="1134" y="16834"/>
                  </a:lnTo>
                  <a:lnTo>
                    <a:pt x="949" y="16742"/>
                  </a:lnTo>
                  <a:lnTo>
                    <a:pt x="1010" y="16617"/>
                  </a:lnTo>
                  <a:lnTo>
                    <a:pt x="972" y="16598"/>
                  </a:lnTo>
                  <a:lnTo>
                    <a:pt x="910" y="16723"/>
                  </a:lnTo>
                  <a:lnTo>
                    <a:pt x="782" y="16660"/>
                  </a:lnTo>
                  <a:lnTo>
                    <a:pt x="857" y="16509"/>
                  </a:lnTo>
                  <a:lnTo>
                    <a:pt x="821" y="16483"/>
                  </a:lnTo>
                  <a:close/>
                  <a:moveTo>
                    <a:pt x="1369" y="16358"/>
                  </a:moveTo>
                  <a:lnTo>
                    <a:pt x="914" y="16295"/>
                  </a:lnTo>
                  <a:lnTo>
                    <a:pt x="884" y="16356"/>
                  </a:lnTo>
                  <a:lnTo>
                    <a:pt x="1211" y="16678"/>
                  </a:lnTo>
                  <a:lnTo>
                    <a:pt x="1234" y="16631"/>
                  </a:lnTo>
                  <a:lnTo>
                    <a:pt x="1132" y="16534"/>
                  </a:lnTo>
                  <a:lnTo>
                    <a:pt x="1204" y="16388"/>
                  </a:lnTo>
                  <a:lnTo>
                    <a:pt x="1343" y="16411"/>
                  </a:lnTo>
                  <a:lnTo>
                    <a:pt x="1369" y="16358"/>
                  </a:lnTo>
                  <a:close/>
                  <a:moveTo>
                    <a:pt x="1160" y="16382"/>
                  </a:moveTo>
                  <a:lnTo>
                    <a:pt x="1100" y="16503"/>
                  </a:lnTo>
                  <a:lnTo>
                    <a:pt x="939" y="16347"/>
                  </a:lnTo>
                  <a:lnTo>
                    <a:pt x="1160" y="16382"/>
                  </a:lnTo>
                  <a:close/>
                  <a:moveTo>
                    <a:pt x="806" y="16326"/>
                  </a:moveTo>
                  <a:cubicBezTo>
                    <a:pt x="798" y="16329"/>
                    <a:pt x="791" y="16334"/>
                    <a:pt x="787" y="16343"/>
                  </a:cubicBezTo>
                  <a:cubicBezTo>
                    <a:pt x="783" y="16350"/>
                    <a:pt x="783" y="16359"/>
                    <a:pt x="786" y="16367"/>
                  </a:cubicBezTo>
                  <a:cubicBezTo>
                    <a:pt x="789" y="16376"/>
                    <a:pt x="794" y="16382"/>
                    <a:pt x="802" y="16386"/>
                  </a:cubicBezTo>
                  <a:cubicBezTo>
                    <a:pt x="810" y="16390"/>
                    <a:pt x="819" y="16391"/>
                    <a:pt x="828" y="16388"/>
                  </a:cubicBezTo>
                  <a:cubicBezTo>
                    <a:pt x="836" y="16385"/>
                    <a:pt x="843" y="16379"/>
                    <a:pt x="847" y="16371"/>
                  </a:cubicBezTo>
                  <a:cubicBezTo>
                    <a:pt x="851" y="16363"/>
                    <a:pt x="851" y="16354"/>
                    <a:pt x="848" y="16346"/>
                  </a:cubicBezTo>
                  <a:cubicBezTo>
                    <a:pt x="845" y="16338"/>
                    <a:pt x="839" y="16331"/>
                    <a:pt x="831" y="16327"/>
                  </a:cubicBezTo>
                  <a:cubicBezTo>
                    <a:pt x="823" y="16323"/>
                    <a:pt x="815" y="16323"/>
                    <a:pt x="806" y="16326"/>
                  </a:cubicBezTo>
                  <a:close/>
                  <a:moveTo>
                    <a:pt x="864" y="16208"/>
                  </a:moveTo>
                  <a:cubicBezTo>
                    <a:pt x="855" y="16211"/>
                    <a:pt x="849" y="16217"/>
                    <a:pt x="845" y="16225"/>
                  </a:cubicBezTo>
                  <a:cubicBezTo>
                    <a:pt x="841" y="16233"/>
                    <a:pt x="841" y="16241"/>
                    <a:pt x="843" y="16250"/>
                  </a:cubicBezTo>
                  <a:cubicBezTo>
                    <a:pt x="846" y="16258"/>
                    <a:pt x="852" y="16265"/>
                    <a:pt x="860" y="16269"/>
                  </a:cubicBezTo>
                  <a:cubicBezTo>
                    <a:pt x="868" y="16273"/>
                    <a:pt x="877" y="16273"/>
                    <a:pt x="885" y="16270"/>
                  </a:cubicBezTo>
                  <a:cubicBezTo>
                    <a:pt x="894" y="16268"/>
                    <a:pt x="900" y="16262"/>
                    <a:pt x="904" y="16254"/>
                  </a:cubicBezTo>
                  <a:cubicBezTo>
                    <a:pt x="909" y="16245"/>
                    <a:pt x="909" y="16237"/>
                    <a:pt x="906" y="16229"/>
                  </a:cubicBezTo>
                  <a:cubicBezTo>
                    <a:pt x="903" y="16220"/>
                    <a:pt x="897" y="16214"/>
                    <a:pt x="889" y="16210"/>
                  </a:cubicBezTo>
                  <a:cubicBezTo>
                    <a:pt x="881" y="16206"/>
                    <a:pt x="872" y="16205"/>
                    <a:pt x="864" y="16208"/>
                  </a:cubicBezTo>
                  <a:close/>
                  <a:moveTo>
                    <a:pt x="1465" y="16063"/>
                  </a:moveTo>
                  <a:lnTo>
                    <a:pt x="1389" y="16218"/>
                  </a:lnTo>
                  <a:lnTo>
                    <a:pt x="1037" y="16045"/>
                  </a:lnTo>
                  <a:lnTo>
                    <a:pt x="1014" y="16091"/>
                  </a:lnTo>
                  <a:lnTo>
                    <a:pt x="1405" y="16284"/>
                  </a:lnTo>
                  <a:lnTo>
                    <a:pt x="1501" y="16089"/>
                  </a:lnTo>
                  <a:lnTo>
                    <a:pt x="1465" y="16063"/>
                  </a:lnTo>
                  <a:close/>
                  <a:moveTo>
                    <a:pt x="1563" y="15962"/>
                  </a:moveTo>
                  <a:lnTo>
                    <a:pt x="1173" y="15769"/>
                  </a:lnTo>
                  <a:lnTo>
                    <a:pt x="1150" y="15815"/>
                  </a:lnTo>
                  <a:lnTo>
                    <a:pt x="1541" y="16007"/>
                  </a:lnTo>
                  <a:lnTo>
                    <a:pt x="1563" y="15962"/>
                  </a:lnTo>
                  <a:close/>
                  <a:moveTo>
                    <a:pt x="1588" y="15541"/>
                  </a:moveTo>
                  <a:cubicBezTo>
                    <a:pt x="1573" y="15539"/>
                    <a:pt x="1559" y="15540"/>
                    <a:pt x="1546" y="15544"/>
                  </a:cubicBezTo>
                  <a:cubicBezTo>
                    <a:pt x="1533" y="15547"/>
                    <a:pt x="1521" y="15553"/>
                    <a:pt x="1510" y="15560"/>
                  </a:cubicBezTo>
                  <a:cubicBezTo>
                    <a:pt x="1499" y="15567"/>
                    <a:pt x="1487" y="15579"/>
                    <a:pt x="1473" y="15593"/>
                  </a:cubicBezTo>
                  <a:lnTo>
                    <a:pt x="1436" y="15631"/>
                  </a:lnTo>
                  <a:cubicBezTo>
                    <a:pt x="1417" y="15651"/>
                    <a:pt x="1401" y="15663"/>
                    <a:pt x="1386" y="15669"/>
                  </a:cubicBezTo>
                  <a:cubicBezTo>
                    <a:pt x="1372" y="15674"/>
                    <a:pt x="1357" y="15673"/>
                    <a:pt x="1341" y="15665"/>
                  </a:cubicBezTo>
                  <a:cubicBezTo>
                    <a:pt x="1321" y="15655"/>
                    <a:pt x="1308" y="15640"/>
                    <a:pt x="1304" y="15621"/>
                  </a:cubicBezTo>
                  <a:cubicBezTo>
                    <a:pt x="1299" y="15602"/>
                    <a:pt x="1303" y="15580"/>
                    <a:pt x="1315" y="15555"/>
                  </a:cubicBezTo>
                  <a:cubicBezTo>
                    <a:pt x="1319" y="15547"/>
                    <a:pt x="1323" y="15539"/>
                    <a:pt x="1328" y="15532"/>
                  </a:cubicBezTo>
                  <a:cubicBezTo>
                    <a:pt x="1333" y="15526"/>
                    <a:pt x="1338" y="15519"/>
                    <a:pt x="1345" y="15513"/>
                  </a:cubicBezTo>
                  <a:cubicBezTo>
                    <a:pt x="1351" y="15507"/>
                    <a:pt x="1358" y="15501"/>
                    <a:pt x="1366" y="15495"/>
                  </a:cubicBezTo>
                  <a:cubicBezTo>
                    <a:pt x="1374" y="15489"/>
                    <a:pt x="1384" y="15483"/>
                    <a:pt x="1395" y="15476"/>
                  </a:cubicBezTo>
                  <a:lnTo>
                    <a:pt x="1371" y="15439"/>
                  </a:lnTo>
                  <a:cubicBezTo>
                    <a:pt x="1328" y="15464"/>
                    <a:pt x="1296" y="15497"/>
                    <a:pt x="1275" y="15539"/>
                  </a:cubicBezTo>
                  <a:cubicBezTo>
                    <a:pt x="1266" y="15558"/>
                    <a:pt x="1260" y="15576"/>
                    <a:pt x="1258" y="15595"/>
                  </a:cubicBezTo>
                  <a:cubicBezTo>
                    <a:pt x="1256" y="15613"/>
                    <a:pt x="1257" y="15630"/>
                    <a:pt x="1262" y="15646"/>
                  </a:cubicBezTo>
                  <a:cubicBezTo>
                    <a:pt x="1266" y="15662"/>
                    <a:pt x="1274" y="15676"/>
                    <a:pt x="1284" y="15689"/>
                  </a:cubicBezTo>
                  <a:cubicBezTo>
                    <a:pt x="1295" y="15702"/>
                    <a:pt x="1309" y="15712"/>
                    <a:pt x="1325" y="15720"/>
                  </a:cubicBezTo>
                  <a:cubicBezTo>
                    <a:pt x="1351" y="15733"/>
                    <a:pt x="1376" y="15735"/>
                    <a:pt x="1401" y="15727"/>
                  </a:cubicBezTo>
                  <a:cubicBezTo>
                    <a:pt x="1413" y="15724"/>
                    <a:pt x="1424" y="15718"/>
                    <a:pt x="1434" y="15710"/>
                  </a:cubicBezTo>
                  <a:cubicBezTo>
                    <a:pt x="1444" y="15702"/>
                    <a:pt x="1456" y="15690"/>
                    <a:pt x="1470" y="15675"/>
                  </a:cubicBezTo>
                  <a:lnTo>
                    <a:pt x="1502" y="15641"/>
                  </a:lnTo>
                  <a:cubicBezTo>
                    <a:pt x="1539" y="15602"/>
                    <a:pt x="1574" y="15590"/>
                    <a:pt x="1609" y="15607"/>
                  </a:cubicBezTo>
                  <a:cubicBezTo>
                    <a:pt x="1632" y="15619"/>
                    <a:pt x="1646" y="15637"/>
                    <a:pt x="1651" y="15663"/>
                  </a:cubicBezTo>
                  <a:cubicBezTo>
                    <a:pt x="1653" y="15674"/>
                    <a:pt x="1654" y="15685"/>
                    <a:pt x="1652" y="15695"/>
                  </a:cubicBezTo>
                  <a:cubicBezTo>
                    <a:pt x="1650" y="15706"/>
                    <a:pt x="1645" y="15718"/>
                    <a:pt x="1638" y="15733"/>
                  </a:cubicBezTo>
                  <a:cubicBezTo>
                    <a:pt x="1628" y="15753"/>
                    <a:pt x="1616" y="15770"/>
                    <a:pt x="1603" y="15784"/>
                  </a:cubicBezTo>
                  <a:cubicBezTo>
                    <a:pt x="1589" y="15799"/>
                    <a:pt x="1572" y="15811"/>
                    <a:pt x="1552" y="15821"/>
                  </a:cubicBezTo>
                  <a:lnTo>
                    <a:pt x="1579" y="15860"/>
                  </a:lnTo>
                  <a:cubicBezTo>
                    <a:pt x="1600" y="15847"/>
                    <a:pt x="1619" y="15831"/>
                    <a:pt x="1635" y="15814"/>
                  </a:cubicBezTo>
                  <a:cubicBezTo>
                    <a:pt x="1651" y="15796"/>
                    <a:pt x="1664" y="15776"/>
                    <a:pt x="1676" y="15752"/>
                  </a:cubicBezTo>
                  <a:cubicBezTo>
                    <a:pt x="1685" y="15734"/>
                    <a:pt x="1691" y="15717"/>
                    <a:pt x="1694" y="15701"/>
                  </a:cubicBezTo>
                  <a:cubicBezTo>
                    <a:pt x="1697" y="15686"/>
                    <a:pt x="1697" y="15669"/>
                    <a:pt x="1695" y="15652"/>
                  </a:cubicBezTo>
                  <a:cubicBezTo>
                    <a:pt x="1693" y="15630"/>
                    <a:pt x="1685" y="15609"/>
                    <a:pt x="1673" y="15592"/>
                  </a:cubicBezTo>
                  <a:cubicBezTo>
                    <a:pt x="1661" y="15574"/>
                    <a:pt x="1646" y="15561"/>
                    <a:pt x="1628" y="15552"/>
                  </a:cubicBezTo>
                  <a:cubicBezTo>
                    <a:pt x="1616" y="15546"/>
                    <a:pt x="1602" y="15542"/>
                    <a:pt x="1588" y="15541"/>
                  </a:cubicBezTo>
                  <a:close/>
                  <a:moveTo>
                    <a:pt x="1839" y="15258"/>
                  </a:moveTo>
                  <a:cubicBezTo>
                    <a:pt x="1841" y="15275"/>
                    <a:pt x="1842" y="15291"/>
                    <a:pt x="1840" y="15305"/>
                  </a:cubicBezTo>
                  <a:cubicBezTo>
                    <a:pt x="1838" y="15319"/>
                    <a:pt x="1833" y="15333"/>
                    <a:pt x="1826" y="15347"/>
                  </a:cubicBezTo>
                  <a:cubicBezTo>
                    <a:pt x="1815" y="15370"/>
                    <a:pt x="1799" y="15387"/>
                    <a:pt x="1778" y="15400"/>
                  </a:cubicBezTo>
                  <a:cubicBezTo>
                    <a:pt x="1757" y="15413"/>
                    <a:pt x="1731" y="15418"/>
                    <a:pt x="1702" y="15416"/>
                  </a:cubicBezTo>
                  <a:cubicBezTo>
                    <a:pt x="1688" y="15415"/>
                    <a:pt x="1675" y="15412"/>
                    <a:pt x="1661" y="15408"/>
                  </a:cubicBezTo>
                  <a:cubicBezTo>
                    <a:pt x="1648" y="15404"/>
                    <a:pt x="1632" y="15397"/>
                    <a:pt x="1613" y="15388"/>
                  </a:cubicBezTo>
                  <a:cubicBezTo>
                    <a:pt x="1590" y="15377"/>
                    <a:pt x="1571" y="15366"/>
                    <a:pt x="1556" y="15355"/>
                  </a:cubicBezTo>
                  <a:cubicBezTo>
                    <a:pt x="1541" y="15344"/>
                    <a:pt x="1528" y="15333"/>
                    <a:pt x="1517" y="15320"/>
                  </a:cubicBezTo>
                  <a:cubicBezTo>
                    <a:pt x="1500" y="15300"/>
                    <a:pt x="1490" y="15279"/>
                    <a:pt x="1486" y="15258"/>
                  </a:cubicBezTo>
                  <a:cubicBezTo>
                    <a:pt x="1482" y="15236"/>
                    <a:pt x="1486" y="15214"/>
                    <a:pt x="1497" y="15191"/>
                  </a:cubicBezTo>
                  <a:cubicBezTo>
                    <a:pt x="1505" y="15177"/>
                    <a:pt x="1513" y="15165"/>
                    <a:pt x="1522" y="15155"/>
                  </a:cubicBezTo>
                  <a:cubicBezTo>
                    <a:pt x="1532" y="15145"/>
                    <a:pt x="1544" y="15137"/>
                    <a:pt x="1558" y="15129"/>
                  </a:cubicBezTo>
                  <a:lnTo>
                    <a:pt x="1541" y="15089"/>
                  </a:lnTo>
                  <a:cubicBezTo>
                    <a:pt x="1524" y="15097"/>
                    <a:pt x="1508" y="15108"/>
                    <a:pt x="1495" y="15123"/>
                  </a:cubicBezTo>
                  <a:cubicBezTo>
                    <a:pt x="1481" y="15137"/>
                    <a:pt x="1469" y="15153"/>
                    <a:pt x="1460" y="15172"/>
                  </a:cubicBezTo>
                  <a:cubicBezTo>
                    <a:pt x="1449" y="15196"/>
                    <a:pt x="1443" y="15220"/>
                    <a:pt x="1443" y="15245"/>
                  </a:cubicBezTo>
                  <a:cubicBezTo>
                    <a:pt x="1443" y="15270"/>
                    <a:pt x="1449" y="15294"/>
                    <a:pt x="1459" y="15318"/>
                  </a:cubicBezTo>
                  <a:cubicBezTo>
                    <a:pt x="1470" y="15341"/>
                    <a:pt x="1486" y="15363"/>
                    <a:pt x="1507" y="15384"/>
                  </a:cubicBezTo>
                  <a:cubicBezTo>
                    <a:pt x="1527" y="15404"/>
                    <a:pt x="1552" y="15421"/>
                    <a:pt x="1581" y="15435"/>
                  </a:cubicBezTo>
                  <a:cubicBezTo>
                    <a:pt x="1610" y="15450"/>
                    <a:pt x="1639" y="15460"/>
                    <a:pt x="1668" y="15465"/>
                  </a:cubicBezTo>
                  <a:cubicBezTo>
                    <a:pt x="1697" y="15470"/>
                    <a:pt x="1726" y="15469"/>
                    <a:pt x="1753" y="15462"/>
                  </a:cubicBezTo>
                  <a:cubicBezTo>
                    <a:pt x="1777" y="15455"/>
                    <a:pt x="1799" y="15444"/>
                    <a:pt x="1817" y="15428"/>
                  </a:cubicBezTo>
                  <a:cubicBezTo>
                    <a:pt x="1836" y="15413"/>
                    <a:pt x="1850" y="15395"/>
                    <a:pt x="1861" y="15373"/>
                  </a:cubicBezTo>
                  <a:cubicBezTo>
                    <a:pt x="1870" y="15354"/>
                    <a:pt x="1877" y="15334"/>
                    <a:pt x="1880" y="15312"/>
                  </a:cubicBezTo>
                  <a:cubicBezTo>
                    <a:pt x="1884" y="15291"/>
                    <a:pt x="1885" y="15270"/>
                    <a:pt x="1882" y="15249"/>
                  </a:cubicBezTo>
                  <a:lnTo>
                    <a:pt x="1839" y="15258"/>
                  </a:lnTo>
                  <a:close/>
                  <a:moveTo>
                    <a:pt x="2074" y="14923"/>
                  </a:moveTo>
                  <a:lnTo>
                    <a:pt x="1684" y="14731"/>
                  </a:lnTo>
                  <a:lnTo>
                    <a:pt x="1661" y="14778"/>
                  </a:lnTo>
                  <a:lnTo>
                    <a:pt x="1824" y="14858"/>
                  </a:lnTo>
                  <a:lnTo>
                    <a:pt x="1743" y="15023"/>
                  </a:lnTo>
                  <a:lnTo>
                    <a:pt x="1580" y="14942"/>
                  </a:lnTo>
                  <a:lnTo>
                    <a:pt x="1557" y="14988"/>
                  </a:lnTo>
                  <a:lnTo>
                    <a:pt x="1948" y="15180"/>
                  </a:lnTo>
                  <a:lnTo>
                    <a:pt x="1970" y="15135"/>
                  </a:lnTo>
                  <a:lnTo>
                    <a:pt x="1781" y="15042"/>
                  </a:lnTo>
                  <a:lnTo>
                    <a:pt x="1862" y="14877"/>
                  </a:lnTo>
                  <a:lnTo>
                    <a:pt x="2051" y="14970"/>
                  </a:lnTo>
                  <a:lnTo>
                    <a:pt x="2074" y="14923"/>
                  </a:lnTo>
                  <a:close/>
                  <a:moveTo>
                    <a:pt x="2239" y="14589"/>
                  </a:moveTo>
                  <a:lnTo>
                    <a:pt x="2198" y="14569"/>
                  </a:lnTo>
                  <a:lnTo>
                    <a:pt x="2114" y="14742"/>
                  </a:lnTo>
                  <a:lnTo>
                    <a:pt x="1971" y="14671"/>
                  </a:lnTo>
                  <a:lnTo>
                    <a:pt x="2036" y="14537"/>
                  </a:lnTo>
                  <a:lnTo>
                    <a:pt x="1996" y="14517"/>
                  </a:lnTo>
                  <a:lnTo>
                    <a:pt x="1930" y="14651"/>
                  </a:lnTo>
                  <a:lnTo>
                    <a:pt x="1802" y="14588"/>
                  </a:lnTo>
                  <a:lnTo>
                    <a:pt x="1881" y="14428"/>
                  </a:lnTo>
                  <a:lnTo>
                    <a:pt x="1845" y="14403"/>
                  </a:lnTo>
                  <a:lnTo>
                    <a:pt x="1740" y="14616"/>
                  </a:lnTo>
                  <a:lnTo>
                    <a:pt x="2131" y="14809"/>
                  </a:lnTo>
                  <a:lnTo>
                    <a:pt x="2239" y="14589"/>
                  </a:lnTo>
                  <a:close/>
                  <a:moveTo>
                    <a:pt x="2155" y="13772"/>
                  </a:moveTo>
                  <a:lnTo>
                    <a:pt x="2132" y="13819"/>
                  </a:lnTo>
                  <a:lnTo>
                    <a:pt x="2335" y="13979"/>
                  </a:lnTo>
                  <a:cubicBezTo>
                    <a:pt x="2348" y="13989"/>
                    <a:pt x="2361" y="13999"/>
                    <a:pt x="2374" y="14009"/>
                  </a:cubicBezTo>
                  <a:cubicBezTo>
                    <a:pt x="2386" y="14018"/>
                    <a:pt x="2398" y="14027"/>
                    <a:pt x="2408" y="14034"/>
                  </a:cubicBezTo>
                  <a:cubicBezTo>
                    <a:pt x="2418" y="14042"/>
                    <a:pt x="2427" y="14048"/>
                    <a:pt x="2433" y="14053"/>
                  </a:cubicBezTo>
                  <a:cubicBezTo>
                    <a:pt x="2438" y="14057"/>
                    <a:pt x="2442" y="14059"/>
                    <a:pt x="2443" y="14060"/>
                  </a:cubicBezTo>
                  <a:cubicBezTo>
                    <a:pt x="2441" y="14060"/>
                    <a:pt x="2438" y="14059"/>
                    <a:pt x="2434" y="14058"/>
                  </a:cubicBezTo>
                  <a:cubicBezTo>
                    <a:pt x="2428" y="14056"/>
                    <a:pt x="2420" y="14053"/>
                    <a:pt x="2409" y="14050"/>
                  </a:cubicBezTo>
                  <a:cubicBezTo>
                    <a:pt x="2399" y="14047"/>
                    <a:pt x="2388" y="14044"/>
                    <a:pt x="2374" y="14041"/>
                  </a:cubicBezTo>
                  <a:cubicBezTo>
                    <a:pt x="2361" y="14037"/>
                    <a:pt x="2346" y="14033"/>
                    <a:pt x="2330" y="14029"/>
                  </a:cubicBezTo>
                  <a:lnTo>
                    <a:pt x="2061" y="13964"/>
                  </a:lnTo>
                  <a:lnTo>
                    <a:pt x="2035" y="14017"/>
                  </a:lnTo>
                  <a:lnTo>
                    <a:pt x="2243" y="14184"/>
                  </a:lnTo>
                  <a:cubicBezTo>
                    <a:pt x="2253" y="14192"/>
                    <a:pt x="2264" y="14200"/>
                    <a:pt x="2276" y="14209"/>
                  </a:cubicBezTo>
                  <a:cubicBezTo>
                    <a:pt x="2287" y="14218"/>
                    <a:pt x="2298" y="14226"/>
                    <a:pt x="2308" y="14234"/>
                  </a:cubicBezTo>
                  <a:cubicBezTo>
                    <a:pt x="2318" y="14242"/>
                    <a:pt x="2327" y="14248"/>
                    <a:pt x="2334" y="14253"/>
                  </a:cubicBezTo>
                  <a:cubicBezTo>
                    <a:pt x="2341" y="14259"/>
                    <a:pt x="2345" y="14261"/>
                    <a:pt x="2345" y="14262"/>
                  </a:cubicBezTo>
                  <a:cubicBezTo>
                    <a:pt x="2344" y="14262"/>
                    <a:pt x="2339" y="14260"/>
                    <a:pt x="2330" y="14257"/>
                  </a:cubicBezTo>
                  <a:cubicBezTo>
                    <a:pt x="2321" y="14254"/>
                    <a:pt x="2311" y="14251"/>
                    <a:pt x="2299" y="14247"/>
                  </a:cubicBezTo>
                  <a:cubicBezTo>
                    <a:pt x="2286" y="14244"/>
                    <a:pt x="2273" y="14240"/>
                    <a:pt x="2258" y="14236"/>
                  </a:cubicBezTo>
                  <a:cubicBezTo>
                    <a:pt x="2244" y="14232"/>
                    <a:pt x="2230" y="14228"/>
                    <a:pt x="2216" y="14225"/>
                  </a:cubicBezTo>
                  <a:lnTo>
                    <a:pt x="1964" y="14162"/>
                  </a:lnTo>
                  <a:lnTo>
                    <a:pt x="1939" y="14212"/>
                  </a:lnTo>
                  <a:lnTo>
                    <a:pt x="2375" y="14312"/>
                  </a:lnTo>
                  <a:lnTo>
                    <a:pt x="2405" y="14252"/>
                  </a:lnTo>
                  <a:lnTo>
                    <a:pt x="2208" y="14095"/>
                  </a:lnTo>
                  <a:cubicBezTo>
                    <a:pt x="2196" y="14086"/>
                    <a:pt x="2185" y="14077"/>
                    <a:pt x="2174" y="14069"/>
                  </a:cubicBezTo>
                  <a:cubicBezTo>
                    <a:pt x="2163" y="14060"/>
                    <a:pt x="2153" y="14053"/>
                    <a:pt x="2144" y="14046"/>
                  </a:cubicBezTo>
                  <a:cubicBezTo>
                    <a:pt x="2135" y="14040"/>
                    <a:pt x="2127" y="14034"/>
                    <a:pt x="2121" y="14030"/>
                  </a:cubicBezTo>
                  <a:cubicBezTo>
                    <a:pt x="2116" y="14026"/>
                    <a:pt x="2112" y="14024"/>
                    <a:pt x="2111" y="14023"/>
                  </a:cubicBezTo>
                  <a:cubicBezTo>
                    <a:pt x="2113" y="14024"/>
                    <a:pt x="2117" y="14025"/>
                    <a:pt x="2124" y="14027"/>
                  </a:cubicBezTo>
                  <a:cubicBezTo>
                    <a:pt x="2131" y="14029"/>
                    <a:pt x="2139" y="14031"/>
                    <a:pt x="2150" y="14034"/>
                  </a:cubicBezTo>
                  <a:cubicBezTo>
                    <a:pt x="2160" y="14037"/>
                    <a:pt x="2173" y="14041"/>
                    <a:pt x="2186" y="14045"/>
                  </a:cubicBezTo>
                  <a:cubicBezTo>
                    <a:pt x="2200" y="14048"/>
                    <a:pt x="2215" y="14052"/>
                    <a:pt x="2231" y="14056"/>
                  </a:cubicBezTo>
                  <a:lnTo>
                    <a:pt x="2472" y="14115"/>
                  </a:lnTo>
                  <a:lnTo>
                    <a:pt x="2502" y="14054"/>
                  </a:lnTo>
                  <a:lnTo>
                    <a:pt x="2155" y="13772"/>
                  </a:lnTo>
                  <a:close/>
                  <a:moveTo>
                    <a:pt x="2607" y="13840"/>
                  </a:moveTo>
                  <a:lnTo>
                    <a:pt x="2216" y="13648"/>
                  </a:lnTo>
                  <a:lnTo>
                    <a:pt x="2194" y="13694"/>
                  </a:lnTo>
                  <a:lnTo>
                    <a:pt x="2585" y="13886"/>
                  </a:lnTo>
                  <a:lnTo>
                    <a:pt x="2607" y="13840"/>
                  </a:lnTo>
                  <a:close/>
                  <a:moveTo>
                    <a:pt x="2723" y="13505"/>
                  </a:moveTo>
                  <a:lnTo>
                    <a:pt x="2647" y="13660"/>
                  </a:lnTo>
                  <a:lnTo>
                    <a:pt x="2296" y="13487"/>
                  </a:lnTo>
                  <a:lnTo>
                    <a:pt x="2273" y="13533"/>
                  </a:lnTo>
                  <a:lnTo>
                    <a:pt x="2664" y="13726"/>
                  </a:lnTo>
                  <a:lnTo>
                    <a:pt x="2760" y="13531"/>
                  </a:lnTo>
                  <a:lnTo>
                    <a:pt x="2723" y="13505"/>
                  </a:lnTo>
                  <a:close/>
                  <a:moveTo>
                    <a:pt x="2926" y="13192"/>
                  </a:moveTo>
                  <a:lnTo>
                    <a:pt x="2535" y="13000"/>
                  </a:lnTo>
                  <a:lnTo>
                    <a:pt x="2512" y="13047"/>
                  </a:lnTo>
                  <a:lnTo>
                    <a:pt x="2676" y="13127"/>
                  </a:lnTo>
                  <a:lnTo>
                    <a:pt x="2595" y="13292"/>
                  </a:lnTo>
                  <a:lnTo>
                    <a:pt x="2431" y="13211"/>
                  </a:lnTo>
                  <a:lnTo>
                    <a:pt x="2409" y="13257"/>
                  </a:lnTo>
                  <a:lnTo>
                    <a:pt x="2800" y="13449"/>
                  </a:lnTo>
                  <a:lnTo>
                    <a:pt x="2822" y="13404"/>
                  </a:lnTo>
                  <a:lnTo>
                    <a:pt x="2633" y="13311"/>
                  </a:lnTo>
                  <a:lnTo>
                    <a:pt x="2714" y="13146"/>
                  </a:lnTo>
                  <a:lnTo>
                    <a:pt x="2903" y="13239"/>
                  </a:lnTo>
                  <a:lnTo>
                    <a:pt x="2926" y="13192"/>
                  </a:lnTo>
                  <a:close/>
                  <a:moveTo>
                    <a:pt x="3090" y="12858"/>
                  </a:moveTo>
                  <a:lnTo>
                    <a:pt x="3050" y="12839"/>
                  </a:lnTo>
                  <a:lnTo>
                    <a:pt x="2965" y="13011"/>
                  </a:lnTo>
                  <a:lnTo>
                    <a:pt x="2822" y="12940"/>
                  </a:lnTo>
                  <a:lnTo>
                    <a:pt x="2888" y="12806"/>
                  </a:lnTo>
                  <a:lnTo>
                    <a:pt x="2848" y="12786"/>
                  </a:lnTo>
                  <a:lnTo>
                    <a:pt x="2782" y="12920"/>
                  </a:lnTo>
                  <a:lnTo>
                    <a:pt x="2654" y="12857"/>
                  </a:lnTo>
                  <a:lnTo>
                    <a:pt x="2732" y="12697"/>
                  </a:lnTo>
                  <a:lnTo>
                    <a:pt x="2697" y="12672"/>
                  </a:lnTo>
                  <a:lnTo>
                    <a:pt x="2592" y="12885"/>
                  </a:lnTo>
                  <a:lnTo>
                    <a:pt x="2982" y="13078"/>
                  </a:lnTo>
                  <a:lnTo>
                    <a:pt x="3090" y="12858"/>
                  </a:lnTo>
                  <a:close/>
                  <a:moveTo>
                    <a:pt x="3191" y="12555"/>
                  </a:moveTo>
                  <a:lnTo>
                    <a:pt x="3115" y="12710"/>
                  </a:lnTo>
                  <a:lnTo>
                    <a:pt x="2763" y="12537"/>
                  </a:lnTo>
                  <a:lnTo>
                    <a:pt x="2740" y="12583"/>
                  </a:lnTo>
                  <a:lnTo>
                    <a:pt x="3131" y="12776"/>
                  </a:lnTo>
                  <a:lnTo>
                    <a:pt x="3227" y="12581"/>
                  </a:lnTo>
                  <a:lnTo>
                    <a:pt x="3191" y="12555"/>
                  </a:lnTo>
                  <a:close/>
                  <a:moveTo>
                    <a:pt x="3450" y="12128"/>
                  </a:moveTo>
                  <a:lnTo>
                    <a:pt x="3042" y="11969"/>
                  </a:lnTo>
                  <a:lnTo>
                    <a:pt x="3008" y="12038"/>
                  </a:lnTo>
                  <a:lnTo>
                    <a:pt x="3232" y="12240"/>
                  </a:lnTo>
                  <a:cubicBezTo>
                    <a:pt x="3246" y="12251"/>
                    <a:pt x="3258" y="12262"/>
                    <a:pt x="3269" y="12270"/>
                  </a:cubicBezTo>
                  <a:cubicBezTo>
                    <a:pt x="3281" y="12279"/>
                    <a:pt x="3287" y="12284"/>
                    <a:pt x="3288" y="12285"/>
                  </a:cubicBezTo>
                  <a:cubicBezTo>
                    <a:pt x="3286" y="12284"/>
                    <a:pt x="3278" y="12282"/>
                    <a:pt x="3265" y="12279"/>
                  </a:cubicBezTo>
                  <a:cubicBezTo>
                    <a:pt x="3251" y="12275"/>
                    <a:pt x="3234" y="12271"/>
                    <a:pt x="3213" y="12267"/>
                  </a:cubicBezTo>
                  <a:lnTo>
                    <a:pt x="2923" y="12213"/>
                  </a:lnTo>
                  <a:lnTo>
                    <a:pt x="2889" y="12281"/>
                  </a:lnTo>
                  <a:lnTo>
                    <a:pt x="3263" y="12508"/>
                  </a:lnTo>
                  <a:lnTo>
                    <a:pt x="3285" y="12463"/>
                  </a:lnTo>
                  <a:lnTo>
                    <a:pt x="3018" y="12304"/>
                  </a:lnTo>
                  <a:cubicBezTo>
                    <a:pt x="3012" y="12301"/>
                    <a:pt x="3006" y="12297"/>
                    <a:pt x="2998" y="12293"/>
                  </a:cubicBezTo>
                  <a:cubicBezTo>
                    <a:pt x="2991" y="12288"/>
                    <a:pt x="2983" y="12284"/>
                    <a:pt x="2976" y="12280"/>
                  </a:cubicBezTo>
                  <a:cubicBezTo>
                    <a:pt x="2969" y="12276"/>
                    <a:pt x="2962" y="12272"/>
                    <a:pt x="2957" y="12269"/>
                  </a:cubicBezTo>
                  <a:cubicBezTo>
                    <a:pt x="2952" y="12266"/>
                    <a:pt x="2949" y="12264"/>
                    <a:pt x="2947" y="12264"/>
                  </a:cubicBezTo>
                  <a:cubicBezTo>
                    <a:pt x="2952" y="12265"/>
                    <a:pt x="2961" y="12267"/>
                    <a:pt x="2975" y="12269"/>
                  </a:cubicBezTo>
                  <a:cubicBezTo>
                    <a:pt x="2990" y="12273"/>
                    <a:pt x="3008" y="12276"/>
                    <a:pt x="3030" y="12280"/>
                  </a:cubicBezTo>
                  <a:lnTo>
                    <a:pt x="3346" y="12339"/>
                  </a:lnTo>
                  <a:lnTo>
                    <a:pt x="3365" y="12300"/>
                  </a:lnTo>
                  <a:lnTo>
                    <a:pt x="3115" y="12072"/>
                  </a:lnTo>
                  <a:cubicBezTo>
                    <a:pt x="3110" y="12068"/>
                    <a:pt x="3104" y="12063"/>
                    <a:pt x="3098" y="12058"/>
                  </a:cubicBezTo>
                  <a:cubicBezTo>
                    <a:pt x="3092" y="12053"/>
                    <a:pt x="3087" y="12048"/>
                    <a:pt x="3081" y="12044"/>
                  </a:cubicBezTo>
                  <a:cubicBezTo>
                    <a:pt x="3076" y="12039"/>
                    <a:pt x="3072" y="12036"/>
                    <a:pt x="3068" y="12033"/>
                  </a:cubicBezTo>
                  <a:cubicBezTo>
                    <a:pt x="3064" y="12030"/>
                    <a:pt x="3062" y="12028"/>
                    <a:pt x="3061" y="12027"/>
                  </a:cubicBezTo>
                  <a:cubicBezTo>
                    <a:pt x="3062" y="12027"/>
                    <a:pt x="3065" y="12029"/>
                    <a:pt x="3070" y="12031"/>
                  </a:cubicBezTo>
                  <a:cubicBezTo>
                    <a:pt x="3074" y="12033"/>
                    <a:pt x="3080" y="12035"/>
                    <a:pt x="3087" y="12038"/>
                  </a:cubicBezTo>
                  <a:cubicBezTo>
                    <a:pt x="3093" y="12041"/>
                    <a:pt x="3101" y="12044"/>
                    <a:pt x="3108" y="12048"/>
                  </a:cubicBezTo>
                  <a:cubicBezTo>
                    <a:pt x="3116" y="12051"/>
                    <a:pt x="3123" y="12054"/>
                    <a:pt x="3129" y="12057"/>
                  </a:cubicBezTo>
                  <a:lnTo>
                    <a:pt x="3427" y="12175"/>
                  </a:lnTo>
                  <a:lnTo>
                    <a:pt x="3450" y="12128"/>
                  </a:lnTo>
                  <a:close/>
                  <a:moveTo>
                    <a:pt x="3469" y="11716"/>
                  </a:moveTo>
                  <a:cubicBezTo>
                    <a:pt x="3455" y="11715"/>
                    <a:pt x="3441" y="11716"/>
                    <a:pt x="3428" y="11719"/>
                  </a:cubicBezTo>
                  <a:cubicBezTo>
                    <a:pt x="3415" y="11723"/>
                    <a:pt x="3403" y="11728"/>
                    <a:pt x="3392" y="11735"/>
                  </a:cubicBezTo>
                  <a:cubicBezTo>
                    <a:pt x="3381" y="11743"/>
                    <a:pt x="3369" y="11754"/>
                    <a:pt x="3355" y="11769"/>
                  </a:cubicBezTo>
                  <a:lnTo>
                    <a:pt x="3318" y="11807"/>
                  </a:lnTo>
                  <a:cubicBezTo>
                    <a:pt x="3299" y="11826"/>
                    <a:pt x="3283" y="11839"/>
                    <a:pt x="3268" y="11844"/>
                  </a:cubicBezTo>
                  <a:cubicBezTo>
                    <a:pt x="3254" y="11849"/>
                    <a:pt x="3239" y="11848"/>
                    <a:pt x="3223" y="11840"/>
                  </a:cubicBezTo>
                  <a:cubicBezTo>
                    <a:pt x="3202" y="11830"/>
                    <a:pt x="3190" y="11816"/>
                    <a:pt x="3185" y="11797"/>
                  </a:cubicBezTo>
                  <a:cubicBezTo>
                    <a:pt x="3181" y="11777"/>
                    <a:pt x="3184" y="11755"/>
                    <a:pt x="3197" y="11731"/>
                  </a:cubicBezTo>
                  <a:cubicBezTo>
                    <a:pt x="3201" y="11722"/>
                    <a:pt x="3205" y="11715"/>
                    <a:pt x="3210" y="11708"/>
                  </a:cubicBezTo>
                  <a:cubicBezTo>
                    <a:pt x="3215" y="11701"/>
                    <a:pt x="3220" y="11695"/>
                    <a:pt x="3227" y="11688"/>
                  </a:cubicBezTo>
                  <a:cubicBezTo>
                    <a:pt x="3233" y="11682"/>
                    <a:pt x="3240" y="11676"/>
                    <a:pt x="3248" y="11670"/>
                  </a:cubicBezTo>
                  <a:cubicBezTo>
                    <a:pt x="3256" y="11664"/>
                    <a:pt x="3266" y="11658"/>
                    <a:pt x="3277" y="11652"/>
                  </a:cubicBezTo>
                  <a:lnTo>
                    <a:pt x="3253" y="11615"/>
                  </a:lnTo>
                  <a:cubicBezTo>
                    <a:pt x="3210" y="11640"/>
                    <a:pt x="3178" y="11673"/>
                    <a:pt x="3157" y="11714"/>
                  </a:cubicBezTo>
                  <a:cubicBezTo>
                    <a:pt x="3148" y="11733"/>
                    <a:pt x="3142" y="11752"/>
                    <a:pt x="3140" y="11770"/>
                  </a:cubicBezTo>
                  <a:cubicBezTo>
                    <a:pt x="3138" y="11788"/>
                    <a:pt x="3139" y="11805"/>
                    <a:pt x="3144" y="11821"/>
                  </a:cubicBezTo>
                  <a:cubicBezTo>
                    <a:pt x="3148" y="11837"/>
                    <a:pt x="3156" y="11852"/>
                    <a:pt x="3166" y="11864"/>
                  </a:cubicBezTo>
                  <a:cubicBezTo>
                    <a:pt x="3177" y="11877"/>
                    <a:pt x="3191" y="11888"/>
                    <a:pt x="3207" y="11896"/>
                  </a:cubicBezTo>
                  <a:cubicBezTo>
                    <a:pt x="3232" y="11908"/>
                    <a:pt x="3258" y="11910"/>
                    <a:pt x="3283" y="11903"/>
                  </a:cubicBezTo>
                  <a:cubicBezTo>
                    <a:pt x="3295" y="11899"/>
                    <a:pt x="3306" y="11893"/>
                    <a:pt x="3316" y="11885"/>
                  </a:cubicBezTo>
                  <a:cubicBezTo>
                    <a:pt x="3326" y="11877"/>
                    <a:pt x="3338" y="11866"/>
                    <a:pt x="3352" y="11850"/>
                  </a:cubicBezTo>
                  <a:lnTo>
                    <a:pt x="3384" y="11817"/>
                  </a:lnTo>
                  <a:cubicBezTo>
                    <a:pt x="3421" y="11777"/>
                    <a:pt x="3456" y="11766"/>
                    <a:pt x="3491" y="11783"/>
                  </a:cubicBezTo>
                  <a:cubicBezTo>
                    <a:pt x="3514" y="11794"/>
                    <a:pt x="3528" y="11813"/>
                    <a:pt x="3533" y="11838"/>
                  </a:cubicBezTo>
                  <a:cubicBezTo>
                    <a:pt x="3535" y="11850"/>
                    <a:pt x="3536" y="11861"/>
                    <a:pt x="3534" y="11871"/>
                  </a:cubicBezTo>
                  <a:cubicBezTo>
                    <a:pt x="3531" y="11881"/>
                    <a:pt x="3527" y="11894"/>
                    <a:pt x="3520" y="11909"/>
                  </a:cubicBezTo>
                  <a:cubicBezTo>
                    <a:pt x="3510" y="11928"/>
                    <a:pt x="3498" y="11945"/>
                    <a:pt x="3485" y="11960"/>
                  </a:cubicBezTo>
                  <a:cubicBezTo>
                    <a:pt x="3471" y="11974"/>
                    <a:pt x="3454" y="11986"/>
                    <a:pt x="3434" y="11997"/>
                  </a:cubicBezTo>
                  <a:lnTo>
                    <a:pt x="3461" y="12035"/>
                  </a:lnTo>
                  <a:cubicBezTo>
                    <a:pt x="3482" y="12022"/>
                    <a:pt x="3501" y="12007"/>
                    <a:pt x="3517" y="11989"/>
                  </a:cubicBezTo>
                  <a:cubicBezTo>
                    <a:pt x="3532" y="11971"/>
                    <a:pt x="3546" y="11951"/>
                    <a:pt x="3558" y="11927"/>
                  </a:cubicBezTo>
                  <a:cubicBezTo>
                    <a:pt x="3567" y="11909"/>
                    <a:pt x="3573" y="11892"/>
                    <a:pt x="3576" y="11877"/>
                  </a:cubicBezTo>
                  <a:cubicBezTo>
                    <a:pt x="3579" y="11861"/>
                    <a:pt x="3579" y="11845"/>
                    <a:pt x="3577" y="11828"/>
                  </a:cubicBezTo>
                  <a:cubicBezTo>
                    <a:pt x="3575" y="11805"/>
                    <a:pt x="3567" y="11785"/>
                    <a:pt x="3555" y="11767"/>
                  </a:cubicBezTo>
                  <a:cubicBezTo>
                    <a:pt x="3543" y="11750"/>
                    <a:pt x="3528" y="11736"/>
                    <a:pt x="3510" y="11728"/>
                  </a:cubicBezTo>
                  <a:cubicBezTo>
                    <a:pt x="3497" y="11722"/>
                    <a:pt x="3484" y="11718"/>
                    <a:pt x="3469" y="11716"/>
                  </a:cubicBezTo>
                  <a:close/>
                  <a:moveTo>
                    <a:pt x="3584" y="11526"/>
                  </a:moveTo>
                  <a:lnTo>
                    <a:pt x="3541" y="11505"/>
                  </a:lnTo>
                  <a:lnTo>
                    <a:pt x="3487" y="11614"/>
                  </a:lnTo>
                  <a:lnTo>
                    <a:pt x="3530" y="11635"/>
                  </a:lnTo>
                  <a:lnTo>
                    <a:pt x="3584" y="11526"/>
                  </a:lnTo>
                  <a:close/>
                  <a:moveTo>
                    <a:pt x="3500" y="11039"/>
                  </a:moveTo>
                  <a:lnTo>
                    <a:pt x="3478" y="11085"/>
                  </a:lnTo>
                  <a:lnTo>
                    <a:pt x="3750" y="11219"/>
                  </a:lnTo>
                  <a:cubicBezTo>
                    <a:pt x="3763" y="11226"/>
                    <a:pt x="3774" y="11232"/>
                    <a:pt x="3782" y="11238"/>
                  </a:cubicBezTo>
                  <a:cubicBezTo>
                    <a:pt x="3791" y="11245"/>
                    <a:pt x="3798" y="11253"/>
                    <a:pt x="3804" y="11264"/>
                  </a:cubicBezTo>
                  <a:cubicBezTo>
                    <a:pt x="3809" y="11274"/>
                    <a:pt x="3810" y="11286"/>
                    <a:pt x="3809" y="11300"/>
                  </a:cubicBezTo>
                  <a:cubicBezTo>
                    <a:pt x="3807" y="11313"/>
                    <a:pt x="3802" y="11329"/>
                    <a:pt x="3794" y="11345"/>
                  </a:cubicBezTo>
                  <a:cubicBezTo>
                    <a:pt x="3788" y="11357"/>
                    <a:pt x="3782" y="11367"/>
                    <a:pt x="3775" y="11375"/>
                  </a:cubicBezTo>
                  <a:cubicBezTo>
                    <a:pt x="3769" y="11382"/>
                    <a:pt x="3762" y="11388"/>
                    <a:pt x="3755" y="11392"/>
                  </a:cubicBezTo>
                  <a:cubicBezTo>
                    <a:pt x="3748" y="11396"/>
                    <a:pt x="3742" y="11399"/>
                    <a:pt x="3736" y="11401"/>
                  </a:cubicBezTo>
                  <a:cubicBezTo>
                    <a:pt x="3729" y="11402"/>
                    <a:pt x="3724" y="11403"/>
                    <a:pt x="3718" y="11402"/>
                  </a:cubicBezTo>
                  <a:cubicBezTo>
                    <a:pt x="3711" y="11402"/>
                    <a:pt x="3702" y="11400"/>
                    <a:pt x="3690" y="11395"/>
                  </a:cubicBezTo>
                  <a:cubicBezTo>
                    <a:pt x="3679" y="11391"/>
                    <a:pt x="3668" y="11386"/>
                    <a:pt x="3659" y="11382"/>
                  </a:cubicBezTo>
                  <a:lnTo>
                    <a:pt x="3395" y="11252"/>
                  </a:lnTo>
                  <a:lnTo>
                    <a:pt x="3373" y="11298"/>
                  </a:lnTo>
                  <a:lnTo>
                    <a:pt x="3653" y="11436"/>
                  </a:lnTo>
                  <a:cubicBezTo>
                    <a:pt x="3662" y="11440"/>
                    <a:pt x="3672" y="11445"/>
                    <a:pt x="3684" y="11449"/>
                  </a:cubicBezTo>
                  <a:cubicBezTo>
                    <a:pt x="3695" y="11453"/>
                    <a:pt x="3707" y="11455"/>
                    <a:pt x="3720" y="11455"/>
                  </a:cubicBezTo>
                  <a:cubicBezTo>
                    <a:pt x="3744" y="11454"/>
                    <a:pt x="3765" y="11446"/>
                    <a:pt x="3783" y="11433"/>
                  </a:cubicBezTo>
                  <a:cubicBezTo>
                    <a:pt x="3801" y="11419"/>
                    <a:pt x="3818" y="11397"/>
                    <a:pt x="3833" y="11367"/>
                  </a:cubicBezTo>
                  <a:cubicBezTo>
                    <a:pt x="3845" y="11343"/>
                    <a:pt x="3852" y="11322"/>
                    <a:pt x="3855" y="11303"/>
                  </a:cubicBezTo>
                  <a:cubicBezTo>
                    <a:pt x="3858" y="11284"/>
                    <a:pt x="3857" y="11267"/>
                    <a:pt x="3853" y="11249"/>
                  </a:cubicBezTo>
                  <a:cubicBezTo>
                    <a:pt x="3849" y="11233"/>
                    <a:pt x="3841" y="11219"/>
                    <a:pt x="3830" y="11209"/>
                  </a:cubicBezTo>
                  <a:cubicBezTo>
                    <a:pt x="3819" y="11198"/>
                    <a:pt x="3802" y="11187"/>
                    <a:pt x="3778" y="11176"/>
                  </a:cubicBezTo>
                  <a:lnTo>
                    <a:pt x="3500" y="11039"/>
                  </a:lnTo>
                  <a:close/>
                  <a:moveTo>
                    <a:pt x="4074" y="10859"/>
                  </a:moveTo>
                  <a:lnTo>
                    <a:pt x="3684" y="10666"/>
                  </a:lnTo>
                  <a:lnTo>
                    <a:pt x="3661" y="10712"/>
                  </a:lnTo>
                  <a:lnTo>
                    <a:pt x="3874" y="10815"/>
                  </a:lnTo>
                  <a:cubicBezTo>
                    <a:pt x="3888" y="10822"/>
                    <a:pt x="3902" y="10829"/>
                    <a:pt x="3917" y="10835"/>
                  </a:cubicBezTo>
                  <a:cubicBezTo>
                    <a:pt x="3931" y="10842"/>
                    <a:pt x="3944" y="10847"/>
                    <a:pt x="3956" y="10852"/>
                  </a:cubicBezTo>
                  <a:cubicBezTo>
                    <a:pt x="3967" y="10857"/>
                    <a:pt x="3976" y="10861"/>
                    <a:pt x="3984" y="10864"/>
                  </a:cubicBezTo>
                  <a:cubicBezTo>
                    <a:pt x="3991" y="10867"/>
                    <a:pt x="3995" y="10869"/>
                    <a:pt x="3996" y="10869"/>
                  </a:cubicBezTo>
                  <a:cubicBezTo>
                    <a:pt x="3994" y="10869"/>
                    <a:pt x="3991" y="10868"/>
                    <a:pt x="3985" y="10868"/>
                  </a:cubicBezTo>
                  <a:cubicBezTo>
                    <a:pt x="3978" y="10867"/>
                    <a:pt x="3971" y="10867"/>
                    <a:pt x="3962" y="10866"/>
                  </a:cubicBezTo>
                  <a:cubicBezTo>
                    <a:pt x="3952" y="10866"/>
                    <a:pt x="3942" y="10865"/>
                    <a:pt x="3930" y="10865"/>
                  </a:cubicBezTo>
                  <a:cubicBezTo>
                    <a:pt x="3919" y="10864"/>
                    <a:pt x="3907" y="10864"/>
                    <a:pt x="3896" y="10865"/>
                  </a:cubicBezTo>
                  <a:lnTo>
                    <a:pt x="3582" y="10872"/>
                  </a:lnTo>
                  <a:lnTo>
                    <a:pt x="3556" y="10926"/>
                  </a:lnTo>
                  <a:lnTo>
                    <a:pt x="3947" y="11118"/>
                  </a:lnTo>
                  <a:lnTo>
                    <a:pt x="3970" y="11070"/>
                  </a:lnTo>
                  <a:lnTo>
                    <a:pt x="3743" y="10961"/>
                  </a:lnTo>
                  <a:cubicBezTo>
                    <a:pt x="3731" y="10955"/>
                    <a:pt x="3720" y="10950"/>
                    <a:pt x="3708" y="10945"/>
                  </a:cubicBezTo>
                  <a:cubicBezTo>
                    <a:pt x="3696" y="10940"/>
                    <a:pt x="3685" y="10935"/>
                    <a:pt x="3675" y="10931"/>
                  </a:cubicBezTo>
                  <a:cubicBezTo>
                    <a:pt x="3665" y="10927"/>
                    <a:pt x="3657" y="10923"/>
                    <a:pt x="3649" y="10920"/>
                  </a:cubicBezTo>
                  <a:cubicBezTo>
                    <a:pt x="3642" y="10917"/>
                    <a:pt x="3637" y="10915"/>
                    <a:pt x="3634" y="10914"/>
                  </a:cubicBezTo>
                  <a:cubicBezTo>
                    <a:pt x="3638" y="10914"/>
                    <a:pt x="3644" y="10915"/>
                    <a:pt x="3651" y="10915"/>
                  </a:cubicBezTo>
                  <a:cubicBezTo>
                    <a:pt x="3658" y="10915"/>
                    <a:pt x="3667" y="10916"/>
                    <a:pt x="3677" y="10916"/>
                  </a:cubicBezTo>
                  <a:cubicBezTo>
                    <a:pt x="3687" y="10916"/>
                    <a:pt x="3699" y="10916"/>
                    <a:pt x="3711" y="10916"/>
                  </a:cubicBezTo>
                  <a:cubicBezTo>
                    <a:pt x="3723" y="10916"/>
                    <a:pt x="3736" y="10916"/>
                    <a:pt x="3749" y="10915"/>
                  </a:cubicBezTo>
                  <a:lnTo>
                    <a:pt x="4050" y="10908"/>
                  </a:lnTo>
                  <a:lnTo>
                    <a:pt x="4074" y="10859"/>
                  </a:lnTo>
                  <a:close/>
                  <a:moveTo>
                    <a:pt x="4153" y="10699"/>
                  </a:moveTo>
                  <a:lnTo>
                    <a:pt x="3762" y="10506"/>
                  </a:lnTo>
                  <a:lnTo>
                    <a:pt x="3740" y="10552"/>
                  </a:lnTo>
                  <a:lnTo>
                    <a:pt x="4131" y="10744"/>
                  </a:lnTo>
                  <a:lnTo>
                    <a:pt x="4153" y="10699"/>
                  </a:lnTo>
                  <a:close/>
                  <a:moveTo>
                    <a:pt x="3953" y="10119"/>
                  </a:moveTo>
                  <a:lnTo>
                    <a:pt x="3929" y="10167"/>
                  </a:lnTo>
                  <a:lnTo>
                    <a:pt x="4146" y="10377"/>
                  </a:lnTo>
                  <a:cubicBezTo>
                    <a:pt x="4164" y="10395"/>
                    <a:pt x="4179" y="10409"/>
                    <a:pt x="4191" y="10420"/>
                  </a:cubicBezTo>
                  <a:cubicBezTo>
                    <a:pt x="4203" y="10431"/>
                    <a:pt x="4211" y="10438"/>
                    <a:pt x="4215" y="10441"/>
                  </a:cubicBezTo>
                  <a:cubicBezTo>
                    <a:pt x="4212" y="10441"/>
                    <a:pt x="4208" y="10439"/>
                    <a:pt x="4201" y="10437"/>
                  </a:cubicBezTo>
                  <a:cubicBezTo>
                    <a:pt x="4194" y="10436"/>
                    <a:pt x="4186" y="10434"/>
                    <a:pt x="4176" y="10432"/>
                  </a:cubicBezTo>
                  <a:cubicBezTo>
                    <a:pt x="4167" y="10430"/>
                    <a:pt x="4158" y="10428"/>
                    <a:pt x="4147" y="10426"/>
                  </a:cubicBezTo>
                  <a:cubicBezTo>
                    <a:pt x="4137" y="10425"/>
                    <a:pt x="4127" y="10423"/>
                    <a:pt x="4117" y="10421"/>
                  </a:cubicBezTo>
                  <a:lnTo>
                    <a:pt x="3824" y="10380"/>
                  </a:lnTo>
                  <a:lnTo>
                    <a:pt x="3799" y="10431"/>
                  </a:lnTo>
                  <a:lnTo>
                    <a:pt x="4255" y="10491"/>
                  </a:lnTo>
                  <a:lnTo>
                    <a:pt x="4278" y="10445"/>
                  </a:lnTo>
                  <a:lnTo>
                    <a:pt x="3953" y="10119"/>
                  </a:lnTo>
                  <a:close/>
                  <a:moveTo>
                    <a:pt x="4489" y="10016"/>
                  </a:moveTo>
                  <a:lnTo>
                    <a:pt x="4448" y="9997"/>
                  </a:lnTo>
                  <a:lnTo>
                    <a:pt x="4364" y="10169"/>
                  </a:lnTo>
                  <a:lnTo>
                    <a:pt x="4221" y="10098"/>
                  </a:lnTo>
                  <a:lnTo>
                    <a:pt x="4287" y="9964"/>
                  </a:lnTo>
                  <a:lnTo>
                    <a:pt x="4246" y="9944"/>
                  </a:lnTo>
                  <a:lnTo>
                    <a:pt x="4180" y="10078"/>
                  </a:lnTo>
                  <a:lnTo>
                    <a:pt x="4052" y="10015"/>
                  </a:lnTo>
                  <a:lnTo>
                    <a:pt x="4131" y="9855"/>
                  </a:lnTo>
                  <a:lnTo>
                    <a:pt x="4095" y="9830"/>
                  </a:lnTo>
                  <a:lnTo>
                    <a:pt x="3990" y="10043"/>
                  </a:lnTo>
                  <a:lnTo>
                    <a:pt x="4381" y="10236"/>
                  </a:lnTo>
                  <a:lnTo>
                    <a:pt x="4489" y="10016"/>
                  </a:lnTo>
                  <a:close/>
                  <a:moveTo>
                    <a:pt x="4652" y="9685"/>
                  </a:moveTo>
                  <a:lnTo>
                    <a:pt x="4615" y="9690"/>
                  </a:lnTo>
                  <a:cubicBezTo>
                    <a:pt x="4599" y="9692"/>
                    <a:pt x="4581" y="9695"/>
                    <a:pt x="4562" y="9697"/>
                  </a:cubicBezTo>
                  <a:cubicBezTo>
                    <a:pt x="4544" y="9700"/>
                    <a:pt x="4526" y="9702"/>
                    <a:pt x="4510" y="9705"/>
                  </a:cubicBezTo>
                  <a:cubicBezTo>
                    <a:pt x="4493" y="9707"/>
                    <a:pt x="4481" y="9709"/>
                    <a:pt x="4475" y="9710"/>
                  </a:cubicBezTo>
                  <a:cubicBezTo>
                    <a:pt x="4465" y="9712"/>
                    <a:pt x="4454" y="9714"/>
                    <a:pt x="4442" y="9717"/>
                  </a:cubicBezTo>
                  <a:cubicBezTo>
                    <a:pt x="4430" y="9720"/>
                    <a:pt x="4420" y="9724"/>
                    <a:pt x="4411" y="9728"/>
                  </a:cubicBezTo>
                  <a:lnTo>
                    <a:pt x="4414" y="9722"/>
                  </a:lnTo>
                  <a:cubicBezTo>
                    <a:pt x="4422" y="9707"/>
                    <a:pt x="4426" y="9691"/>
                    <a:pt x="4427" y="9676"/>
                  </a:cubicBezTo>
                  <a:cubicBezTo>
                    <a:pt x="4429" y="9661"/>
                    <a:pt x="4427" y="9646"/>
                    <a:pt x="4422" y="9632"/>
                  </a:cubicBezTo>
                  <a:cubicBezTo>
                    <a:pt x="4417" y="9619"/>
                    <a:pt x="4409" y="9606"/>
                    <a:pt x="4398" y="9595"/>
                  </a:cubicBezTo>
                  <a:cubicBezTo>
                    <a:pt x="4388" y="9583"/>
                    <a:pt x="4374" y="9574"/>
                    <a:pt x="4358" y="9566"/>
                  </a:cubicBezTo>
                  <a:cubicBezTo>
                    <a:pt x="4348" y="9561"/>
                    <a:pt x="4338" y="9557"/>
                    <a:pt x="4328" y="9556"/>
                  </a:cubicBezTo>
                  <a:cubicBezTo>
                    <a:pt x="4318" y="9554"/>
                    <a:pt x="4309" y="9553"/>
                    <a:pt x="4301" y="9553"/>
                  </a:cubicBezTo>
                  <a:cubicBezTo>
                    <a:pt x="4292" y="9554"/>
                    <a:pt x="4284" y="9555"/>
                    <a:pt x="4277" y="9557"/>
                  </a:cubicBezTo>
                  <a:cubicBezTo>
                    <a:pt x="4269" y="9559"/>
                    <a:pt x="4263" y="9561"/>
                    <a:pt x="4257" y="9564"/>
                  </a:cubicBezTo>
                  <a:cubicBezTo>
                    <a:pt x="4251" y="9567"/>
                    <a:pt x="4245" y="9570"/>
                    <a:pt x="4239" y="9575"/>
                  </a:cubicBezTo>
                  <a:cubicBezTo>
                    <a:pt x="4233" y="9579"/>
                    <a:pt x="4227" y="9585"/>
                    <a:pt x="4221" y="9591"/>
                  </a:cubicBezTo>
                  <a:cubicBezTo>
                    <a:pt x="4215" y="9598"/>
                    <a:pt x="4209" y="9606"/>
                    <a:pt x="4203" y="9616"/>
                  </a:cubicBezTo>
                  <a:cubicBezTo>
                    <a:pt x="4196" y="9626"/>
                    <a:pt x="4190" y="9637"/>
                    <a:pt x="4183" y="9650"/>
                  </a:cubicBezTo>
                  <a:lnTo>
                    <a:pt x="4139" y="9741"/>
                  </a:lnTo>
                  <a:lnTo>
                    <a:pt x="4529" y="9934"/>
                  </a:lnTo>
                  <a:lnTo>
                    <a:pt x="4552" y="9888"/>
                  </a:lnTo>
                  <a:lnTo>
                    <a:pt x="4375" y="9801"/>
                  </a:lnTo>
                  <a:cubicBezTo>
                    <a:pt x="4381" y="9792"/>
                    <a:pt x="4386" y="9785"/>
                    <a:pt x="4392" y="9780"/>
                  </a:cubicBezTo>
                  <a:cubicBezTo>
                    <a:pt x="4399" y="9776"/>
                    <a:pt x="4409" y="9772"/>
                    <a:pt x="4422" y="9769"/>
                  </a:cubicBezTo>
                  <a:cubicBezTo>
                    <a:pt x="4445" y="9765"/>
                    <a:pt x="4467" y="9760"/>
                    <a:pt x="4488" y="9757"/>
                  </a:cubicBezTo>
                  <a:cubicBezTo>
                    <a:pt x="4509" y="9754"/>
                    <a:pt x="4528" y="9751"/>
                    <a:pt x="4545" y="9749"/>
                  </a:cubicBezTo>
                  <a:cubicBezTo>
                    <a:pt x="4563" y="9747"/>
                    <a:pt x="4578" y="9745"/>
                    <a:pt x="4591" y="9745"/>
                  </a:cubicBezTo>
                  <a:cubicBezTo>
                    <a:pt x="4604" y="9744"/>
                    <a:pt x="4615" y="9744"/>
                    <a:pt x="4623" y="9744"/>
                  </a:cubicBezTo>
                  <a:lnTo>
                    <a:pt x="4652" y="9685"/>
                  </a:lnTo>
                  <a:close/>
                  <a:moveTo>
                    <a:pt x="4365" y="9636"/>
                  </a:moveTo>
                  <a:cubicBezTo>
                    <a:pt x="4374" y="9645"/>
                    <a:pt x="4379" y="9654"/>
                    <a:pt x="4382" y="9663"/>
                  </a:cubicBezTo>
                  <a:cubicBezTo>
                    <a:pt x="4385" y="9674"/>
                    <a:pt x="4386" y="9686"/>
                    <a:pt x="4384" y="9699"/>
                  </a:cubicBezTo>
                  <a:cubicBezTo>
                    <a:pt x="4382" y="9711"/>
                    <a:pt x="4376" y="9726"/>
                    <a:pt x="4368" y="9744"/>
                  </a:cubicBezTo>
                  <a:lnTo>
                    <a:pt x="4346" y="9787"/>
                  </a:lnTo>
                  <a:lnTo>
                    <a:pt x="4200" y="9715"/>
                  </a:lnTo>
                  <a:lnTo>
                    <a:pt x="4223" y="9668"/>
                  </a:lnTo>
                  <a:cubicBezTo>
                    <a:pt x="4229" y="9658"/>
                    <a:pt x="4234" y="9649"/>
                    <a:pt x="4239" y="9642"/>
                  </a:cubicBezTo>
                  <a:cubicBezTo>
                    <a:pt x="4244" y="9635"/>
                    <a:pt x="4250" y="9629"/>
                    <a:pt x="4255" y="9623"/>
                  </a:cubicBezTo>
                  <a:cubicBezTo>
                    <a:pt x="4265" y="9615"/>
                    <a:pt x="4278" y="9609"/>
                    <a:pt x="4292" y="9608"/>
                  </a:cubicBezTo>
                  <a:cubicBezTo>
                    <a:pt x="4307" y="9606"/>
                    <a:pt x="4321" y="9608"/>
                    <a:pt x="4333" y="9614"/>
                  </a:cubicBezTo>
                  <a:cubicBezTo>
                    <a:pt x="4346" y="9621"/>
                    <a:pt x="4357" y="9628"/>
                    <a:pt x="4365" y="9636"/>
                  </a:cubicBezTo>
                  <a:close/>
                  <a:moveTo>
                    <a:pt x="4663" y="9291"/>
                  </a:moveTo>
                  <a:cubicBezTo>
                    <a:pt x="4648" y="9290"/>
                    <a:pt x="4634" y="9291"/>
                    <a:pt x="4621" y="9294"/>
                  </a:cubicBezTo>
                  <a:cubicBezTo>
                    <a:pt x="4608" y="9298"/>
                    <a:pt x="4596" y="9303"/>
                    <a:pt x="4585" y="9311"/>
                  </a:cubicBezTo>
                  <a:cubicBezTo>
                    <a:pt x="4574" y="9318"/>
                    <a:pt x="4562" y="9329"/>
                    <a:pt x="4548" y="9344"/>
                  </a:cubicBezTo>
                  <a:lnTo>
                    <a:pt x="4512" y="9382"/>
                  </a:lnTo>
                  <a:cubicBezTo>
                    <a:pt x="4493" y="9401"/>
                    <a:pt x="4476" y="9414"/>
                    <a:pt x="4461" y="9419"/>
                  </a:cubicBezTo>
                  <a:cubicBezTo>
                    <a:pt x="4447" y="9425"/>
                    <a:pt x="4432" y="9423"/>
                    <a:pt x="4416" y="9416"/>
                  </a:cubicBezTo>
                  <a:cubicBezTo>
                    <a:pt x="4396" y="9406"/>
                    <a:pt x="4383" y="9391"/>
                    <a:pt x="4379" y="9372"/>
                  </a:cubicBezTo>
                  <a:cubicBezTo>
                    <a:pt x="4374" y="9352"/>
                    <a:pt x="4378" y="9330"/>
                    <a:pt x="4390" y="9306"/>
                  </a:cubicBezTo>
                  <a:cubicBezTo>
                    <a:pt x="4394" y="9297"/>
                    <a:pt x="4398" y="9290"/>
                    <a:pt x="4403" y="9283"/>
                  </a:cubicBezTo>
                  <a:cubicBezTo>
                    <a:pt x="4408" y="9276"/>
                    <a:pt x="4414" y="9270"/>
                    <a:pt x="4420" y="9264"/>
                  </a:cubicBezTo>
                  <a:cubicBezTo>
                    <a:pt x="4426" y="9257"/>
                    <a:pt x="4433" y="9251"/>
                    <a:pt x="4441" y="9246"/>
                  </a:cubicBezTo>
                  <a:cubicBezTo>
                    <a:pt x="4450" y="9240"/>
                    <a:pt x="4459" y="9233"/>
                    <a:pt x="4470" y="9227"/>
                  </a:cubicBezTo>
                  <a:lnTo>
                    <a:pt x="4446" y="9190"/>
                  </a:lnTo>
                  <a:cubicBezTo>
                    <a:pt x="4403" y="9215"/>
                    <a:pt x="4371" y="9248"/>
                    <a:pt x="4351" y="9289"/>
                  </a:cubicBezTo>
                  <a:cubicBezTo>
                    <a:pt x="4341" y="9308"/>
                    <a:pt x="4335" y="9327"/>
                    <a:pt x="4333" y="9345"/>
                  </a:cubicBezTo>
                  <a:cubicBezTo>
                    <a:pt x="4331" y="9363"/>
                    <a:pt x="4332" y="9381"/>
                    <a:pt x="4337" y="9396"/>
                  </a:cubicBezTo>
                  <a:cubicBezTo>
                    <a:pt x="4341" y="9412"/>
                    <a:pt x="4349" y="9427"/>
                    <a:pt x="4359" y="9439"/>
                  </a:cubicBezTo>
                  <a:cubicBezTo>
                    <a:pt x="4370" y="9452"/>
                    <a:pt x="4384" y="9463"/>
                    <a:pt x="4401" y="9471"/>
                  </a:cubicBezTo>
                  <a:cubicBezTo>
                    <a:pt x="4426" y="9483"/>
                    <a:pt x="4451" y="9486"/>
                    <a:pt x="4476" y="9478"/>
                  </a:cubicBezTo>
                  <a:cubicBezTo>
                    <a:pt x="4488" y="9474"/>
                    <a:pt x="4499" y="9468"/>
                    <a:pt x="4509" y="9460"/>
                  </a:cubicBezTo>
                  <a:cubicBezTo>
                    <a:pt x="4519" y="9452"/>
                    <a:pt x="4531" y="9441"/>
                    <a:pt x="4545" y="9425"/>
                  </a:cubicBezTo>
                  <a:lnTo>
                    <a:pt x="4577" y="9392"/>
                  </a:lnTo>
                  <a:cubicBezTo>
                    <a:pt x="4614" y="9352"/>
                    <a:pt x="4650" y="9341"/>
                    <a:pt x="4684" y="9358"/>
                  </a:cubicBezTo>
                  <a:cubicBezTo>
                    <a:pt x="4707" y="9369"/>
                    <a:pt x="4721" y="9388"/>
                    <a:pt x="4726" y="9413"/>
                  </a:cubicBezTo>
                  <a:cubicBezTo>
                    <a:pt x="4729" y="9425"/>
                    <a:pt x="4729" y="9436"/>
                    <a:pt x="4727" y="9446"/>
                  </a:cubicBezTo>
                  <a:cubicBezTo>
                    <a:pt x="4725" y="9456"/>
                    <a:pt x="4720" y="9469"/>
                    <a:pt x="4713" y="9484"/>
                  </a:cubicBezTo>
                  <a:cubicBezTo>
                    <a:pt x="4703" y="9503"/>
                    <a:pt x="4691" y="9521"/>
                    <a:pt x="4678" y="9535"/>
                  </a:cubicBezTo>
                  <a:cubicBezTo>
                    <a:pt x="4664" y="9549"/>
                    <a:pt x="4647" y="9562"/>
                    <a:pt x="4628" y="9572"/>
                  </a:cubicBezTo>
                  <a:lnTo>
                    <a:pt x="4654" y="9610"/>
                  </a:lnTo>
                  <a:cubicBezTo>
                    <a:pt x="4676" y="9597"/>
                    <a:pt x="4694" y="9582"/>
                    <a:pt x="4710" y="9564"/>
                  </a:cubicBezTo>
                  <a:cubicBezTo>
                    <a:pt x="4726" y="9547"/>
                    <a:pt x="4739" y="9526"/>
                    <a:pt x="4751" y="9503"/>
                  </a:cubicBezTo>
                  <a:cubicBezTo>
                    <a:pt x="4760" y="9484"/>
                    <a:pt x="4766" y="9467"/>
                    <a:pt x="4769" y="9452"/>
                  </a:cubicBezTo>
                  <a:cubicBezTo>
                    <a:pt x="4772" y="9436"/>
                    <a:pt x="4772" y="9420"/>
                    <a:pt x="4770" y="9403"/>
                  </a:cubicBezTo>
                  <a:cubicBezTo>
                    <a:pt x="4768" y="9380"/>
                    <a:pt x="4760" y="9360"/>
                    <a:pt x="4748" y="9342"/>
                  </a:cubicBezTo>
                  <a:cubicBezTo>
                    <a:pt x="4736" y="9325"/>
                    <a:pt x="4721" y="9312"/>
                    <a:pt x="4703" y="9303"/>
                  </a:cubicBezTo>
                  <a:cubicBezTo>
                    <a:pt x="4691" y="9297"/>
                    <a:pt x="4677" y="9293"/>
                    <a:pt x="4663" y="9291"/>
                  </a:cubicBezTo>
                  <a:close/>
                  <a:moveTo>
                    <a:pt x="4880" y="9221"/>
                  </a:moveTo>
                  <a:lnTo>
                    <a:pt x="4489" y="9029"/>
                  </a:lnTo>
                  <a:lnTo>
                    <a:pt x="4467" y="9074"/>
                  </a:lnTo>
                  <a:lnTo>
                    <a:pt x="4858" y="9267"/>
                  </a:lnTo>
                  <a:lnTo>
                    <a:pt x="4880" y="9221"/>
                  </a:lnTo>
                  <a:close/>
                  <a:moveTo>
                    <a:pt x="4655" y="8692"/>
                  </a:moveTo>
                  <a:lnTo>
                    <a:pt x="4528" y="8950"/>
                  </a:lnTo>
                  <a:lnTo>
                    <a:pt x="4567" y="8970"/>
                  </a:lnTo>
                  <a:lnTo>
                    <a:pt x="4619" y="8865"/>
                  </a:lnTo>
                  <a:lnTo>
                    <a:pt x="4970" y="9038"/>
                  </a:lnTo>
                  <a:lnTo>
                    <a:pt x="4993" y="8993"/>
                  </a:lnTo>
                  <a:lnTo>
                    <a:pt x="4641" y="8820"/>
                  </a:lnTo>
                  <a:lnTo>
                    <a:pt x="4693" y="8714"/>
                  </a:lnTo>
                  <a:lnTo>
                    <a:pt x="4655" y="8692"/>
                  </a:lnTo>
                  <a:close/>
                  <a:moveTo>
                    <a:pt x="5198" y="8575"/>
                  </a:moveTo>
                  <a:lnTo>
                    <a:pt x="4744" y="8512"/>
                  </a:lnTo>
                  <a:lnTo>
                    <a:pt x="4714" y="8573"/>
                  </a:lnTo>
                  <a:lnTo>
                    <a:pt x="5040" y="8896"/>
                  </a:lnTo>
                  <a:lnTo>
                    <a:pt x="5064" y="8848"/>
                  </a:lnTo>
                  <a:lnTo>
                    <a:pt x="4962" y="8752"/>
                  </a:lnTo>
                  <a:lnTo>
                    <a:pt x="5034" y="8606"/>
                  </a:lnTo>
                  <a:lnTo>
                    <a:pt x="5172" y="8628"/>
                  </a:lnTo>
                  <a:lnTo>
                    <a:pt x="5198" y="8575"/>
                  </a:lnTo>
                  <a:close/>
                  <a:moveTo>
                    <a:pt x="4990" y="8599"/>
                  </a:moveTo>
                  <a:lnTo>
                    <a:pt x="4930" y="8720"/>
                  </a:lnTo>
                  <a:lnTo>
                    <a:pt x="4769" y="8565"/>
                  </a:lnTo>
                  <a:lnTo>
                    <a:pt x="4990" y="8599"/>
                  </a:lnTo>
                  <a:close/>
                  <a:moveTo>
                    <a:pt x="4636" y="8543"/>
                  </a:moveTo>
                  <a:cubicBezTo>
                    <a:pt x="4627" y="8546"/>
                    <a:pt x="4621" y="8551"/>
                    <a:pt x="4617" y="8560"/>
                  </a:cubicBezTo>
                  <a:cubicBezTo>
                    <a:pt x="4613" y="8568"/>
                    <a:pt x="4612" y="8576"/>
                    <a:pt x="4615" y="8585"/>
                  </a:cubicBezTo>
                  <a:cubicBezTo>
                    <a:pt x="4618" y="8593"/>
                    <a:pt x="4624" y="8599"/>
                    <a:pt x="4632" y="8603"/>
                  </a:cubicBezTo>
                  <a:cubicBezTo>
                    <a:pt x="4640" y="8607"/>
                    <a:pt x="4648" y="8608"/>
                    <a:pt x="4657" y="8605"/>
                  </a:cubicBezTo>
                  <a:cubicBezTo>
                    <a:pt x="4666" y="8602"/>
                    <a:pt x="4672" y="8597"/>
                    <a:pt x="4676" y="8588"/>
                  </a:cubicBezTo>
                  <a:cubicBezTo>
                    <a:pt x="4680" y="8580"/>
                    <a:pt x="4681" y="8572"/>
                    <a:pt x="4678" y="8563"/>
                  </a:cubicBezTo>
                  <a:cubicBezTo>
                    <a:pt x="4675" y="8555"/>
                    <a:pt x="4669" y="8549"/>
                    <a:pt x="4660" y="8545"/>
                  </a:cubicBezTo>
                  <a:cubicBezTo>
                    <a:pt x="4652" y="8541"/>
                    <a:pt x="4644" y="8540"/>
                    <a:pt x="4636" y="8543"/>
                  </a:cubicBezTo>
                  <a:close/>
                  <a:moveTo>
                    <a:pt x="4693" y="8426"/>
                  </a:moveTo>
                  <a:cubicBezTo>
                    <a:pt x="4685" y="8428"/>
                    <a:pt x="4679" y="8434"/>
                    <a:pt x="4674" y="8442"/>
                  </a:cubicBezTo>
                  <a:cubicBezTo>
                    <a:pt x="4671" y="8450"/>
                    <a:pt x="4670" y="8459"/>
                    <a:pt x="4673" y="8467"/>
                  </a:cubicBezTo>
                  <a:cubicBezTo>
                    <a:pt x="4676" y="8476"/>
                    <a:pt x="4681" y="8482"/>
                    <a:pt x="4689" y="8486"/>
                  </a:cubicBezTo>
                  <a:cubicBezTo>
                    <a:pt x="4698" y="8490"/>
                    <a:pt x="4706" y="8491"/>
                    <a:pt x="4715" y="8488"/>
                  </a:cubicBezTo>
                  <a:cubicBezTo>
                    <a:pt x="4724" y="8485"/>
                    <a:pt x="4730" y="8479"/>
                    <a:pt x="4734" y="8471"/>
                  </a:cubicBezTo>
                  <a:cubicBezTo>
                    <a:pt x="4738" y="8463"/>
                    <a:pt x="4739" y="8454"/>
                    <a:pt x="4735" y="8446"/>
                  </a:cubicBezTo>
                  <a:cubicBezTo>
                    <a:pt x="4732" y="8438"/>
                    <a:pt x="4726" y="8431"/>
                    <a:pt x="4718" y="8427"/>
                  </a:cubicBezTo>
                  <a:cubicBezTo>
                    <a:pt x="4710" y="8423"/>
                    <a:pt x="4702" y="8423"/>
                    <a:pt x="4693" y="8426"/>
                  </a:cubicBezTo>
                  <a:close/>
                  <a:moveTo>
                    <a:pt x="4935" y="8123"/>
                  </a:moveTo>
                  <a:lnTo>
                    <a:pt x="4808" y="8381"/>
                  </a:lnTo>
                  <a:lnTo>
                    <a:pt x="4847" y="8401"/>
                  </a:lnTo>
                  <a:lnTo>
                    <a:pt x="4899" y="8296"/>
                  </a:lnTo>
                  <a:lnTo>
                    <a:pt x="5250" y="8469"/>
                  </a:lnTo>
                  <a:lnTo>
                    <a:pt x="5273" y="8424"/>
                  </a:lnTo>
                  <a:lnTo>
                    <a:pt x="4921" y="8251"/>
                  </a:lnTo>
                  <a:lnTo>
                    <a:pt x="4973" y="8145"/>
                  </a:lnTo>
                  <a:lnTo>
                    <a:pt x="4935" y="8123"/>
                  </a:lnTo>
                  <a:close/>
                  <a:moveTo>
                    <a:pt x="5601" y="7756"/>
                  </a:moveTo>
                  <a:lnTo>
                    <a:pt x="5194" y="7597"/>
                  </a:lnTo>
                  <a:lnTo>
                    <a:pt x="5160" y="7666"/>
                  </a:lnTo>
                  <a:lnTo>
                    <a:pt x="5383" y="7868"/>
                  </a:lnTo>
                  <a:cubicBezTo>
                    <a:pt x="5397" y="7879"/>
                    <a:pt x="5409" y="7890"/>
                    <a:pt x="5421" y="7898"/>
                  </a:cubicBezTo>
                  <a:cubicBezTo>
                    <a:pt x="5432" y="7907"/>
                    <a:pt x="5438" y="7912"/>
                    <a:pt x="5440" y="7913"/>
                  </a:cubicBezTo>
                  <a:cubicBezTo>
                    <a:pt x="5438" y="7912"/>
                    <a:pt x="5430" y="7910"/>
                    <a:pt x="5416" y="7907"/>
                  </a:cubicBezTo>
                  <a:cubicBezTo>
                    <a:pt x="5402" y="7903"/>
                    <a:pt x="5385" y="7899"/>
                    <a:pt x="5364" y="7895"/>
                  </a:cubicBezTo>
                  <a:lnTo>
                    <a:pt x="5074" y="7841"/>
                  </a:lnTo>
                  <a:lnTo>
                    <a:pt x="5040" y="7909"/>
                  </a:lnTo>
                  <a:lnTo>
                    <a:pt x="5414" y="8135"/>
                  </a:lnTo>
                  <a:lnTo>
                    <a:pt x="5437" y="8090"/>
                  </a:lnTo>
                  <a:lnTo>
                    <a:pt x="5169" y="7932"/>
                  </a:lnTo>
                  <a:cubicBezTo>
                    <a:pt x="5164" y="7929"/>
                    <a:pt x="5157" y="7925"/>
                    <a:pt x="5150" y="7921"/>
                  </a:cubicBezTo>
                  <a:cubicBezTo>
                    <a:pt x="5142" y="7916"/>
                    <a:pt x="5135" y="7912"/>
                    <a:pt x="5127" y="7908"/>
                  </a:cubicBezTo>
                  <a:cubicBezTo>
                    <a:pt x="5120" y="7904"/>
                    <a:pt x="5113" y="7900"/>
                    <a:pt x="5108" y="7897"/>
                  </a:cubicBezTo>
                  <a:cubicBezTo>
                    <a:pt x="5103" y="7894"/>
                    <a:pt x="5100" y="7892"/>
                    <a:pt x="5098" y="7892"/>
                  </a:cubicBezTo>
                  <a:cubicBezTo>
                    <a:pt x="5103" y="7893"/>
                    <a:pt x="5112" y="7895"/>
                    <a:pt x="5126" y="7897"/>
                  </a:cubicBezTo>
                  <a:cubicBezTo>
                    <a:pt x="5141" y="7900"/>
                    <a:pt x="5159" y="7904"/>
                    <a:pt x="5181" y="7908"/>
                  </a:cubicBezTo>
                  <a:lnTo>
                    <a:pt x="5497" y="7967"/>
                  </a:lnTo>
                  <a:lnTo>
                    <a:pt x="5517" y="7928"/>
                  </a:lnTo>
                  <a:lnTo>
                    <a:pt x="5266" y="7700"/>
                  </a:lnTo>
                  <a:cubicBezTo>
                    <a:pt x="5261" y="7696"/>
                    <a:pt x="5255" y="7691"/>
                    <a:pt x="5249" y="7686"/>
                  </a:cubicBezTo>
                  <a:cubicBezTo>
                    <a:pt x="5244" y="7681"/>
                    <a:pt x="5238" y="7676"/>
                    <a:pt x="5233" y="7672"/>
                  </a:cubicBezTo>
                  <a:cubicBezTo>
                    <a:pt x="5227" y="7667"/>
                    <a:pt x="5223" y="7664"/>
                    <a:pt x="5219" y="7660"/>
                  </a:cubicBezTo>
                  <a:cubicBezTo>
                    <a:pt x="5216" y="7657"/>
                    <a:pt x="5213" y="7656"/>
                    <a:pt x="5213" y="7655"/>
                  </a:cubicBezTo>
                  <a:cubicBezTo>
                    <a:pt x="5214" y="7655"/>
                    <a:pt x="5216" y="7656"/>
                    <a:pt x="5221" y="7658"/>
                  </a:cubicBezTo>
                  <a:cubicBezTo>
                    <a:pt x="5226" y="7661"/>
                    <a:pt x="5231" y="7663"/>
                    <a:pt x="5238" y="7666"/>
                  </a:cubicBezTo>
                  <a:cubicBezTo>
                    <a:pt x="5245" y="7669"/>
                    <a:pt x="5252" y="7672"/>
                    <a:pt x="5260" y="7676"/>
                  </a:cubicBezTo>
                  <a:cubicBezTo>
                    <a:pt x="5267" y="7679"/>
                    <a:pt x="5274" y="7682"/>
                    <a:pt x="5280" y="7685"/>
                  </a:cubicBezTo>
                  <a:lnTo>
                    <a:pt x="5578" y="7803"/>
                  </a:lnTo>
                  <a:lnTo>
                    <a:pt x="5601" y="7756"/>
                  </a:lnTo>
                  <a:close/>
                  <a:moveTo>
                    <a:pt x="5386" y="7207"/>
                  </a:moveTo>
                  <a:lnTo>
                    <a:pt x="5363" y="7254"/>
                  </a:lnTo>
                  <a:lnTo>
                    <a:pt x="5635" y="7388"/>
                  </a:lnTo>
                  <a:cubicBezTo>
                    <a:pt x="5648" y="7394"/>
                    <a:pt x="5659" y="7401"/>
                    <a:pt x="5668" y="7407"/>
                  </a:cubicBezTo>
                  <a:cubicBezTo>
                    <a:pt x="5676" y="7413"/>
                    <a:pt x="5683" y="7422"/>
                    <a:pt x="5689" y="7432"/>
                  </a:cubicBezTo>
                  <a:cubicBezTo>
                    <a:pt x="5694" y="7442"/>
                    <a:pt x="5696" y="7454"/>
                    <a:pt x="5694" y="7468"/>
                  </a:cubicBezTo>
                  <a:cubicBezTo>
                    <a:pt x="5692" y="7482"/>
                    <a:pt x="5687" y="7497"/>
                    <a:pt x="5679" y="7513"/>
                  </a:cubicBezTo>
                  <a:cubicBezTo>
                    <a:pt x="5673" y="7526"/>
                    <a:pt x="5667" y="7535"/>
                    <a:pt x="5661" y="7543"/>
                  </a:cubicBezTo>
                  <a:cubicBezTo>
                    <a:pt x="5654" y="7551"/>
                    <a:pt x="5647" y="7557"/>
                    <a:pt x="5641" y="7561"/>
                  </a:cubicBezTo>
                  <a:cubicBezTo>
                    <a:pt x="5634" y="7565"/>
                    <a:pt x="5627" y="7568"/>
                    <a:pt x="5621" y="7569"/>
                  </a:cubicBezTo>
                  <a:cubicBezTo>
                    <a:pt x="5615" y="7571"/>
                    <a:pt x="5609" y="7571"/>
                    <a:pt x="5604" y="7571"/>
                  </a:cubicBezTo>
                  <a:cubicBezTo>
                    <a:pt x="5596" y="7571"/>
                    <a:pt x="5587" y="7568"/>
                    <a:pt x="5576" y="7564"/>
                  </a:cubicBezTo>
                  <a:cubicBezTo>
                    <a:pt x="5564" y="7560"/>
                    <a:pt x="5554" y="7555"/>
                    <a:pt x="5544" y="7550"/>
                  </a:cubicBezTo>
                  <a:lnTo>
                    <a:pt x="5281" y="7421"/>
                  </a:lnTo>
                  <a:lnTo>
                    <a:pt x="5258" y="7467"/>
                  </a:lnTo>
                  <a:lnTo>
                    <a:pt x="5538" y="7605"/>
                  </a:lnTo>
                  <a:cubicBezTo>
                    <a:pt x="5547" y="7609"/>
                    <a:pt x="5557" y="7613"/>
                    <a:pt x="5569" y="7618"/>
                  </a:cubicBezTo>
                  <a:cubicBezTo>
                    <a:pt x="5581" y="7622"/>
                    <a:pt x="5593" y="7624"/>
                    <a:pt x="5605" y="7623"/>
                  </a:cubicBezTo>
                  <a:cubicBezTo>
                    <a:pt x="5629" y="7622"/>
                    <a:pt x="5651" y="7615"/>
                    <a:pt x="5669" y="7601"/>
                  </a:cubicBezTo>
                  <a:cubicBezTo>
                    <a:pt x="5687" y="7588"/>
                    <a:pt x="5703" y="7566"/>
                    <a:pt x="5718" y="7535"/>
                  </a:cubicBezTo>
                  <a:cubicBezTo>
                    <a:pt x="5730" y="7511"/>
                    <a:pt x="5737" y="7490"/>
                    <a:pt x="5740" y="7472"/>
                  </a:cubicBezTo>
                  <a:cubicBezTo>
                    <a:pt x="5743" y="7453"/>
                    <a:pt x="5743" y="7435"/>
                    <a:pt x="5738" y="7418"/>
                  </a:cubicBezTo>
                  <a:cubicBezTo>
                    <a:pt x="5734" y="7401"/>
                    <a:pt x="5727" y="7388"/>
                    <a:pt x="5716" y="7377"/>
                  </a:cubicBezTo>
                  <a:cubicBezTo>
                    <a:pt x="5704" y="7367"/>
                    <a:pt x="5687" y="7356"/>
                    <a:pt x="5664" y="7344"/>
                  </a:cubicBezTo>
                  <a:lnTo>
                    <a:pt x="5386" y="7207"/>
                  </a:lnTo>
                  <a:close/>
                  <a:moveTo>
                    <a:pt x="5228" y="7338"/>
                  </a:moveTo>
                  <a:cubicBezTo>
                    <a:pt x="5220" y="7341"/>
                    <a:pt x="5214" y="7347"/>
                    <a:pt x="5210" y="7355"/>
                  </a:cubicBezTo>
                  <a:cubicBezTo>
                    <a:pt x="5206" y="7363"/>
                    <a:pt x="5205" y="7371"/>
                    <a:pt x="5208" y="7380"/>
                  </a:cubicBezTo>
                  <a:cubicBezTo>
                    <a:pt x="5211" y="7388"/>
                    <a:pt x="5216" y="7395"/>
                    <a:pt x="5224" y="7399"/>
                  </a:cubicBezTo>
                  <a:cubicBezTo>
                    <a:pt x="5233" y="7403"/>
                    <a:pt x="5241" y="7403"/>
                    <a:pt x="5250" y="7400"/>
                  </a:cubicBezTo>
                  <a:cubicBezTo>
                    <a:pt x="5259" y="7398"/>
                    <a:pt x="5265" y="7392"/>
                    <a:pt x="5269" y="7384"/>
                  </a:cubicBezTo>
                  <a:cubicBezTo>
                    <a:pt x="5273" y="7375"/>
                    <a:pt x="5274" y="7367"/>
                    <a:pt x="5270" y="7359"/>
                  </a:cubicBezTo>
                  <a:cubicBezTo>
                    <a:pt x="5267" y="7350"/>
                    <a:pt x="5262" y="7344"/>
                    <a:pt x="5253" y="7340"/>
                  </a:cubicBezTo>
                  <a:cubicBezTo>
                    <a:pt x="5245" y="7336"/>
                    <a:pt x="5237" y="7335"/>
                    <a:pt x="5228" y="7338"/>
                  </a:cubicBezTo>
                  <a:close/>
                  <a:moveTo>
                    <a:pt x="5286" y="7221"/>
                  </a:moveTo>
                  <a:cubicBezTo>
                    <a:pt x="5277" y="7224"/>
                    <a:pt x="5271" y="7230"/>
                    <a:pt x="5267" y="7238"/>
                  </a:cubicBezTo>
                  <a:cubicBezTo>
                    <a:pt x="5263" y="7246"/>
                    <a:pt x="5263" y="7255"/>
                    <a:pt x="5265" y="7263"/>
                  </a:cubicBezTo>
                  <a:cubicBezTo>
                    <a:pt x="5268" y="7272"/>
                    <a:pt x="5274" y="7278"/>
                    <a:pt x="5282" y="7282"/>
                  </a:cubicBezTo>
                  <a:cubicBezTo>
                    <a:pt x="5290" y="7286"/>
                    <a:pt x="5299" y="7286"/>
                    <a:pt x="5307" y="7284"/>
                  </a:cubicBezTo>
                  <a:cubicBezTo>
                    <a:pt x="5316" y="7281"/>
                    <a:pt x="5322" y="7275"/>
                    <a:pt x="5327" y="7267"/>
                  </a:cubicBezTo>
                  <a:cubicBezTo>
                    <a:pt x="5331" y="7259"/>
                    <a:pt x="5331" y="7250"/>
                    <a:pt x="5328" y="7242"/>
                  </a:cubicBezTo>
                  <a:cubicBezTo>
                    <a:pt x="5325" y="7233"/>
                    <a:pt x="5319" y="7227"/>
                    <a:pt x="5311" y="7223"/>
                  </a:cubicBezTo>
                  <a:cubicBezTo>
                    <a:pt x="5303" y="7219"/>
                    <a:pt x="5294" y="7219"/>
                    <a:pt x="5286" y="7221"/>
                  </a:cubicBezTo>
                  <a:close/>
                  <a:moveTo>
                    <a:pt x="5960" y="7027"/>
                  </a:moveTo>
                  <a:lnTo>
                    <a:pt x="5569" y="6835"/>
                  </a:lnTo>
                  <a:lnTo>
                    <a:pt x="5546" y="6881"/>
                  </a:lnTo>
                  <a:lnTo>
                    <a:pt x="5759" y="6984"/>
                  </a:lnTo>
                  <a:cubicBezTo>
                    <a:pt x="5774" y="6991"/>
                    <a:pt x="5788" y="6998"/>
                    <a:pt x="5802" y="7004"/>
                  </a:cubicBezTo>
                  <a:cubicBezTo>
                    <a:pt x="5816" y="7010"/>
                    <a:pt x="5829" y="7016"/>
                    <a:pt x="5841" y="7021"/>
                  </a:cubicBezTo>
                  <a:cubicBezTo>
                    <a:pt x="5852" y="7026"/>
                    <a:pt x="5862" y="7030"/>
                    <a:pt x="5869" y="7033"/>
                  </a:cubicBezTo>
                  <a:cubicBezTo>
                    <a:pt x="5877" y="7036"/>
                    <a:pt x="5881" y="7037"/>
                    <a:pt x="5881" y="7037"/>
                  </a:cubicBezTo>
                  <a:cubicBezTo>
                    <a:pt x="5880" y="7037"/>
                    <a:pt x="5876" y="7037"/>
                    <a:pt x="5870" y="7036"/>
                  </a:cubicBezTo>
                  <a:cubicBezTo>
                    <a:pt x="5864" y="7036"/>
                    <a:pt x="5856" y="7036"/>
                    <a:pt x="5847" y="7035"/>
                  </a:cubicBezTo>
                  <a:cubicBezTo>
                    <a:pt x="5838" y="7035"/>
                    <a:pt x="5827" y="7034"/>
                    <a:pt x="5816" y="7034"/>
                  </a:cubicBezTo>
                  <a:cubicBezTo>
                    <a:pt x="5804" y="7033"/>
                    <a:pt x="5793" y="7033"/>
                    <a:pt x="5781" y="7033"/>
                  </a:cubicBezTo>
                  <a:lnTo>
                    <a:pt x="5468" y="7041"/>
                  </a:lnTo>
                  <a:lnTo>
                    <a:pt x="5441" y="7095"/>
                  </a:lnTo>
                  <a:lnTo>
                    <a:pt x="5832" y="7287"/>
                  </a:lnTo>
                  <a:lnTo>
                    <a:pt x="5856" y="7239"/>
                  </a:lnTo>
                  <a:lnTo>
                    <a:pt x="5628" y="7129"/>
                  </a:lnTo>
                  <a:cubicBezTo>
                    <a:pt x="5616" y="7124"/>
                    <a:pt x="5605" y="7118"/>
                    <a:pt x="5593" y="7113"/>
                  </a:cubicBezTo>
                  <a:cubicBezTo>
                    <a:pt x="5582" y="7108"/>
                    <a:pt x="5571" y="7104"/>
                    <a:pt x="5561" y="7100"/>
                  </a:cubicBezTo>
                  <a:cubicBezTo>
                    <a:pt x="5551" y="7095"/>
                    <a:pt x="5542" y="7092"/>
                    <a:pt x="5535" y="7088"/>
                  </a:cubicBezTo>
                  <a:cubicBezTo>
                    <a:pt x="5528" y="7085"/>
                    <a:pt x="5523" y="7083"/>
                    <a:pt x="5519" y="7082"/>
                  </a:cubicBezTo>
                  <a:cubicBezTo>
                    <a:pt x="5523" y="7083"/>
                    <a:pt x="5529" y="7083"/>
                    <a:pt x="5536" y="7084"/>
                  </a:cubicBezTo>
                  <a:cubicBezTo>
                    <a:pt x="5544" y="7084"/>
                    <a:pt x="5552" y="7084"/>
                    <a:pt x="5563" y="7084"/>
                  </a:cubicBezTo>
                  <a:cubicBezTo>
                    <a:pt x="5573" y="7084"/>
                    <a:pt x="5584" y="7084"/>
                    <a:pt x="5596" y="7084"/>
                  </a:cubicBezTo>
                  <a:cubicBezTo>
                    <a:pt x="5608" y="7084"/>
                    <a:pt x="5621" y="7084"/>
                    <a:pt x="5635" y="7084"/>
                  </a:cubicBezTo>
                  <a:lnTo>
                    <a:pt x="5936" y="7076"/>
                  </a:lnTo>
                  <a:lnTo>
                    <a:pt x="5960" y="7027"/>
                  </a:lnTo>
                  <a:close/>
                  <a:moveTo>
                    <a:pt x="5984" y="6606"/>
                  </a:moveTo>
                  <a:cubicBezTo>
                    <a:pt x="5969" y="6605"/>
                    <a:pt x="5955" y="6606"/>
                    <a:pt x="5942" y="6609"/>
                  </a:cubicBezTo>
                  <a:cubicBezTo>
                    <a:pt x="5929" y="6613"/>
                    <a:pt x="5917" y="6618"/>
                    <a:pt x="5906" y="6626"/>
                  </a:cubicBezTo>
                  <a:cubicBezTo>
                    <a:pt x="5895" y="6633"/>
                    <a:pt x="5883" y="6644"/>
                    <a:pt x="5869" y="6659"/>
                  </a:cubicBezTo>
                  <a:lnTo>
                    <a:pt x="5833" y="6697"/>
                  </a:lnTo>
                  <a:cubicBezTo>
                    <a:pt x="5814" y="6716"/>
                    <a:pt x="5797" y="6729"/>
                    <a:pt x="5783" y="6734"/>
                  </a:cubicBezTo>
                  <a:cubicBezTo>
                    <a:pt x="5768" y="6740"/>
                    <a:pt x="5753" y="6738"/>
                    <a:pt x="5737" y="6731"/>
                  </a:cubicBezTo>
                  <a:cubicBezTo>
                    <a:pt x="5717" y="6721"/>
                    <a:pt x="5704" y="6706"/>
                    <a:pt x="5700" y="6687"/>
                  </a:cubicBezTo>
                  <a:cubicBezTo>
                    <a:pt x="5695" y="6667"/>
                    <a:pt x="5699" y="6646"/>
                    <a:pt x="5711" y="6621"/>
                  </a:cubicBezTo>
                  <a:cubicBezTo>
                    <a:pt x="5715" y="6612"/>
                    <a:pt x="5720" y="6605"/>
                    <a:pt x="5724" y="6598"/>
                  </a:cubicBezTo>
                  <a:cubicBezTo>
                    <a:pt x="5729" y="6591"/>
                    <a:pt x="5735" y="6585"/>
                    <a:pt x="5741" y="6579"/>
                  </a:cubicBezTo>
                  <a:cubicBezTo>
                    <a:pt x="5747" y="6572"/>
                    <a:pt x="5754" y="6566"/>
                    <a:pt x="5763" y="6561"/>
                  </a:cubicBezTo>
                  <a:cubicBezTo>
                    <a:pt x="5771" y="6555"/>
                    <a:pt x="5780" y="6548"/>
                    <a:pt x="5791" y="6542"/>
                  </a:cubicBezTo>
                  <a:lnTo>
                    <a:pt x="5767" y="6505"/>
                  </a:lnTo>
                  <a:cubicBezTo>
                    <a:pt x="5724" y="6530"/>
                    <a:pt x="5692" y="6563"/>
                    <a:pt x="5672" y="6604"/>
                  </a:cubicBezTo>
                  <a:cubicBezTo>
                    <a:pt x="5662" y="6623"/>
                    <a:pt x="5657" y="6642"/>
                    <a:pt x="5654" y="6660"/>
                  </a:cubicBezTo>
                  <a:cubicBezTo>
                    <a:pt x="5652" y="6679"/>
                    <a:pt x="5653" y="6696"/>
                    <a:pt x="5658" y="6711"/>
                  </a:cubicBezTo>
                  <a:cubicBezTo>
                    <a:pt x="5662" y="6727"/>
                    <a:pt x="5670" y="6742"/>
                    <a:pt x="5681" y="6754"/>
                  </a:cubicBezTo>
                  <a:cubicBezTo>
                    <a:pt x="5691" y="6767"/>
                    <a:pt x="5705" y="6778"/>
                    <a:pt x="5722" y="6786"/>
                  </a:cubicBezTo>
                  <a:cubicBezTo>
                    <a:pt x="5747" y="6798"/>
                    <a:pt x="5772" y="6801"/>
                    <a:pt x="5798" y="6793"/>
                  </a:cubicBezTo>
                  <a:cubicBezTo>
                    <a:pt x="5809" y="6789"/>
                    <a:pt x="5820" y="6783"/>
                    <a:pt x="5830" y="6775"/>
                  </a:cubicBezTo>
                  <a:cubicBezTo>
                    <a:pt x="5840" y="6767"/>
                    <a:pt x="5852" y="6756"/>
                    <a:pt x="5867" y="6741"/>
                  </a:cubicBezTo>
                  <a:lnTo>
                    <a:pt x="5898" y="6707"/>
                  </a:lnTo>
                  <a:cubicBezTo>
                    <a:pt x="5935" y="6667"/>
                    <a:pt x="5971" y="6656"/>
                    <a:pt x="6005" y="6673"/>
                  </a:cubicBezTo>
                  <a:cubicBezTo>
                    <a:pt x="6028" y="6684"/>
                    <a:pt x="6042" y="6703"/>
                    <a:pt x="6047" y="6728"/>
                  </a:cubicBezTo>
                  <a:cubicBezTo>
                    <a:pt x="6050" y="6740"/>
                    <a:pt x="6050" y="6751"/>
                    <a:pt x="6048" y="6761"/>
                  </a:cubicBezTo>
                  <a:cubicBezTo>
                    <a:pt x="6046" y="6771"/>
                    <a:pt x="6041" y="6784"/>
                    <a:pt x="6034" y="6799"/>
                  </a:cubicBezTo>
                  <a:cubicBezTo>
                    <a:pt x="6024" y="6819"/>
                    <a:pt x="6013" y="6836"/>
                    <a:pt x="5999" y="6850"/>
                  </a:cubicBezTo>
                  <a:cubicBezTo>
                    <a:pt x="5985" y="6864"/>
                    <a:pt x="5969" y="6877"/>
                    <a:pt x="5949" y="6887"/>
                  </a:cubicBezTo>
                  <a:lnTo>
                    <a:pt x="5975" y="6926"/>
                  </a:lnTo>
                  <a:cubicBezTo>
                    <a:pt x="5997" y="6912"/>
                    <a:pt x="6015" y="6897"/>
                    <a:pt x="6031" y="6879"/>
                  </a:cubicBezTo>
                  <a:cubicBezTo>
                    <a:pt x="6047" y="6862"/>
                    <a:pt x="6060" y="6841"/>
                    <a:pt x="6072" y="6818"/>
                  </a:cubicBezTo>
                  <a:cubicBezTo>
                    <a:pt x="6081" y="6799"/>
                    <a:pt x="6087" y="6782"/>
                    <a:pt x="6090" y="6767"/>
                  </a:cubicBezTo>
                  <a:cubicBezTo>
                    <a:pt x="6093" y="6751"/>
                    <a:pt x="6093" y="6735"/>
                    <a:pt x="6091" y="6718"/>
                  </a:cubicBezTo>
                  <a:cubicBezTo>
                    <a:pt x="6089" y="6695"/>
                    <a:pt x="6082" y="6675"/>
                    <a:pt x="6069" y="6657"/>
                  </a:cubicBezTo>
                  <a:cubicBezTo>
                    <a:pt x="6057" y="6640"/>
                    <a:pt x="6042" y="6627"/>
                    <a:pt x="6024" y="6618"/>
                  </a:cubicBezTo>
                  <a:cubicBezTo>
                    <a:pt x="6012" y="6612"/>
                    <a:pt x="5998" y="6608"/>
                    <a:pt x="5984" y="6606"/>
                  </a:cubicBezTo>
                  <a:close/>
                  <a:moveTo>
                    <a:pt x="5901" y="6160"/>
                  </a:moveTo>
                  <a:lnTo>
                    <a:pt x="5774" y="6418"/>
                  </a:lnTo>
                  <a:lnTo>
                    <a:pt x="5813" y="6438"/>
                  </a:lnTo>
                  <a:lnTo>
                    <a:pt x="5865" y="6333"/>
                  </a:lnTo>
                  <a:lnTo>
                    <a:pt x="6216" y="6506"/>
                  </a:lnTo>
                  <a:lnTo>
                    <a:pt x="6238" y="6461"/>
                  </a:lnTo>
                  <a:lnTo>
                    <a:pt x="5887" y="6288"/>
                  </a:lnTo>
                  <a:lnTo>
                    <a:pt x="5939" y="6182"/>
                  </a:lnTo>
                  <a:lnTo>
                    <a:pt x="5901" y="6160"/>
                  </a:lnTo>
                  <a:close/>
                  <a:moveTo>
                    <a:pt x="6433" y="6065"/>
                  </a:moveTo>
                  <a:lnTo>
                    <a:pt x="6393" y="6046"/>
                  </a:lnTo>
                  <a:lnTo>
                    <a:pt x="6308" y="6218"/>
                  </a:lnTo>
                  <a:lnTo>
                    <a:pt x="6165" y="6147"/>
                  </a:lnTo>
                  <a:lnTo>
                    <a:pt x="6231" y="6013"/>
                  </a:lnTo>
                  <a:lnTo>
                    <a:pt x="6190" y="5993"/>
                  </a:lnTo>
                  <a:lnTo>
                    <a:pt x="6124" y="6127"/>
                  </a:lnTo>
                  <a:lnTo>
                    <a:pt x="5996" y="6064"/>
                  </a:lnTo>
                  <a:lnTo>
                    <a:pt x="6075" y="5904"/>
                  </a:lnTo>
                  <a:lnTo>
                    <a:pt x="6039" y="5879"/>
                  </a:lnTo>
                  <a:lnTo>
                    <a:pt x="5934" y="6092"/>
                  </a:lnTo>
                  <a:lnTo>
                    <a:pt x="6325" y="6285"/>
                  </a:lnTo>
                  <a:lnTo>
                    <a:pt x="6433" y="6065"/>
                  </a:lnTo>
                  <a:close/>
                  <a:moveTo>
                    <a:pt x="6596" y="5734"/>
                  </a:moveTo>
                  <a:lnTo>
                    <a:pt x="6560" y="5739"/>
                  </a:lnTo>
                  <a:cubicBezTo>
                    <a:pt x="6543" y="5741"/>
                    <a:pt x="6525" y="5744"/>
                    <a:pt x="6507" y="5746"/>
                  </a:cubicBezTo>
                  <a:cubicBezTo>
                    <a:pt x="6488" y="5749"/>
                    <a:pt x="6470" y="5751"/>
                    <a:pt x="6454" y="5754"/>
                  </a:cubicBezTo>
                  <a:cubicBezTo>
                    <a:pt x="6437" y="5756"/>
                    <a:pt x="6426" y="5758"/>
                    <a:pt x="6419" y="5759"/>
                  </a:cubicBezTo>
                  <a:cubicBezTo>
                    <a:pt x="6409" y="5761"/>
                    <a:pt x="6398" y="5763"/>
                    <a:pt x="6386" y="5766"/>
                  </a:cubicBezTo>
                  <a:cubicBezTo>
                    <a:pt x="6374" y="5769"/>
                    <a:pt x="6364" y="5773"/>
                    <a:pt x="6356" y="5777"/>
                  </a:cubicBezTo>
                  <a:lnTo>
                    <a:pt x="6358" y="5771"/>
                  </a:lnTo>
                  <a:cubicBezTo>
                    <a:pt x="6366" y="5756"/>
                    <a:pt x="6370" y="5740"/>
                    <a:pt x="6372" y="5725"/>
                  </a:cubicBezTo>
                  <a:cubicBezTo>
                    <a:pt x="6373" y="5710"/>
                    <a:pt x="6371" y="5695"/>
                    <a:pt x="6366" y="5681"/>
                  </a:cubicBezTo>
                  <a:cubicBezTo>
                    <a:pt x="6361" y="5668"/>
                    <a:pt x="6353" y="5655"/>
                    <a:pt x="6343" y="5644"/>
                  </a:cubicBezTo>
                  <a:cubicBezTo>
                    <a:pt x="6332" y="5632"/>
                    <a:pt x="6318" y="5623"/>
                    <a:pt x="6302" y="5615"/>
                  </a:cubicBezTo>
                  <a:cubicBezTo>
                    <a:pt x="6292" y="5610"/>
                    <a:pt x="6282" y="5606"/>
                    <a:pt x="6272" y="5605"/>
                  </a:cubicBezTo>
                  <a:cubicBezTo>
                    <a:pt x="6263" y="5603"/>
                    <a:pt x="6253" y="5602"/>
                    <a:pt x="6245" y="5602"/>
                  </a:cubicBezTo>
                  <a:cubicBezTo>
                    <a:pt x="6236" y="5603"/>
                    <a:pt x="6228" y="5604"/>
                    <a:pt x="6221" y="5606"/>
                  </a:cubicBezTo>
                  <a:cubicBezTo>
                    <a:pt x="6213" y="5608"/>
                    <a:pt x="6207" y="5610"/>
                    <a:pt x="6201" y="5613"/>
                  </a:cubicBezTo>
                  <a:cubicBezTo>
                    <a:pt x="6195" y="5616"/>
                    <a:pt x="6189" y="5619"/>
                    <a:pt x="6183" y="5624"/>
                  </a:cubicBezTo>
                  <a:cubicBezTo>
                    <a:pt x="6177" y="5628"/>
                    <a:pt x="6171" y="5634"/>
                    <a:pt x="6165" y="5640"/>
                  </a:cubicBezTo>
                  <a:cubicBezTo>
                    <a:pt x="6159" y="5647"/>
                    <a:pt x="6153" y="5655"/>
                    <a:pt x="6147" y="5665"/>
                  </a:cubicBezTo>
                  <a:cubicBezTo>
                    <a:pt x="6141" y="5675"/>
                    <a:pt x="6134" y="5686"/>
                    <a:pt x="6128" y="5699"/>
                  </a:cubicBezTo>
                  <a:lnTo>
                    <a:pt x="6083" y="5790"/>
                  </a:lnTo>
                  <a:lnTo>
                    <a:pt x="6474" y="5983"/>
                  </a:lnTo>
                  <a:lnTo>
                    <a:pt x="6496" y="5937"/>
                  </a:lnTo>
                  <a:lnTo>
                    <a:pt x="6319" y="5850"/>
                  </a:lnTo>
                  <a:cubicBezTo>
                    <a:pt x="6325" y="5841"/>
                    <a:pt x="6330" y="5834"/>
                    <a:pt x="6337" y="5829"/>
                  </a:cubicBezTo>
                  <a:cubicBezTo>
                    <a:pt x="6343" y="5825"/>
                    <a:pt x="6353" y="5821"/>
                    <a:pt x="6366" y="5818"/>
                  </a:cubicBezTo>
                  <a:cubicBezTo>
                    <a:pt x="6389" y="5814"/>
                    <a:pt x="6411" y="5809"/>
                    <a:pt x="6432" y="5806"/>
                  </a:cubicBezTo>
                  <a:cubicBezTo>
                    <a:pt x="6453" y="5803"/>
                    <a:pt x="6472" y="5800"/>
                    <a:pt x="6489" y="5798"/>
                  </a:cubicBezTo>
                  <a:cubicBezTo>
                    <a:pt x="6507" y="5796"/>
                    <a:pt x="6522" y="5794"/>
                    <a:pt x="6535" y="5794"/>
                  </a:cubicBezTo>
                  <a:cubicBezTo>
                    <a:pt x="6548" y="5793"/>
                    <a:pt x="6559" y="5793"/>
                    <a:pt x="6567" y="5793"/>
                  </a:cubicBezTo>
                  <a:lnTo>
                    <a:pt x="6596" y="5734"/>
                  </a:lnTo>
                  <a:close/>
                  <a:moveTo>
                    <a:pt x="6310" y="5685"/>
                  </a:moveTo>
                  <a:cubicBezTo>
                    <a:pt x="6318" y="5694"/>
                    <a:pt x="6324" y="5703"/>
                    <a:pt x="6327" y="5712"/>
                  </a:cubicBezTo>
                  <a:cubicBezTo>
                    <a:pt x="6330" y="5723"/>
                    <a:pt x="6330" y="5735"/>
                    <a:pt x="6328" y="5748"/>
                  </a:cubicBezTo>
                  <a:cubicBezTo>
                    <a:pt x="6326" y="5760"/>
                    <a:pt x="6320" y="5775"/>
                    <a:pt x="6312" y="5793"/>
                  </a:cubicBezTo>
                  <a:lnTo>
                    <a:pt x="6290" y="5836"/>
                  </a:lnTo>
                  <a:lnTo>
                    <a:pt x="6145" y="5764"/>
                  </a:lnTo>
                  <a:lnTo>
                    <a:pt x="6168" y="5718"/>
                  </a:lnTo>
                  <a:cubicBezTo>
                    <a:pt x="6173" y="5707"/>
                    <a:pt x="6178" y="5698"/>
                    <a:pt x="6183" y="5691"/>
                  </a:cubicBezTo>
                  <a:cubicBezTo>
                    <a:pt x="6188" y="5684"/>
                    <a:pt x="6194" y="5678"/>
                    <a:pt x="6200" y="5672"/>
                  </a:cubicBezTo>
                  <a:cubicBezTo>
                    <a:pt x="6210" y="5664"/>
                    <a:pt x="6222" y="5658"/>
                    <a:pt x="6236" y="5657"/>
                  </a:cubicBezTo>
                  <a:cubicBezTo>
                    <a:pt x="6251" y="5655"/>
                    <a:pt x="6265" y="5657"/>
                    <a:pt x="6278" y="5663"/>
                  </a:cubicBezTo>
                  <a:cubicBezTo>
                    <a:pt x="6291" y="5670"/>
                    <a:pt x="6301" y="5677"/>
                    <a:pt x="6310" y="5685"/>
                  </a:cubicBezTo>
                  <a:close/>
                  <a:moveTo>
                    <a:pt x="6808" y="5523"/>
                  </a:moveTo>
                  <a:lnTo>
                    <a:pt x="6259" y="5253"/>
                  </a:lnTo>
                  <a:lnTo>
                    <a:pt x="6240" y="5290"/>
                  </a:lnTo>
                  <a:lnTo>
                    <a:pt x="6789" y="5561"/>
                  </a:lnTo>
                  <a:lnTo>
                    <a:pt x="6808" y="5523"/>
                  </a:lnTo>
                  <a:close/>
                  <a:moveTo>
                    <a:pt x="6582" y="4775"/>
                  </a:moveTo>
                  <a:lnTo>
                    <a:pt x="6560" y="4821"/>
                  </a:lnTo>
                  <a:lnTo>
                    <a:pt x="6832" y="4955"/>
                  </a:lnTo>
                  <a:cubicBezTo>
                    <a:pt x="6845" y="4962"/>
                    <a:pt x="6856" y="4968"/>
                    <a:pt x="6865" y="4975"/>
                  </a:cubicBezTo>
                  <a:cubicBezTo>
                    <a:pt x="6873" y="4981"/>
                    <a:pt x="6880" y="4989"/>
                    <a:pt x="6886" y="5000"/>
                  </a:cubicBezTo>
                  <a:cubicBezTo>
                    <a:pt x="6891" y="5010"/>
                    <a:pt x="6892" y="5022"/>
                    <a:pt x="6891" y="5036"/>
                  </a:cubicBezTo>
                  <a:cubicBezTo>
                    <a:pt x="6889" y="5050"/>
                    <a:pt x="6884" y="5065"/>
                    <a:pt x="6876" y="5081"/>
                  </a:cubicBezTo>
                  <a:cubicBezTo>
                    <a:pt x="6870" y="5093"/>
                    <a:pt x="6864" y="5103"/>
                    <a:pt x="6857" y="5111"/>
                  </a:cubicBezTo>
                  <a:cubicBezTo>
                    <a:pt x="6851" y="5118"/>
                    <a:pt x="6844" y="5124"/>
                    <a:pt x="6837" y="5129"/>
                  </a:cubicBezTo>
                  <a:cubicBezTo>
                    <a:pt x="6831" y="5133"/>
                    <a:pt x="6824" y="5136"/>
                    <a:pt x="6818" y="5137"/>
                  </a:cubicBezTo>
                  <a:cubicBezTo>
                    <a:pt x="6811" y="5138"/>
                    <a:pt x="6806" y="5139"/>
                    <a:pt x="6801" y="5139"/>
                  </a:cubicBezTo>
                  <a:cubicBezTo>
                    <a:pt x="6793" y="5138"/>
                    <a:pt x="6784" y="5136"/>
                    <a:pt x="6772" y="5132"/>
                  </a:cubicBezTo>
                  <a:cubicBezTo>
                    <a:pt x="6761" y="5127"/>
                    <a:pt x="6751" y="5123"/>
                    <a:pt x="6741" y="5118"/>
                  </a:cubicBezTo>
                  <a:lnTo>
                    <a:pt x="6478" y="4988"/>
                  </a:lnTo>
                  <a:lnTo>
                    <a:pt x="6455" y="5034"/>
                  </a:lnTo>
                  <a:lnTo>
                    <a:pt x="6735" y="5172"/>
                  </a:lnTo>
                  <a:cubicBezTo>
                    <a:pt x="6744" y="5177"/>
                    <a:pt x="6754" y="5181"/>
                    <a:pt x="6766" y="5185"/>
                  </a:cubicBezTo>
                  <a:cubicBezTo>
                    <a:pt x="6778" y="5190"/>
                    <a:pt x="6790" y="5192"/>
                    <a:pt x="6802" y="5191"/>
                  </a:cubicBezTo>
                  <a:cubicBezTo>
                    <a:pt x="6826" y="5190"/>
                    <a:pt x="6848" y="5182"/>
                    <a:pt x="6866" y="5169"/>
                  </a:cubicBezTo>
                  <a:cubicBezTo>
                    <a:pt x="6884" y="5155"/>
                    <a:pt x="6900" y="5133"/>
                    <a:pt x="6915" y="5103"/>
                  </a:cubicBezTo>
                  <a:cubicBezTo>
                    <a:pt x="6927" y="5079"/>
                    <a:pt x="6934" y="5058"/>
                    <a:pt x="6937" y="5039"/>
                  </a:cubicBezTo>
                  <a:cubicBezTo>
                    <a:pt x="6940" y="5021"/>
                    <a:pt x="6940" y="5003"/>
                    <a:pt x="6935" y="4986"/>
                  </a:cubicBezTo>
                  <a:cubicBezTo>
                    <a:pt x="6931" y="4969"/>
                    <a:pt x="6924" y="4955"/>
                    <a:pt x="6912" y="4945"/>
                  </a:cubicBezTo>
                  <a:cubicBezTo>
                    <a:pt x="6901" y="4935"/>
                    <a:pt x="6884" y="4924"/>
                    <a:pt x="6860" y="4912"/>
                  </a:cubicBezTo>
                  <a:lnTo>
                    <a:pt x="6582" y="4775"/>
                  </a:lnTo>
                  <a:close/>
                  <a:moveTo>
                    <a:pt x="7157" y="4595"/>
                  </a:moveTo>
                  <a:lnTo>
                    <a:pt x="6766" y="4403"/>
                  </a:lnTo>
                  <a:lnTo>
                    <a:pt x="6743" y="4449"/>
                  </a:lnTo>
                  <a:lnTo>
                    <a:pt x="6956" y="4552"/>
                  </a:lnTo>
                  <a:cubicBezTo>
                    <a:pt x="6970" y="4559"/>
                    <a:pt x="6985" y="4565"/>
                    <a:pt x="6999" y="4571"/>
                  </a:cubicBezTo>
                  <a:cubicBezTo>
                    <a:pt x="7013" y="4578"/>
                    <a:pt x="7026" y="4583"/>
                    <a:pt x="7038" y="4588"/>
                  </a:cubicBezTo>
                  <a:cubicBezTo>
                    <a:pt x="7049" y="4593"/>
                    <a:pt x="7059" y="4597"/>
                    <a:pt x="7066" y="4600"/>
                  </a:cubicBezTo>
                  <a:cubicBezTo>
                    <a:pt x="7074" y="4603"/>
                    <a:pt x="7078" y="4605"/>
                    <a:pt x="7078" y="4605"/>
                  </a:cubicBezTo>
                  <a:cubicBezTo>
                    <a:pt x="7077" y="4605"/>
                    <a:pt x="7073" y="4605"/>
                    <a:pt x="7067" y="4604"/>
                  </a:cubicBezTo>
                  <a:cubicBezTo>
                    <a:pt x="7061" y="4604"/>
                    <a:pt x="7053" y="4603"/>
                    <a:pt x="7044" y="4603"/>
                  </a:cubicBezTo>
                  <a:cubicBezTo>
                    <a:pt x="7035" y="4602"/>
                    <a:pt x="7024" y="4602"/>
                    <a:pt x="7013" y="4601"/>
                  </a:cubicBezTo>
                  <a:cubicBezTo>
                    <a:pt x="7001" y="4601"/>
                    <a:pt x="6989" y="4601"/>
                    <a:pt x="6978" y="4601"/>
                  </a:cubicBezTo>
                  <a:lnTo>
                    <a:pt x="6664" y="4608"/>
                  </a:lnTo>
                  <a:lnTo>
                    <a:pt x="6638" y="4662"/>
                  </a:lnTo>
                  <a:lnTo>
                    <a:pt x="7029" y="4855"/>
                  </a:lnTo>
                  <a:lnTo>
                    <a:pt x="7053" y="4806"/>
                  </a:lnTo>
                  <a:lnTo>
                    <a:pt x="6825" y="4697"/>
                  </a:lnTo>
                  <a:cubicBezTo>
                    <a:pt x="6813" y="4691"/>
                    <a:pt x="6802" y="4686"/>
                    <a:pt x="6790" y="4681"/>
                  </a:cubicBezTo>
                  <a:cubicBezTo>
                    <a:pt x="6778" y="4676"/>
                    <a:pt x="6768" y="4671"/>
                    <a:pt x="6758" y="4667"/>
                  </a:cubicBezTo>
                  <a:cubicBezTo>
                    <a:pt x="6748" y="4663"/>
                    <a:pt x="6739" y="4659"/>
                    <a:pt x="6732" y="4656"/>
                  </a:cubicBezTo>
                  <a:cubicBezTo>
                    <a:pt x="6725" y="4653"/>
                    <a:pt x="6719" y="4651"/>
                    <a:pt x="6716" y="4650"/>
                  </a:cubicBezTo>
                  <a:cubicBezTo>
                    <a:pt x="6720" y="4651"/>
                    <a:pt x="6726" y="4651"/>
                    <a:pt x="6733" y="4651"/>
                  </a:cubicBezTo>
                  <a:cubicBezTo>
                    <a:pt x="6741" y="4652"/>
                    <a:pt x="6749" y="4652"/>
                    <a:pt x="6759" y="4652"/>
                  </a:cubicBezTo>
                  <a:cubicBezTo>
                    <a:pt x="6770" y="4652"/>
                    <a:pt x="6781" y="4652"/>
                    <a:pt x="6793" y="4652"/>
                  </a:cubicBezTo>
                  <a:cubicBezTo>
                    <a:pt x="6805" y="4652"/>
                    <a:pt x="6818" y="4652"/>
                    <a:pt x="6831" y="4652"/>
                  </a:cubicBezTo>
                  <a:lnTo>
                    <a:pt x="7132" y="4644"/>
                  </a:lnTo>
                  <a:lnTo>
                    <a:pt x="7157" y="4595"/>
                  </a:lnTo>
                  <a:close/>
                  <a:moveTo>
                    <a:pt x="7235" y="4435"/>
                  </a:moveTo>
                  <a:lnTo>
                    <a:pt x="6844" y="4243"/>
                  </a:lnTo>
                  <a:lnTo>
                    <a:pt x="6822" y="4288"/>
                  </a:lnTo>
                  <a:lnTo>
                    <a:pt x="7213" y="4481"/>
                  </a:lnTo>
                  <a:lnTo>
                    <a:pt x="7235" y="4435"/>
                  </a:lnTo>
                  <a:close/>
                  <a:moveTo>
                    <a:pt x="7035" y="3855"/>
                  </a:moveTo>
                  <a:lnTo>
                    <a:pt x="7011" y="3903"/>
                  </a:lnTo>
                  <a:lnTo>
                    <a:pt x="7228" y="4114"/>
                  </a:lnTo>
                  <a:cubicBezTo>
                    <a:pt x="7246" y="4131"/>
                    <a:pt x="7261" y="4145"/>
                    <a:pt x="7273" y="4156"/>
                  </a:cubicBezTo>
                  <a:cubicBezTo>
                    <a:pt x="7285" y="4167"/>
                    <a:pt x="7293" y="4174"/>
                    <a:pt x="7297" y="4178"/>
                  </a:cubicBezTo>
                  <a:cubicBezTo>
                    <a:pt x="7295" y="4177"/>
                    <a:pt x="7290" y="4175"/>
                    <a:pt x="7283" y="4174"/>
                  </a:cubicBezTo>
                  <a:cubicBezTo>
                    <a:pt x="7276" y="4172"/>
                    <a:pt x="7268" y="4170"/>
                    <a:pt x="7259" y="4168"/>
                  </a:cubicBezTo>
                  <a:cubicBezTo>
                    <a:pt x="7249" y="4166"/>
                    <a:pt x="7240" y="4164"/>
                    <a:pt x="7229" y="4163"/>
                  </a:cubicBezTo>
                  <a:cubicBezTo>
                    <a:pt x="7219" y="4161"/>
                    <a:pt x="7209" y="4159"/>
                    <a:pt x="7199" y="4158"/>
                  </a:cubicBezTo>
                  <a:lnTo>
                    <a:pt x="6907" y="4116"/>
                  </a:lnTo>
                  <a:lnTo>
                    <a:pt x="6882" y="4167"/>
                  </a:lnTo>
                  <a:lnTo>
                    <a:pt x="7337" y="4228"/>
                  </a:lnTo>
                  <a:lnTo>
                    <a:pt x="7360" y="4182"/>
                  </a:lnTo>
                  <a:lnTo>
                    <a:pt x="7035" y="3855"/>
                  </a:lnTo>
                  <a:close/>
                  <a:moveTo>
                    <a:pt x="7571" y="3753"/>
                  </a:moveTo>
                  <a:lnTo>
                    <a:pt x="7531" y="3733"/>
                  </a:lnTo>
                  <a:lnTo>
                    <a:pt x="7446" y="3905"/>
                  </a:lnTo>
                  <a:lnTo>
                    <a:pt x="7303" y="3834"/>
                  </a:lnTo>
                  <a:lnTo>
                    <a:pt x="7369" y="3701"/>
                  </a:lnTo>
                  <a:lnTo>
                    <a:pt x="7328" y="3681"/>
                  </a:lnTo>
                  <a:lnTo>
                    <a:pt x="7262" y="3815"/>
                  </a:lnTo>
                  <a:lnTo>
                    <a:pt x="7134" y="3752"/>
                  </a:lnTo>
                  <a:lnTo>
                    <a:pt x="7213" y="3591"/>
                  </a:lnTo>
                  <a:lnTo>
                    <a:pt x="7177" y="3566"/>
                  </a:lnTo>
                  <a:lnTo>
                    <a:pt x="7072" y="3780"/>
                  </a:lnTo>
                  <a:lnTo>
                    <a:pt x="7463" y="3972"/>
                  </a:lnTo>
                  <a:lnTo>
                    <a:pt x="7571" y="3753"/>
                  </a:lnTo>
                  <a:close/>
                  <a:moveTo>
                    <a:pt x="7734" y="3422"/>
                  </a:moveTo>
                  <a:lnTo>
                    <a:pt x="7698" y="3426"/>
                  </a:lnTo>
                  <a:cubicBezTo>
                    <a:pt x="7681" y="3429"/>
                    <a:pt x="7663" y="3431"/>
                    <a:pt x="7644" y="3434"/>
                  </a:cubicBezTo>
                  <a:cubicBezTo>
                    <a:pt x="7626" y="3436"/>
                    <a:pt x="7608" y="3439"/>
                    <a:pt x="7592" y="3441"/>
                  </a:cubicBezTo>
                  <a:cubicBezTo>
                    <a:pt x="7575" y="3443"/>
                    <a:pt x="7564" y="3445"/>
                    <a:pt x="7557" y="3446"/>
                  </a:cubicBezTo>
                  <a:cubicBezTo>
                    <a:pt x="7547" y="3448"/>
                    <a:pt x="7536" y="3451"/>
                    <a:pt x="7524" y="3454"/>
                  </a:cubicBezTo>
                  <a:cubicBezTo>
                    <a:pt x="7512" y="3457"/>
                    <a:pt x="7502" y="3460"/>
                    <a:pt x="7494" y="3464"/>
                  </a:cubicBezTo>
                  <a:lnTo>
                    <a:pt x="7496" y="3458"/>
                  </a:lnTo>
                  <a:cubicBezTo>
                    <a:pt x="7504" y="3443"/>
                    <a:pt x="7508" y="3427"/>
                    <a:pt x="7510" y="3412"/>
                  </a:cubicBezTo>
                  <a:cubicBezTo>
                    <a:pt x="7511" y="3397"/>
                    <a:pt x="7509" y="3382"/>
                    <a:pt x="7504" y="3369"/>
                  </a:cubicBezTo>
                  <a:cubicBezTo>
                    <a:pt x="7499" y="3355"/>
                    <a:pt x="7491" y="3342"/>
                    <a:pt x="7481" y="3331"/>
                  </a:cubicBezTo>
                  <a:cubicBezTo>
                    <a:pt x="7470" y="3319"/>
                    <a:pt x="7456" y="3310"/>
                    <a:pt x="7440" y="3302"/>
                  </a:cubicBezTo>
                  <a:cubicBezTo>
                    <a:pt x="7430" y="3297"/>
                    <a:pt x="7420" y="3294"/>
                    <a:pt x="7410" y="3292"/>
                  </a:cubicBezTo>
                  <a:cubicBezTo>
                    <a:pt x="7401" y="3290"/>
                    <a:pt x="7391" y="3289"/>
                    <a:pt x="7383" y="3290"/>
                  </a:cubicBezTo>
                  <a:cubicBezTo>
                    <a:pt x="7374" y="3290"/>
                    <a:pt x="7366" y="3291"/>
                    <a:pt x="7359" y="3293"/>
                  </a:cubicBezTo>
                  <a:cubicBezTo>
                    <a:pt x="7351" y="3295"/>
                    <a:pt x="7345" y="3297"/>
                    <a:pt x="7339" y="3300"/>
                  </a:cubicBezTo>
                  <a:cubicBezTo>
                    <a:pt x="7333" y="3303"/>
                    <a:pt x="7327" y="3307"/>
                    <a:pt x="7321" y="3311"/>
                  </a:cubicBezTo>
                  <a:cubicBezTo>
                    <a:pt x="7315" y="3315"/>
                    <a:pt x="7309" y="3321"/>
                    <a:pt x="7303" y="3328"/>
                  </a:cubicBezTo>
                  <a:cubicBezTo>
                    <a:pt x="7297" y="3334"/>
                    <a:pt x="7291" y="3342"/>
                    <a:pt x="7285" y="3352"/>
                  </a:cubicBezTo>
                  <a:cubicBezTo>
                    <a:pt x="7279" y="3362"/>
                    <a:pt x="7272" y="3373"/>
                    <a:pt x="7266" y="3387"/>
                  </a:cubicBezTo>
                  <a:lnTo>
                    <a:pt x="7221" y="3478"/>
                  </a:lnTo>
                  <a:lnTo>
                    <a:pt x="7612" y="3670"/>
                  </a:lnTo>
                  <a:lnTo>
                    <a:pt x="7634" y="3624"/>
                  </a:lnTo>
                  <a:lnTo>
                    <a:pt x="7457" y="3538"/>
                  </a:lnTo>
                  <a:cubicBezTo>
                    <a:pt x="7463" y="3528"/>
                    <a:pt x="7468" y="3521"/>
                    <a:pt x="7475" y="3516"/>
                  </a:cubicBezTo>
                  <a:cubicBezTo>
                    <a:pt x="7481" y="3512"/>
                    <a:pt x="7491" y="3508"/>
                    <a:pt x="7504" y="3505"/>
                  </a:cubicBezTo>
                  <a:cubicBezTo>
                    <a:pt x="7527" y="3501"/>
                    <a:pt x="7549" y="3497"/>
                    <a:pt x="7570" y="3493"/>
                  </a:cubicBezTo>
                  <a:cubicBezTo>
                    <a:pt x="7591" y="3490"/>
                    <a:pt x="7610" y="3487"/>
                    <a:pt x="7627" y="3485"/>
                  </a:cubicBezTo>
                  <a:cubicBezTo>
                    <a:pt x="7645" y="3483"/>
                    <a:pt x="7660" y="3482"/>
                    <a:pt x="7673" y="3481"/>
                  </a:cubicBezTo>
                  <a:cubicBezTo>
                    <a:pt x="7686" y="3480"/>
                    <a:pt x="7697" y="3480"/>
                    <a:pt x="7705" y="3480"/>
                  </a:cubicBezTo>
                  <a:lnTo>
                    <a:pt x="7734" y="3422"/>
                  </a:lnTo>
                  <a:close/>
                  <a:moveTo>
                    <a:pt x="7448" y="3373"/>
                  </a:moveTo>
                  <a:cubicBezTo>
                    <a:pt x="7456" y="3381"/>
                    <a:pt x="7462" y="3390"/>
                    <a:pt x="7465" y="3399"/>
                  </a:cubicBezTo>
                  <a:cubicBezTo>
                    <a:pt x="7468" y="3410"/>
                    <a:pt x="7468" y="3422"/>
                    <a:pt x="7466" y="3435"/>
                  </a:cubicBezTo>
                  <a:cubicBezTo>
                    <a:pt x="7464" y="3447"/>
                    <a:pt x="7458" y="3462"/>
                    <a:pt x="7450" y="3480"/>
                  </a:cubicBezTo>
                  <a:lnTo>
                    <a:pt x="7428" y="3523"/>
                  </a:lnTo>
                  <a:lnTo>
                    <a:pt x="7283" y="3451"/>
                  </a:lnTo>
                  <a:lnTo>
                    <a:pt x="7306" y="3405"/>
                  </a:lnTo>
                  <a:cubicBezTo>
                    <a:pt x="7311" y="3394"/>
                    <a:pt x="7316" y="3385"/>
                    <a:pt x="7321" y="3378"/>
                  </a:cubicBezTo>
                  <a:cubicBezTo>
                    <a:pt x="7326" y="3371"/>
                    <a:pt x="7332" y="3365"/>
                    <a:pt x="7338" y="3360"/>
                  </a:cubicBezTo>
                  <a:cubicBezTo>
                    <a:pt x="7348" y="3351"/>
                    <a:pt x="7360" y="3346"/>
                    <a:pt x="7374" y="3344"/>
                  </a:cubicBezTo>
                  <a:cubicBezTo>
                    <a:pt x="7389" y="3342"/>
                    <a:pt x="7403" y="3344"/>
                    <a:pt x="7416" y="3351"/>
                  </a:cubicBezTo>
                  <a:cubicBezTo>
                    <a:pt x="7429" y="3357"/>
                    <a:pt x="7439" y="3364"/>
                    <a:pt x="7448" y="3373"/>
                  </a:cubicBezTo>
                  <a:close/>
                  <a:moveTo>
                    <a:pt x="7745" y="3028"/>
                  </a:moveTo>
                  <a:cubicBezTo>
                    <a:pt x="7730" y="3026"/>
                    <a:pt x="7716" y="3027"/>
                    <a:pt x="7703" y="3031"/>
                  </a:cubicBezTo>
                  <a:cubicBezTo>
                    <a:pt x="7690" y="3034"/>
                    <a:pt x="7678" y="3040"/>
                    <a:pt x="7667" y="3047"/>
                  </a:cubicBezTo>
                  <a:cubicBezTo>
                    <a:pt x="7656" y="3054"/>
                    <a:pt x="7644" y="3065"/>
                    <a:pt x="7630" y="3080"/>
                  </a:cubicBezTo>
                  <a:lnTo>
                    <a:pt x="7594" y="3118"/>
                  </a:lnTo>
                  <a:cubicBezTo>
                    <a:pt x="7575" y="3138"/>
                    <a:pt x="7558" y="3150"/>
                    <a:pt x="7544" y="3155"/>
                  </a:cubicBezTo>
                  <a:cubicBezTo>
                    <a:pt x="7529" y="3161"/>
                    <a:pt x="7514" y="3160"/>
                    <a:pt x="7498" y="3152"/>
                  </a:cubicBezTo>
                  <a:cubicBezTo>
                    <a:pt x="7478" y="3142"/>
                    <a:pt x="7465" y="3127"/>
                    <a:pt x="7461" y="3108"/>
                  </a:cubicBezTo>
                  <a:cubicBezTo>
                    <a:pt x="7456" y="3089"/>
                    <a:pt x="7460" y="3067"/>
                    <a:pt x="7472" y="3042"/>
                  </a:cubicBezTo>
                  <a:cubicBezTo>
                    <a:pt x="7476" y="3034"/>
                    <a:pt x="7481" y="3026"/>
                    <a:pt x="7485" y="3019"/>
                  </a:cubicBezTo>
                  <a:cubicBezTo>
                    <a:pt x="7490" y="3012"/>
                    <a:pt x="7496" y="3006"/>
                    <a:pt x="7502" y="3000"/>
                  </a:cubicBezTo>
                  <a:cubicBezTo>
                    <a:pt x="7508" y="2994"/>
                    <a:pt x="7515" y="2988"/>
                    <a:pt x="7524" y="2982"/>
                  </a:cubicBezTo>
                  <a:cubicBezTo>
                    <a:pt x="7532" y="2976"/>
                    <a:pt x="7541" y="2970"/>
                    <a:pt x="7552" y="2963"/>
                  </a:cubicBezTo>
                  <a:lnTo>
                    <a:pt x="7528" y="2926"/>
                  </a:lnTo>
                  <a:cubicBezTo>
                    <a:pt x="7485" y="2951"/>
                    <a:pt x="7453" y="2984"/>
                    <a:pt x="7433" y="3026"/>
                  </a:cubicBezTo>
                  <a:cubicBezTo>
                    <a:pt x="7423" y="3045"/>
                    <a:pt x="7418" y="3063"/>
                    <a:pt x="7415" y="3081"/>
                  </a:cubicBezTo>
                  <a:cubicBezTo>
                    <a:pt x="7413" y="3100"/>
                    <a:pt x="7414" y="3117"/>
                    <a:pt x="7419" y="3133"/>
                  </a:cubicBezTo>
                  <a:cubicBezTo>
                    <a:pt x="7423" y="3149"/>
                    <a:pt x="7431" y="3163"/>
                    <a:pt x="7442" y="3176"/>
                  </a:cubicBezTo>
                  <a:cubicBezTo>
                    <a:pt x="7452" y="3188"/>
                    <a:pt x="7466" y="3199"/>
                    <a:pt x="7483" y="3207"/>
                  </a:cubicBezTo>
                  <a:cubicBezTo>
                    <a:pt x="7508" y="3220"/>
                    <a:pt x="7533" y="3222"/>
                    <a:pt x="7559" y="3214"/>
                  </a:cubicBezTo>
                  <a:cubicBezTo>
                    <a:pt x="7570" y="3210"/>
                    <a:pt x="7581" y="3205"/>
                    <a:pt x="7591" y="3197"/>
                  </a:cubicBezTo>
                  <a:cubicBezTo>
                    <a:pt x="7601" y="3189"/>
                    <a:pt x="7613" y="3177"/>
                    <a:pt x="7628" y="3162"/>
                  </a:cubicBezTo>
                  <a:lnTo>
                    <a:pt x="7659" y="3128"/>
                  </a:lnTo>
                  <a:cubicBezTo>
                    <a:pt x="7696" y="3088"/>
                    <a:pt x="7732" y="3077"/>
                    <a:pt x="7766" y="3094"/>
                  </a:cubicBezTo>
                  <a:cubicBezTo>
                    <a:pt x="7789" y="3106"/>
                    <a:pt x="7803" y="3124"/>
                    <a:pt x="7808" y="3150"/>
                  </a:cubicBezTo>
                  <a:cubicBezTo>
                    <a:pt x="7811" y="3161"/>
                    <a:pt x="7811" y="3172"/>
                    <a:pt x="7809" y="3182"/>
                  </a:cubicBezTo>
                  <a:cubicBezTo>
                    <a:pt x="7807" y="3193"/>
                    <a:pt x="7802" y="3205"/>
                    <a:pt x="7795" y="3220"/>
                  </a:cubicBezTo>
                  <a:cubicBezTo>
                    <a:pt x="7785" y="3240"/>
                    <a:pt x="7773" y="3257"/>
                    <a:pt x="7760" y="3271"/>
                  </a:cubicBezTo>
                  <a:cubicBezTo>
                    <a:pt x="7746" y="3285"/>
                    <a:pt x="7729" y="3298"/>
                    <a:pt x="7710" y="3308"/>
                  </a:cubicBezTo>
                  <a:lnTo>
                    <a:pt x="7736" y="3347"/>
                  </a:lnTo>
                  <a:cubicBezTo>
                    <a:pt x="7758" y="3333"/>
                    <a:pt x="7776" y="3318"/>
                    <a:pt x="7792" y="3300"/>
                  </a:cubicBezTo>
                  <a:cubicBezTo>
                    <a:pt x="7808" y="3283"/>
                    <a:pt x="7821" y="3262"/>
                    <a:pt x="7833" y="3239"/>
                  </a:cubicBezTo>
                  <a:cubicBezTo>
                    <a:pt x="7842" y="3221"/>
                    <a:pt x="7848" y="3204"/>
                    <a:pt x="7851" y="3188"/>
                  </a:cubicBezTo>
                  <a:cubicBezTo>
                    <a:pt x="7854" y="3173"/>
                    <a:pt x="7854" y="3156"/>
                    <a:pt x="7852" y="3139"/>
                  </a:cubicBezTo>
                  <a:cubicBezTo>
                    <a:pt x="7850" y="3116"/>
                    <a:pt x="7843" y="3096"/>
                    <a:pt x="7830" y="3079"/>
                  </a:cubicBezTo>
                  <a:cubicBezTo>
                    <a:pt x="7818" y="3061"/>
                    <a:pt x="7803" y="3048"/>
                    <a:pt x="7785" y="3039"/>
                  </a:cubicBezTo>
                  <a:cubicBezTo>
                    <a:pt x="7773" y="3033"/>
                    <a:pt x="7759" y="3029"/>
                    <a:pt x="7745" y="3028"/>
                  </a:cubicBezTo>
                  <a:close/>
                  <a:moveTo>
                    <a:pt x="7962" y="2957"/>
                  </a:moveTo>
                  <a:lnTo>
                    <a:pt x="7572" y="2765"/>
                  </a:lnTo>
                  <a:lnTo>
                    <a:pt x="7549" y="2810"/>
                  </a:lnTo>
                  <a:lnTo>
                    <a:pt x="7940" y="3003"/>
                  </a:lnTo>
                  <a:lnTo>
                    <a:pt x="7962" y="2957"/>
                  </a:lnTo>
                  <a:close/>
                  <a:moveTo>
                    <a:pt x="7737" y="2428"/>
                  </a:moveTo>
                  <a:lnTo>
                    <a:pt x="7610" y="2686"/>
                  </a:lnTo>
                  <a:lnTo>
                    <a:pt x="7649" y="2706"/>
                  </a:lnTo>
                  <a:lnTo>
                    <a:pt x="7701" y="2601"/>
                  </a:lnTo>
                  <a:lnTo>
                    <a:pt x="8053" y="2774"/>
                  </a:lnTo>
                  <a:lnTo>
                    <a:pt x="8075" y="2729"/>
                  </a:lnTo>
                  <a:lnTo>
                    <a:pt x="7723" y="2556"/>
                  </a:lnTo>
                  <a:lnTo>
                    <a:pt x="7775" y="2450"/>
                  </a:lnTo>
                  <a:lnTo>
                    <a:pt x="7737" y="2428"/>
                  </a:lnTo>
                  <a:close/>
                  <a:moveTo>
                    <a:pt x="7905" y="2087"/>
                  </a:moveTo>
                  <a:lnTo>
                    <a:pt x="7879" y="2141"/>
                  </a:lnTo>
                  <a:lnTo>
                    <a:pt x="7991" y="2290"/>
                  </a:lnTo>
                  <a:cubicBezTo>
                    <a:pt x="7998" y="2300"/>
                    <a:pt x="8005" y="2309"/>
                    <a:pt x="8012" y="2317"/>
                  </a:cubicBezTo>
                  <a:cubicBezTo>
                    <a:pt x="8018" y="2325"/>
                    <a:pt x="8022" y="2330"/>
                    <a:pt x="8024" y="2332"/>
                  </a:cubicBezTo>
                  <a:cubicBezTo>
                    <a:pt x="8015" y="2332"/>
                    <a:pt x="8006" y="2332"/>
                    <a:pt x="7998" y="2331"/>
                  </a:cubicBezTo>
                  <a:cubicBezTo>
                    <a:pt x="7989" y="2331"/>
                    <a:pt x="7980" y="2331"/>
                    <a:pt x="7971" y="2331"/>
                  </a:cubicBezTo>
                  <a:lnTo>
                    <a:pt x="7785" y="2331"/>
                  </a:lnTo>
                  <a:lnTo>
                    <a:pt x="7757" y="2389"/>
                  </a:lnTo>
                  <a:lnTo>
                    <a:pt x="8054" y="2379"/>
                  </a:lnTo>
                  <a:lnTo>
                    <a:pt x="8209" y="2455"/>
                  </a:lnTo>
                  <a:lnTo>
                    <a:pt x="8233" y="2407"/>
                  </a:lnTo>
                  <a:lnTo>
                    <a:pt x="8081" y="2332"/>
                  </a:lnTo>
                  <a:lnTo>
                    <a:pt x="7905" y="2087"/>
                  </a:lnTo>
                  <a:close/>
                  <a:moveTo>
                    <a:pt x="8264" y="1658"/>
                  </a:moveTo>
                  <a:cubicBezTo>
                    <a:pt x="8238" y="1653"/>
                    <a:pt x="8213" y="1651"/>
                    <a:pt x="8189" y="1655"/>
                  </a:cubicBezTo>
                  <a:cubicBezTo>
                    <a:pt x="8180" y="1656"/>
                    <a:pt x="8169" y="1658"/>
                    <a:pt x="8158" y="1662"/>
                  </a:cubicBezTo>
                  <a:cubicBezTo>
                    <a:pt x="8147" y="1665"/>
                    <a:pt x="8136" y="1670"/>
                    <a:pt x="8125" y="1677"/>
                  </a:cubicBezTo>
                  <a:cubicBezTo>
                    <a:pt x="8114" y="1684"/>
                    <a:pt x="8103" y="1693"/>
                    <a:pt x="8093" y="1704"/>
                  </a:cubicBezTo>
                  <a:cubicBezTo>
                    <a:pt x="8082" y="1715"/>
                    <a:pt x="8073" y="1729"/>
                    <a:pt x="8064" y="1746"/>
                  </a:cubicBezTo>
                  <a:cubicBezTo>
                    <a:pt x="8053" y="1770"/>
                    <a:pt x="8047" y="1794"/>
                    <a:pt x="8046" y="1818"/>
                  </a:cubicBezTo>
                  <a:cubicBezTo>
                    <a:pt x="8046" y="1842"/>
                    <a:pt x="8051" y="1865"/>
                    <a:pt x="8062" y="1887"/>
                  </a:cubicBezTo>
                  <a:cubicBezTo>
                    <a:pt x="8073" y="1908"/>
                    <a:pt x="8089" y="1929"/>
                    <a:pt x="8110" y="1948"/>
                  </a:cubicBezTo>
                  <a:cubicBezTo>
                    <a:pt x="8131" y="1968"/>
                    <a:pt x="8157" y="1985"/>
                    <a:pt x="8188" y="2000"/>
                  </a:cubicBezTo>
                  <a:cubicBezTo>
                    <a:pt x="8256" y="2034"/>
                    <a:pt x="8315" y="2044"/>
                    <a:pt x="8366" y="2030"/>
                  </a:cubicBezTo>
                  <a:cubicBezTo>
                    <a:pt x="8388" y="2024"/>
                    <a:pt x="8408" y="2014"/>
                    <a:pt x="8426" y="2000"/>
                  </a:cubicBezTo>
                  <a:cubicBezTo>
                    <a:pt x="8444" y="1986"/>
                    <a:pt x="8459" y="1967"/>
                    <a:pt x="8471" y="1943"/>
                  </a:cubicBezTo>
                  <a:cubicBezTo>
                    <a:pt x="8481" y="1923"/>
                    <a:pt x="8487" y="1903"/>
                    <a:pt x="8488" y="1885"/>
                  </a:cubicBezTo>
                  <a:cubicBezTo>
                    <a:pt x="8490" y="1866"/>
                    <a:pt x="8488" y="1847"/>
                    <a:pt x="8482" y="1826"/>
                  </a:cubicBezTo>
                  <a:cubicBezTo>
                    <a:pt x="8473" y="1797"/>
                    <a:pt x="8459" y="1772"/>
                    <a:pt x="8438" y="1750"/>
                  </a:cubicBezTo>
                  <a:cubicBezTo>
                    <a:pt x="8417" y="1729"/>
                    <a:pt x="8388" y="1709"/>
                    <a:pt x="8351" y="1690"/>
                  </a:cubicBezTo>
                  <a:cubicBezTo>
                    <a:pt x="8319" y="1675"/>
                    <a:pt x="8290" y="1664"/>
                    <a:pt x="8264" y="1658"/>
                  </a:cubicBezTo>
                  <a:close/>
                  <a:moveTo>
                    <a:pt x="8373" y="1769"/>
                  </a:moveTo>
                  <a:cubicBezTo>
                    <a:pt x="8385" y="1776"/>
                    <a:pt x="8395" y="1783"/>
                    <a:pt x="8404" y="1790"/>
                  </a:cubicBezTo>
                  <a:cubicBezTo>
                    <a:pt x="8412" y="1797"/>
                    <a:pt x="8419" y="1804"/>
                    <a:pt x="8424" y="1811"/>
                  </a:cubicBezTo>
                  <a:cubicBezTo>
                    <a:pt x="8430" y="1818"/>
                    <a:pt x="8434" y="1826"/>
                    <a:pt x="8438" y="1834"/>
                  </a:cubicBezTo>
                  <a:cubicBezTo>
                    <a:pt x="8445" y="1848"/>
                    <a:pt x="8448" y="1862"/>
                    <a:pt x="8448" y="1877"/>
                  </a:cubicBezTo>
                  <a:cubicBezTo>
                    <a:pt x="8448" y="1892"/>
                    <a:pt x="8444" y="1907"/>
                    <a:pt x="8436" y="1923"/>
                  </a:cubicBezTo>
                  <a:cubicBezTo>
                    <a:pt x="8432" y="1931"/>
                    <a:pt x="8427" y="1939"/>
                    <a:pt x="8421" y="1946"/>
                  </a:cubicBezTo>
                  <a:cubicBezTo>
                    <a:pt x="8414" y="1954"/>
                    <a:pt x="8408" y="1960"/>
                    <a:pt x="8400" y="1966"/>
                  </a:cubicBezTo>
                  <a:cubicBezTo>
                    <a:pt x="8393" y="1971"/>
                    <a:pt x="8385" y="1976"/>
                    <a:pt x="8377" y="1979"/>
                  </a:cubicBezTo>
                  <a:cubicBezTo>
                    <a:pt x="8369" y="1983"/>
                    <a:pt x="8361" y="1985"/>
                    <a:pt x="8353" y="1986"/>
                  </a:cubicBezTo>
                  <a:cubicBezTo>
                    <a:pt x="8336" y="1987"/>
                    <a:pt x="8314" y="1984"/>
                    <a:pt x="8288" y="1976"/>
                  </a:cubicBezTo>
                  <a:cubicBezTo>
                    <a:pt x="8262" y="1969"/>
                    <a:pt x="8234" y="1958"/>
                    <a:pt x="8204" y="1944"/>
                  </a:cubicBezTo>
                  <a:cubicBezTo>
                    <a:pt x="8180" y="1932"/>
                    <a:pt x="8160" y="1920"/>
                    <a:pt x="8144" y="1908"/>
                  </a:cubicBezTo>
                  <a:cubicBezTo>
                    <a:pt x="8128" y="1897"/>
                    <a:pt x="8116" y="1884"/>
                    <a:pt x="8106" y="1871"/>
                  </a:cubicBezTo>
                  <a:cubicBezTo>
                    <a:pt x="8096" y="1856"/>
                    <a:pt x="8090" y="1840"/>
                    <a:pt x="8090" y="1821"/>
                  </a:cubicBezTo>
                  <a:cubicBezTo>
                    <a:pt x="8089" y="1802"/>
                    <a:pt x="8093" y="1783"/>
                    <a:pt x="8102" y="1765"/>
                  </a:cubicBezTo>
                  <a:cubicBezTo>
                    <a:pt x="8113" y="1742"/>
                    <a:pt x="8128" y="1726"/>
                    <a:pt x="8145" y="1717"/>
                  </a:cubicBezTo>
                  <a:cubicBezTo>
                    <a:pt x="8163" y="1708"/>
                    <a:pt x="8181" y="1704"/>
                    <a:pt x="8198" y="1704"/>
                  </a:cubicBezTo>
                  <a:cubicBezTo>
                    <a:pt x="8215" y="1704"/>
                    <a:pt x="8234" y="1708"/>
                    <a:pt x="8256" y="1715"/>
                  </a:cubicBezTo>
                  <a:cubicBezTo>
                    <a:pt x="8278" y="1721"/>
                    <a:pt x="8303" y="1732"/>
                    <a:pt x="8332" y="1746"/>
                  </a:cubicBezTo>
                  <a:cubicBezTo>
                    <a:pt x="8348" y="1754"/>
                    <a:pt x="8362" y="1762"/>
                    <a:pt x="8373" y="1769"/>
                  </a:cubicBezTo>
                  <a:close/>
                  <a:moveTo>
                    <a:pt x="8299" y="1287"/>
                  </a:moveTo>
                  <a:lnTo>
                    <a:pt x="8197" y="1493"/>
                  </a:lnTo>
                  <a:lnTo>
                    <a:pt x="8588" y="1685"/>
                  </a:lnTo>
                  <a:lnTo>
                    <a:pt x="8611" y="1638"/>
                  </a:lnTo>
                  <a:lnTo>
                    <a:pt x="8426" y="1547"/>
                  </a:lnTo>
                  <a:lnTo>
                    <a:pt x="8487" y="1421"/>
                  </a:lnTo>
                  <a:lnTo>
                    <a:pt x="8449" y="1403"/>
                  </a:lnTo>
                  <a:lnTo>
                    <a:pt x="8388" y="1528"/>
                  </a:lnTo>
                  <a:lnTo>
                    <a:pt x="8259" y="1465"/>
                  </a:lnTo>
                  <a:lnTo>
                    <a:pt x="8334" y="1314"/>
                  </a:lnTo>
                  <a:lnTo>
                    <a:pt x="8299" y="1287"/>
                  </a:lnTo>
                  <a:close/>
                  <a:moveTo>
                    <a:pt x="8964" y="921"/>
                  </a:moveTo>
                  <a:lnTo>
                    <a:pt x="8557" y="762"/>
                  </a:lnTo>
                  <a:lnTo>
                    <a:pt x="8523" y="831"/>
                  </a:lnTo>
                  <a:lnTo>
                    <a:pt x="8747" y="1032"/>
                  </a:lnTo>
                  <a:cubicBezTo>
                    <a:pt x="8760" y="1044"/>
                    <a:pt x="8773" y="1055"/>
                    <a:pt x="8784" y="1063"/>
                  </a:cubicBezTo>
                  <a:cubicBezTo>
                    <a:pt x="8795" y="1072"/>
                    <a:pt x="8802" y="1077"/>
                    <a:pt x="8803" y="1078"/>
                  </a:cubicBezTo>
                  <a:cubicBezTo>
                    <a:pt x="8801" y="1077"/>
                    <a:pt x="8793" y="1075"/>
                    <a:pt x="8779" y="1071"/>
                  </a:cubicBezTo>
                  <a:cubicBezTo>
                    <a:pt x="8765" y="1068"/>
                    <a:pt x="8748" y="1064"/>
                    <a:pt x="8728" y="1060"/>
                  </a:cubicBezTo>
                  <a:lnTo>
                    <a:pt x="8437" y="1005"/>
                  </a:lnTo>
                  <a:lnTo>
                    <a:pt x="8404" y="1074"/>
                  </a:lnTo>
                  <a:lnTo>
                    <a:pt x="8778" y="1300"/>
                  </a:lnTo>
                  <a:lnTo>
                    <a:pt x="8800" y="1255"/>
                  </a:lnTo>
                  <a:lnTo>
                    <a:pt x="8532" y="1097"/>
                  </a:lnTo>
                  <a:cubicBezTo>
                    <a:pt x="8527" y="1094"/>
                    <a:pt x="8520" y="1090"/>
                    <a:pt x="8513" y="1085"/>
                  </a:cubicBezTo>
                  <a:cubicBezTo>
                    <a:pt x="8505" y="1081"/>
                    <a:pt x="8498" y="1077"/>
                    <a:pt x="8491" y="1073"/>
                  </a:cubicBezTo>
                  <a:cubicBezTo>
                    <a:pt x="8483" y="1069"/>
                    <a:pt x="8477" y="1065"/>
                    <a:pt x="8471" y="1062"/>
                  </a:cubicBezTo>
                  <a:cubicBezTo>
                    <a:pt x="8466" y="1059"/>
                    <a:pt x="8463" y="1057"/>
                    <a:pt x="8462" y="1056"/>
                  </a:cubicBezTo>
                  <a:cubicBezTo>
                    <a:pt x="8466" y="1058"/>
                    <a:pt x="8475" y="1060"/>
                    <a:pt x="8489" y="1062"/>
                  </a:cubicBezTo>
                  <a:cubicBezTo>
                    <a:pt x="8504" y="1065"/>
                    <a:pt x="8523" y="1069"/>
                    <a:pt x="8545" y="1073"/>
                  </a:cubicBezTo>
                  <a:lnTo>
                    <a:pt x="8860" y="1132"/>
                  </a:lnTo>
                  <a:lnTo>
                    <a:pt x="8880" y="1092"/>
                  </a:lnTo>
                  <a:lnTo>
                    <a:pt x="8630" y="865"/>
                  </a:lnTo>
                  <a:cubicBezTo>
                    <a:pt x="8624" y="861"/>
                    <a:pt x="8619" y="856"/>
                    <a:pt x="8613" y="851"/>
                  </a:cubicBezTo>
                  <a:cubicBezTo>
                    <a:pt x="8607" y="846"/>
                    <a:pt x="8601" y="841"/>
                    <a:pt x="8596" y="837"/>
                  </a:cubicBezTo>
                  <a:cubicBezTo>
                    <a:pt x="8591" y="832"/>
                    <a:pt x="8586" y="828"/>
                    <a:pt x="8583" y="825"/>
                  </a:cubicBezTo>
                  <a:cubicBezTo>
                    <a:pt x="8579" y="822"/>
                    <a:pt x="8577" y="820"/>
                    <a:pt x="8576" y="820"/>
                  </a:cubicBezTo>
                  <a:cubicBezTo>
                    <a:pt x="8577" y="820"/>
                    <a:pt x="8580" y="821"/>
                    <a:pt x="8584" y="823"/>
                  </a:cubicBezTo>
                  <a:cubicBezTo>
                    <a:pt x="8589" y="825"/>
                    <a:pt x="8595" y="828"/>
                    <a:pt x="8601" y="831"/>
                  </a:cubicBezTo>
                  <a:cubicBezTo>
                    <a:pt x="8608" y="834"/>
                    <a:pt x="8615" y="837"/>
                    <a:pt x="8623" y="841"/>
                  </a:cubicBezTo>
                  <a:cubicBezTo>
                    <a:pt x="8630" y="844"/>
                    <a:pt x="8637" y="847"/>
                    <a:pt x="8644" y="849"/>
                  </a:cubicBezTo>
                  <a:lnTo>
                    <a:pt x="8941" y="968"/>
                  </a:lnTo>
                  <a:lnTo>
                    <a:pt x="8964" y="921"/>
                  </a:lnTo>
                  <a:close/>
                  <a:moveTo>
                    <a:pt x="8592" y="503"/>
                  </a:moveTo>
                  <a:cubicBezTo>
                    <a:pt x="8583" y="506"/>
                    <a:pt x="8577" y="512"/>
                    <a:pt x="8573" y="520"/>
                  </a:cubicBezTo>
                  <a:cubicBezTo>
                    <a:pt x="8569" y="528"/>
                    <a:pt x="8568" y="536"/>
                    <a:pt x="8571" y="545"/>
                  </a:cubicBezTo>
                  <a:cubicBezTo>
                    <a:pt x="8574" y="553"/>
                    <a:pt x="8580" y="559"/>
                    <a:pt x="8588" y="563"/>
                  </a:cubicBezTo>
                  <a:cubicBezTo>
                    <a:pt x="8596" y="567"/>
                    <a:pt x="8605" y="568"/>
                    <a:pt x="8613" y="565"/>
                  </a:cubicBezTo>
                  <a:cubicBezTo>
                    <a:pt x="8622" y="563"/>
                    <a:pt x="8628" y="557"/>
                    <a:pt x="8632" y="549"/>
                  </a:cubicBezTo>
                  <a:cubicBezTo>
                    <a:pt x="8637" y="540"/>
                    <a:pt x="8637" y="532"/>
                    <a:pt x="8634" y="523"/>
                  </a:cubicBezTo>
                  <a:cubicBezTo>
                    <a:pt x="8631" y="515"/>
                    <a:pt x="8625" y="509"/>
                    <a:pt x="8617" y="505"/>
                  </a:cubicBezTo>
                  <a:cubicBezTo>
                    <a:pt x="8608" y="501"/>
                    <a:pt x="8600" y="500"/>
                    <a:pt x="8592" y="503"/>
                  </a:cubicBezTo>
                  <a:close/>
                  <a:moveTo>
                    <a:pt x="8649" y="386"/>
                  </a:moveTo>
                  <a:cubicBezTo>
                    <a:pt x="8641" y="389"/>
                    <a:pt x="8634" y="395"/>
                    <a:pt x="8630" y="403"/>
                  </a:cubicBezTo>
                  <a:cubicBezTo>
                    <a:pt x="8626" y="411"/>
                    <a:pt x="8626" y="419"/>
                    <a:pt x="8629" y="428"/>
                  </a:cubicBezTo>
                  <a:cubicBezTo>
                    <a:pt x="8632" y="436"/>
                    <a:pt x="8637" y="443"/>
                    <a:pt x="8645" y="447"/>
                  </a:cubicBezTo>
                  <a:cubicBezTo>
                    <a:pt x="8653" y="451"/>
                    <a:pt x="8662" y="451"/>
                    <a:pt x="8671" y="449"/>
                  </a:cubicBezTo>
                  <a:cubicBezTo>
                    <a:pt x="8679" y="446"/>
                    <a:pt x="8686" y="440"/>
                    <a:pt x="8690" y="432"/>
                  </a:cubicBezTo>
                  <a:cubicBezTo>
                    <a:pt x="8694" y="423"/>
                    <a:pt x="8694" y="415"/>
                    <a:pt x="8691" y="407"/>
                  </a:cubicBezTo>
                  <a:cubicBezTo>
                    <a:pt x="8688" y="398"/>
                    <a:pt x="8682" y="392"/>
                    <a:pt x="8674" y="388"/>
                  </a:cubicBezTo>
                  <a:cubicBezTo>
                    <a:pt x="8666" y="384"/>
                    <a:pt x="8658" y="383"/>
                    <a:pt x="8649" y="386"/>
                  </a:cubicBezTo>
                  <a:close/>
                  <a:moveTo>
                    <a:pt x="1203" y="18049"/>
                  </a:moveTo>
                  <a:cubicBezTo>
                    <a:pt x="1188" y="18047"/>
                    <a:pt x="1174" y="18048"/>
                    <a:pt x="1161" y="18052"/>
                  </a:cubicBezTo>
                  <a:cubicBezTo>
                    <a:pt x="1148" y="18055"/>
                    <a:pt x="1136" y="18061"/>
                    <a:pt x="1125" y="18068"/>
                  </a:cubicBezTo>
                  <a:cubicBezTo>
                    <a:pt x="1114" y="18075"/>
                    <a:pt x="1102" y="18087"/>
                    <a:pt x="1088" y="18101"/>
                  </a:cubicBezTo>
                  <a:lnTo>
                    <a:pt x="1052" y="18139"/>
                  </a:lnTo>
                  <a:cubicBezTo>
                    <a:pt x="1033" y="18159"/>
                    <a:pt x="1016" y="18171"/>
                    <a:pt x="1001" y="18177"/>
                  </a:cubicBezTo>
                  <a:cubicBezTo>
                    <a:pt x="987" y="18182"/>
                    <a:pt x="972" y="18181"/>
                    <a:pt x="956" y="18173"/>
                  </a:cubicBezTo>
                  <a:cubicBezTo>
                    <a:pt x="936" y="18163"/>
                    <a:pt x="923" y="18148"/>
                    <a:pt x="919" y="18129"/>
                  </a:cubicBezTo>
                  <a:cubicBezTo>
                    <a:pt x="914" y="18110"/>
                    <a:pt x="918" y="18088"/>
                    <a:pt x="930" y="18063"/>
                  </a:cubicBezTo>
                  <a:cubicBezTo>
                    <a:pt x="934" y="18055"/>
                    <a:pt x="938" y="18047"/>
                    <a:pt x="943" y="18040"/>
                  </a:cubicBezTo>
                  <a:cubicBezTo>
                    <a:pt x="948" y="18034"/>
                    <a:pt x="954" y="18027"/>
                    <a:pt x="960" y="18021"/>
                  </a:cubicBezTo>
                  <a:cubicBezTo>
                    <a:pt x="966" y="18015"/>
                    <a:pt x="973" y="18009"/>
                    <a:pt x="981" y="18003"/>
                  </a:cubicBezTo>
                  <a:cubicBezTo>
                    <a:pt x="990" y="17997"/>
                    <a:pt x="999" y="17991"/>
                    <a:pt x="1010" y="17984"/>
                  </a:cubicBezTo>
                  <a:lnTo>
                    <a:pt x="986" y="17947"/>
                  </a:lnTo>
                  <a:cubicBezTo>
                    <a:pt x="943" y="17972"/>
                    <a:pt x="911" y="18005"/>
                    <a:pt x="891" y="18047"/>
                  </a:cubicBezTo>
                  <a:cubicBezTo>
                    <a:pt x="881" y="18066"/>
                    <a:pt x="875" y="18084"/>
                    <a:pt x="873" y="18103"/>
                  </a:cubicBezTo>
                  <a:cubicBezTo>
                    <a:pt x="871" y="18121"/>
                    <a:pt x="872" y="18138"/>
                    <a:pt x="877" y="18154"/>
                  </a:cubicBezTo>
                  <a:cubicBezTo>
                    <a:pt x="881" y="18170"/>
                    <a:pt x="889" y="18184"/>
                    <a:pt x="899" y="18197"/>
                  </a:cubicBezTo>
                  <a:cubicBezTo>
                    <a:pt x="910" y="18210"/>
                    <a:pt x="924" y="18220"/>
                    <a:pt x="941" y="18228"/>
                  </a:cubicBezTo>
                  <a:cubicBezTo>
                    <a:pt x="966" y="18241"/>
                    <a:pt x="991" y="18243"/>
                    <a:pt x="1016" y="18235"/>
                  </a:cubicBezTo>
                  <a:cubicBezTo>
                    <a:pt x="1028" y="18232"/>
                    <a:pt x="1039" y="18226"/>
                    <a:pt x="1049" y="18218"/>
                  </a:cubicBezTo>
                  <a:cubicBezTo>
                    <a:pt x="1059" y="18210"/>
                    <a:pt x="1071" y="18198"/>
                    <a:pt x="1085" y="18183"/>
                  </a:cubicBezTo>
                  <a:lnTo>
                    <a:pt x="1117" y="18150"/>
                  </a:lnTo>
                  <a:cubicBezTo>
                    <a:pt x="1154" y="18110"/>
                    <a:pt x="1190" y="18098"/>
                    <a:pt x="1224" y="18115"/>
                  </a:cubicBezTo>
                  <a:cubicBezTo>
                    <a:pt x="1247" y="18127"/>
                    <a:pt x="1261" y="18145"/>
                    <a:pt x="1266" y="18171"/>
                  </a:cubicBezTo>
                  <a:cubicBezTo>
                    <a:pt x="1269" y="18182"/>
                    <a:pt x="1269" y="18193"/>
                    <a:pt x="1267" y="18204"/>
                  </a:cubicBezTo>
                  <a:cubicBezTo>
                    <a:pt x="1265" y="18214"/>
                    <a:pt x="1260" y="18226"/>
                    <a:pt x="1253" y="18241"/>
                  </a:cubicBezTo>
                  <a:cubicBezTo>
                    <a:pt x="1251" y="18246"/>
                    <a:pt x="1248" y="18250"/>
                    <a:pt x="1246" y="18254"/>
                  </a:cubicBezTo>
                  <a:lnTo>
                    <a:pt x="1294" y="18254"/>
                  </a:lnTo>
                  <a:cubicBezTo>
                    <a:pt x="1301" y="18238"/>
                    <a:pt x="1306" y="18223"/>
                    <a:pt x="1309" y="18209"/>
                  </a:cubicBezTo>
                  <a:cubicBezTo>
                    <a:pt x="1312" y="18194"/>
                    <a:pt x="1312" y="18178"/>
                    <a:pt x="1310" y="18160"/>
                  </a:cubicBezTo>
                  <a:cubicBezTo>
                    <a:pt x="1308" y="18138"/>
                    <a:pt x="1300" y="18117"/>
                    <a:pt x="1288" y="18100"/>
                  </a:cubicBezTo>
                  <a:cubicBezTo>
                    <a:pt x="1276" y="18082"/>
                    <a:pt x="1261" y="18069"/>
                    <a:pt x="1243" y="18060"/>
                  </a:cubicBezTo>
                  <a:cubicBezTo>
                    <a:pt x="1231" y="18054"/>
                    <a:pt x="1217" y="18050"/>
                    <a:pt x="1203" y="18049"/>
                  </a:cubicBezTo>
                  <a:close/>
                  <a:moveTo>
                    <a:pt x="9002" y="2570"/>
                  </a:moveTo>
                  <a:lnTo>
                    <a:pt x="9002" y="2530"/>
                  </a:lnTo>
                  <a:lnTo>
                    <a:pt x="8690" y="2217"/>
                  </a:lnTo>
                  <a:lnTo>
                    <a:pt x="8667" y="2265"/>
                  </a:lnTo>
                  <a:lnTo>
                    <a:pt x="8883" y="2475"/>
                  </a:lnTo>
                  <a:cubicBezTo>
                    <a:pt x="8901" y="2493"/>
                    <a:pt x="8916" y="2507"/>
                    <a:pt x="8928" y="2518"/>
                  </a:cubicBezTo>
                  <a:cubicBezTo>
                    <a:pt x="8940" y="2529"/>
                    <a:pt x="8948" y="2536"/>
                    <a:pt x="8953" y="2539"/>
                  </a:cubicBezTo>
                  <a:cubicBezTo>
                    <a:pt x="8950" y="2539"/>
                    <a:pt x="8945" y="2537"/>
                    <a:pt x="8938" y="2535"/>
                  </a:cubicBezTo>
                  <a:cubicBezTo>
                    <a:pt x="8931" y="2534"/>
                    <a:pt x="8923" y="2532"/>
                    <a:pt x="8914" y="2530"/>
                  </a:cubicBezTo>
                  <a:cubicBezTo>
                    <a:pt x="8905" y="2528"/>
                    <a:pt x="8895" y="2526"/>
                    <a:pt x="8885" y="2524"/>
                  </a:cubicBezTo>
                  <a:cubicBezTo>
                    <a:pt x="8875" y="2523"/>
                    <a:pt x="8864" y="2521"/>
                    <a:pt x="8854" y="2519"/>
                  </a:cubicBezTo>
                  <a:lnTo>
                    <a:pt x="8562" y="2478"/>
                  </a:lnTo>
                  <a:lnTo>
                    <a:pt x="8537" y="2529"/>
                  </a:lnTo>
                  <a:lnTo>
                    <a:pt x="8993" y="2590"/>
                  </a:lnTo>
                  <a:lnTo>
                    <a:pt x="9002" y="2570"/>
                  </a:lnTo>
                  <a:close/>
                  <a:moveTo>
                    <a:pt x="9002" y="2277"/>
                  </a:moveTo>
                  <a:lnTo>
                    <a:pt x="9002" y="2218"/>
                  </a:lnTo>
                  <a:lnTo>
                    <a:pt x="8958" y="2196"/>
                  </a:lnTo>
                  <a:lnTo>
                    <a:pt x="9002" y="2107"/>
                  </a:lnTo>
                  <a:lnTo>
                    <a:pt x="9002" y="2052"/>
                  </a:lnTo>
                  <a:lnTo>
                    <a:pt x="8984" y="2042"/>
                  </a:lnTo>
                  <a:lnTo>
                    <a:pt x="8918" y="2176"/>
                  </a:lnTo>
                  <a:lnTo>
                    <a:pt x="8790" y="2113"/>
                  </a:lnTo>
                  <a:lnTo>
                    <a:pt x="8868" y="1953"/>
                  </a:lnTo>
                  <a:lnTo>
                    <a:pt x="8833" y="1928"/>
                  </a:lnTo>
                  <a:lnTo>
                    <a:pt x="8728" y="2142"/>
                  </a:lnTo>
                  <a:lnTo>
                    <a:pt x="9002" y="2277"/>
                  </a:lnTo>
                  <a:close/>
                  <a:moveTo>
                    <a:pt x="9002" y="1901"/>
                  </a:moveTo>
                  <a:lnTo>
                    <a:pt x="9002" y="1845"/>
                  </a:lnTo>
                  <a:lnTo>
                    <a:pt x="8938" y="1813"/>
                  </a:lnTo>
                  <a:lnTo>
                    <a:pt x="8961" y="1767"/>
                  </a:lnTo>
                  <a:cubicBezTo>
                    <a:pt x="8966" y="1756"/>
                    <a:pt x="8971" y="1747"/>
                    <a:pt x="8976" y="1740"/>
                  </a:cubicBezTo>
                  <a:cubicBezTo>
                    <a:pt x="8982" y="1733"/>
                    <a:pt x="8987" y="1727"/>
                    <a:pt x="8993" y="1721"/>
                  </a:cubicBezTo>
                  <a:cubicBezTo>
                    <a:pt x="8996" y="1719"/>
                    <a:pt x="8999" y="1717"/>
                    <a:pt x="9002" y="1715"/>
                  </a:cubicBezTo>
                  <a:lnTo>
                    <a:pt x="9002" y="1659"/>
                  </a:lnTo>
                  <a:cubicBezTo>
                    <a:pt x="8999" y="1660"/>
                    <a:pt x="8997" y="1661"/>
                    <a:pt x="8995" y="1662"/>
                  </a:cubicBezTo>
                  <a:cubicBezTo>
                    <a:pt x="8989" y="1665"/>
                    <a:pt x="8983" y="1668"/>
                    <a:pt x="8977" y="1673"/>
                  </a:cubicBezTo>
                  <a:cubicBezTo>
                    <a:pt x="8971" y="1677"/>
                    <a:pt x="8965" y="1683"/>
                    <a:pt x="8959" y="1689"/>
                  </a:cubicBezTo>
                  <a:cubicBezTo>
                    <a:pt x="8952" y="1696"/>
                    <a:pt x="8946" y="1704"/>
                    <a:pt x="8940" y="1714"/>
                  </a:cubicBezTo>
                  <a:cubicBezTo>
                    <a:pt x="8934" y="1724"/>
                    <a:pt x="8928" y="1735"/>
                    <a:pt x="8921" y="1748"/>
                  </a:cubicBezTo>
                  <a:lnTo>
                    <a:pt x="8876" y="1840"/>
                  </a:lnTo>
                  <a:lnTo>
                    <a:pt x="9002" y="1901"/>
                  </a:lnTo>
                  <a:close/>
                  <a:moveTo>
                    <a:pt x="1120" y="17602"/>
                  </a:moveTo>
                  <a:lnTo>
                    <a:pt x="993" y="17861"/>
                  </a:lnTo>
                  <a:lnTo>
                    <a:pt x="1032" y="17880"/>
                  </a:lnTo>
                  <a:lnTo>
                    <a:pt x="1084" y="17775"/>
                  </a:lnTo>
                  <a:lnTo>
                    <a:pt x="1435" y="17948"/>
                  </a:lnTo>
                  <a:lnTo>
                    <a:pt x="1457" y="17903"/>
                  </a:lnTo>
                  <a:lnTo>
                    <a:pt x="1106" y="17730"/>
                  </a:lnTo>
                  <a:lnTo>
                    <a:pt x="1158" y="17624"/>
                  </a:lnTo>
                  <a:lnTo>
                    <a:pt x="1120" y="17602"/>
                  </a:lnTo>
                  <a:close/>
                  <a:moveTo>
                    <a:pt x="1652" y="17508"/>
                  </a:moveTo>
                  <a:lnTo>
                    <a:pt x="1611" y="17488"/>
                  </a:lnTo>
                  <a:lnTo>
                    <a:pt x="1527" y="17660"/>
                  </a:lnTo>
                  <a:lnTo>
                    <a:pt x="1384" y="17590"/>
                  </a:lnTo>
                  <a:lnTo>
                    <a:pt x="1450" y="17456"/>
                  </a:lnTo>
                  <a:lnTo>
                    <a:pt x="1409" y="17436"/>
                  </a:lnTo>
                  <a:lnTo>
                    <a:pt x="1343" y="17570"/>
                  </a:lnTo>
                  <a:lnTo>
                    <a:pt x="1215" y="17507"/>
                  </a:lnTo>
                  <a:lnTo>
                    <a:pt x="1294" y="17347"/>
                  </a:lnTo>
                  <a:lnTo>
                    <a:pt x="1258" y="17321"/>
                  </a:lnTo>
                  <a:lnTo>
                    <a:pt x="1153" y="17535"/>
                  </a:lnTo>
                  <a:lnTo>
                    <a:pt x="1544" y="17727"/>
                  </a:lnTo>
                  <a:lnTo>
                    <a:pt x="1652" y="17508"/>
                  </a:lnTo>
                  <a:close/>
                  <a:moveTo>
                    <a:pt x="1815" y="17177"/>
                  </a:moveTo>
                  <a:lnTo>
                    <a:pt x="1778" y="17182"/>
                  </a:lnTo>
                  <a:cubicBezTo>
                    <a:pt x="1762" y="17184"/>
                    <a:pt x="1744" y="17186"/>
                    <a:pt x="1725" y="17189"/>
                  </a:cubicBezTo>
                  <a:cubicBezTo>
                    <a:pt x="1707" y="17191"/>
                    <a:pt x="1689" y="17194"/>
                    <a:pt x="1673" y="17196"/>
                  </a:cubicBezTo>
                  <a:cubicBezTo>
                    <a:pt x="1656" y="17198"/>
                    <a:pt x="1645" y="17200"/>
                    <a:pt x="1638" y="17201"/>
                  </a:cubicBezTo>
                  <a:cubicBezTo>
                    <a:pt x="1628" y="17203"/>
                    <a:pt x="1617" y="17206"/>
                    <a:pt x="1605" y="17209"/>
                  </a:cubicBezTo>
                  <a:cubicBezTo>
                    <a:pt x="1593" y="17212"/>
                    <a:pt x="1583" y="17215"/>
                    <a:pt x="1574" y="17219"/>
                  </a:cubicBezTo>
                  <a:lnTo>
                    <a:pt x="1577" y="17214"/>
                  </a:lnTo>
                  <a:cubicBezTo>
                    <a:pt x="1585" y="17198"/>
                    <a:pt x="1589" y="17183"/>
                    <a:pt x="1590" y="17167"/>
                  </a:cubicBezTo>
                  <a:cubicBezTo>
                    <a:pt x="1592" y="17152"/>
                    <a:pt x="1590" y="17138"/>
                    <a:pt x="1585" y="17124"/>
                  </a:cubicBezTo>
                  <a:cubicBezTo>
                    <a:pt x="1580" y="17110"/>
                    <a:pt x="1572" y="17098"/>
                    <a:pt x="1561" y="17086"/>
                  </a:cubicBezTo>
                  <a:cubicBezTo>
                    <a:pt x="1551" y="17075"/>
                    <a:pt x="1537" y="17065"/>
                    <a:pt x="1521" y="17057"/>
                  </a:cubicBezTo>
                  <a:cubicBezTo>
                    <a:pt x="1511" y="17052"/>
                    <a:pt x="1501" y="17049"/>
                    <a:pt x="1491" y="17047"/>
                  </a:cubicBezTo>
                  <a:cubicBezTo>
                    <a:pt x="1481" y="17045"/>
                    <a:pt x="1472" y="17044"/>
                    <a:pt x="1464" y="17045"/>
                  </a:cubicBezTo>
                  <a:cubicBezTo>
                    <a:pt x="1455" y="17045"/>
                    <a:pt x="1447" y="17046"/>
                    <a:pt x="1440" y="17048"/>
                  </a:cubicBezTo>
                  <a:cubicBezTo>
                    <a:pt x="1432" y="17050"/>
                    <a:pt x="1426" y="17053"/>
                    <a:pt x="1420" y="17056"/>
                  </a:cubicBezTo>
                  <a:cubicBezTo>
                    <a:pt x="1414" y="17058"/>
                    <a:pt x="1408" y="17062"/>
                    <a:pt x="1402" y="17066"/>
                  </a:cubicBezTo>
                  <a:cubicBezTo>
                    <a:pt x="1396" y="17071"/>
                    <a:pt x="1390" y="17076"/>
                    <a:pt x="1384" y="17083"/>
                  </a:cubicBezTo>
                  <a:cubicBezTo>
                    <a:pt x="1378" y="17089"/>
                    <a:pt x="1372" y="17098"/>
                    <a:pt x="1366" y="17107"/>
                  </a:cubicBezTo>
                  <a:cubicBezTo>
                    <a:pt x="1359" y="17117"/>
                    <a:pt x="1353" y="17128"/>
                    <a:pt x="1347" y="17142"/>
                  </a:cubicBezTo>
                  <a:lnTo>
                    <a:pt x="1302" y="17233"/>
                  </a:lnTo>
                  <a:lnTo>
                    <a:pt x="1692" y="17425"/>
                  </a:lnTo>
                  <a:lnTo>
                    <a:pt x="1715" y="17380"/>
                  </a:lnTo>
                  <a:lnTo>
                    <a:pt x="1538" y="17293"/>
                  </a:lnTo>
                  <a:cubicBezTo>
                    <a:pt x="1544" y="17283"/>
                    <a:pt x="1549" y="17276"/>
                    <a:pt x="1556" y="17271"/>
                  </a:cubicBezTo>
                  <a:cubicBezTo>
                    <a:pt x="1562" y="17267"/>
                    <a:pt x="1572" y="17263"/>
                    <a:pt x="1585" y="17261"/>
                  </a:cubicBezTo>
                  <a:cubicBezTo>
                    <a:pt x="1608" y="17256"/>
                    <a:pt x="1630" y="17252"/>
                    <a:pt x="1651" y="17248"/>
                  </a:cubicBezTo>
                  <a:cubicBezTo>
                    <a:pt x="1672" y="17245"/>
                    <a:pt x="1691" y="17242"/>
                    <a:pt x="1708" y="17240"/>
                  </a:cubicBezTo>
                  <a:cubicBezTo>
                    <a:pt x="1726" y="17238"/>
                    <a:pt x="1741" y="17237"/>
                    <a:pt x="1754" y="17236"/>
                  </a:cubicBezTo>
                  <a:cubicBezTo>
                    <a:pt x="1767" y="17236"/>
                    <a:pt x="1778" y="17235"/>
                    <a:pt x="1786" y="17236"/>
                  </a:cubicBezTo>
                  <a:lnTo>
                    <a:pt x="1815" y="17177"/>
                  </a:lnTo>
                  <a:close/>
                  <a:moveTo>
                    <a:pt x="1528" y="17128"/>
                  </a:moveTo>
                  <a:cubicBezTo>
                    <a:pt x="1537" y="17136"/>
                    <a:pt x="1542" y="17145"/>
                    <a:pt x="1545" y="17155"/>
                  </a:cubicBezTo>
                  <a:cubicBezTo>
                    <a:pt x="1548" y="17166"/>
                    <a:pt x="1549" y="17177"/>
                    <a:pt x="1547" y="17190"/>
                  </a:cubicBezTo>
                  <a:cubicBezTo>
                    <a:pt x="1545" y="17203"/>
                    <a:pt x="1539" y="17218"/>
                    <a:pt x="1531" y="17235"/>
                  </a:cubicBezTo>
                  <a:lnTo>
                    <a:pt x="1509" y="17278"/>
                  </a:lnTo>
                  <a:lnTo>
                    <a:pt x="1363" y="17207"/>
                  </a:lnTo>
                  <a:lnTo>
                    <a:pt x="1386" y="17160"/>
                  </a:lnTo>
                  <a:cubicBezTo>
                    <a:pt x="1392" y="17149"/>
                    <a:pt x="1397" y="17140"/>
                    <a:pt x="1402" y="17133"/>
                  </a:cubicBezTo>
                  <a:cubicBezTo>
                    <a:pt x="1407" y="17126"/>
                    <a:pt x="1413" y="17120"/>
                    <a:pt x="1418" y="17115"/>
                  </a:cubicBezTo>
                  <a:cubicBezTo>
                    <a:pt x="1428" y="17106"/>
                    <a:pt x="1441" y="17101"/>
                    <a:pt x="1455" y="17099"/>
                  </a:cubicBezTo>
                  <a:cubicBezTo>
                    <a:pt x="1470" y="17097"/>
                    <a:pt x="1484" y="17100"/>
                    <a:pt x="1497" y="17106"/>
                  </a:cubicBezTo>
                  <a:cubicBezTo>
                    <a:pt x="1509" y="17112"/>
                    <a:pt x="1520" y="17120"/>
                    <a:pt x="1528" y="17128"/>
                  </a:cubicBezTo>
                  <a:close/>
                  <a:moveTo>
                    <a:pt x="2027" y="16965"/>
                  </a:moveTo>
                  <a:lnTo>
                    <a:pt x="1477" y="16695"/>
                  </a:lnTo>
                  <a:lnTo>
                    <a:pt x="1459" y="16733"/>
                  </a:lnTo>
                  <a:lnTo>
                    <a:pt x="2008" y="17003"/>
                  </a:lnTo>
                  <a:lnTo>
                    <a:pt x="2027" y="16965"/>
                  </a:lnTo>
                  <a:close/>
                  <a:moveTo>
                    <a:pt x="1872" y="16074"/>
                  </a:moveTo>
                  <a:lnTo>
                    <a:pt x="1849" y="16121"/>
                  </a:lnTo>
                  <a:lnTo>
                    <a:pt x="2052" y="16281"/>
                  </a:lnTo>
                  <a:cubicBezTo>
                    <a:pt x="2065" y="16291"/>
                    <a:pt x="2078" y="16301"/>
                    <a:pt x="2090" y="16311"/>
                  </a:cubicBezTo>
                  <a:cubicBezTo>
                    <a:pt x="2103" y="16320"/>
                    <a:pt x="2114" y="16329"/>
                    <a:pt x="2125" y="16336"/>
                  </a:cubicBezTo>
                  <a:cubicBezTo>
                    <a:pt x="2135" y="16344"/>
                    <a:pt x="2143" y="16350"/>
                    <a:pt x="2150" y="16355"/>
                  </a:cubicBezTo>
                  <a:cubicBezTo>
                    <a:pt x="2155" y="16359"/>
                    <a:pt x="2158" y="16361"/>
                    <a:pt x="2160" y="16362"/>
                  </a:cubicBezTo>
                  <a:cubicBezTo>
                    <a:pt x="2158" y="16362"/>
                    <a:pt x="2155" y="16361"/>
                    <a:pt x="2150" y="16360"/>
                  </a:cubicBezTo>
                  <a:cubicBezTo>
                    <a:pt x="2144" y="16358"/>
                    <a:pt x="2136" y="16355"/>
                    <a:pt x="2126" y="16352"/>
                  </a:cubicBezTo>
                  <a:cubicBezTo>
                    <a:pt x="2116" y="16349"/>
                    <a:pt x="2104" y="16346"/>
                    <a:pt x="2091" y="16343"/>
                  </a:cubicBezTo>
                  <a:cubicBezTo>
                    <a:pt x="2077" y="16339"/>
                    <a:pt x="2063" y="16335"/>
                    <a:pt x="2047" y="16331"/>
                  </a:cubicBezTo>
                  <a:lnTo>
                    <a:pt x="1777" y="16266"/>
                  </a:lnTo>
                  <a:lnTo>
                    <a:pt x="1751" y="16319"/>
                  </a:lnTo>
                  <a:lnTo>
                    <a:pt x="1960" y="16486"/>
                  </a:lnTo>
                  <a:cubicBezTo>
                    <a:pt x="1970" y="16494"/>
                    <a:pt x="1981" y="16502"/>
                    <a:pt x="1992" y="16511"/>
                  </a:cubicBezTo>
                  <a:cubicBezTo>
                    <a:pt x="2004" y="16520"/>
                    <a:pt x="2015" y="16528"/>
                    <a:pt x="2025" y="16536"/>
                  </a:cubicBezTo>
                  <a:cubicBezTo>
                    <a:pt x="2035" y="16543"/>
                    <a:pt x="2043" y="16550"/>
                    <a:pt x="2050" y="16555"/>
                  </a:cubicBezTo>
                  <a:cubicBezTo>
                    <a:pt x="2057" y="16561"/>
                    <a:pt x="2061" y="16563"/>
                    <a:pt x="2062" y="16564"/>
                  </a:cubicBezTo>
                  <a:cubicBezTo>
                    <a:pt x="2060" y="16563"/>
                    <a:pt x="2055" y="16562"/>
                    <a:pt x="2047" y="16559"/>
                  </a:cubicBezTo>
                  <a:cubicBezTo>
                    <a:pt x="2038" y="16556"/>
                    <a:pt x="2028" y="16553"/>
                    <a:pt x="2015" y="16549"/>
                  </a:cubicBezTo>
                  <a:cubicBezTo>
                    <a:pt x="2003" y="16546"/>
                    <a:pt x="1989" y="16542"/>
                    <a:pt x="1975" y="16538"/>
                  </a:cubicBezTo>
                  <a:cubicBezTo>
                    <a:pt x="1960" y="16534"/>
                    <a:pt x="1946" y="16530"/>
                    <a:pt x="1933" y="16527"/>
                  </a:cubicBezTo>
                  <a:lnTo>
                    <a:pt x="1680" y="16464"/>
                  </a:lnTo>
                  <a:lnTo>
                    <a:pt x="1655" y="16514"/>
                  </a:lnTo>
                  <a:lnTo>
                    <a:pt x="2092" y="16614"/>
                  </a:lnTo>
                  <a:lnTo>
                    <a:pt x="2121" y="16554"/>
                  </a:lnTo>
                  <a:lnTo>
                    <a:pt x="1925" y="16397"/>
                  </a:lnTo>
                  <a:cubicBezTo>
                    <a:pt x="1913" y="16388"/>
                    <a:pt x="1902" y="16379"/>
                    <a:pt x="1890" y="16371"/>
                  </a:cubicBezTo>
                  <a:cubicBezTo>
                    <a:pt x="1879" y="16362"/>
                    <a:pt x="1869" y="16355"/>
                    <a:pt x="1860" y="16348"/>
                  </a:cubicBezTo>
                  <a:cubicBezTo>
                    <a:pt x="1851" y="16342"/>
                    <a:pt x="1844" y="16336"/>
                    <a:pt x="1838" y="16332"/>
                  </a:cubicBezTo>
                  <a:cubicBezTo>
                    <a:pt x="1832" y="16328"/>
                    <a:pt x="1829" y="16326"/>
                    <a:pt x="1828" y="16325"/>
                  </a:cubicBezTo>
                  <a:cubicBezTo>
                    <a:pt x="1829" y="16326"/>
                    <a:pt x="1833" y="16327"/>
                    <a:pt x="1840" y="16329"/>
                  </a:cubicBezTo>
                  <a:cubicBezTo>
                    <a:pt x="1847" y="16331"/>
                    <a:pt x="1856" y="16333"/>
                    <a:pt x="1866" y="16336"/>
                  </a:cubicBezTo>
                  <a:cubicBezTo>
                    <a:pt x="1877" y="16339"/>
                    <a:pt x="1889" y="16343"/>
                    <a:pt x="1903" y="16347"/>
                  </a:cubicBezTo>
                  <a:cubicBezTo>
                    <a:pt x="1917" y="16350"/>
                    <a:pt x="1932" y="16354"/>
                    <a:pt x="1948" y="16358"/>
                  </a:cubicBezTo>
                  <a:lnTo>
                    <a:pt x="2189" y="16417"/>
                  </a:lnTo>
                  <a:lnTo>
                    <a:pt x="2219" y="16356"/>
                  </a:lnTo>
                  <a:lnTo>
                    <a:pt x="1872" y="16074"/>
                  </a:lnTo>
                  <a:close/>
                  <a:moveTo>
                    <a:pt x="2409" y="15969"/>
                  </a:moveTo>
                  <a:lnTo>
                    <a:pt x="2369" y="15949"/>
                  </a:lnTo>
                  <a:lnTo>
                    <a:pt x="2284" y="16121"/>
                  </a:lnTo>
                  <a:lnTo>
                    <a:pt x="2141" y="16050"/>
                  </a:lnTo>
                  <a:lnTo>
                    <a:pt x="2207" y="15916"/>
                  </a:lnTo>
                  <a:lnTo>
                    <a:pt x="2167" y="15897"/>
                  </a:lnTo>
                  <a:lnTo>
                    <a:pt x="2101" y="16030"/>
                  </a:lnTo>
                  <a:lnTo>
                    <a:pt x="1973" y="15967"/>
                  </a:lnTo>
                  <a:lnTo>
                    <a:pt x="2051" y="15807"/>
                  </a:lnTo>
                  <a:lnTo>
                    <a:pt x="2016" y="15782"/>
                  </a:lnTo>
                  <a:lnTo>
                    <a:pt x="1911" y="15996"/>
                  </a:lnTo>
                  <a:lnTo>
                    <a:pt x="2301" y="16188"/>
                  </a:lnTo>
                  <a:lnTo>
                    <a:pt x="2409" y="15969"/>
                  </a:lnTo>
                  <a:close/>
                  <a:moveTo>
                    <a:pt x="2425" y="15564"/>
                  </a:moveTo>
                  <a:cubicBezTo>
                    <a:pt x="2411" y="15563"/>
                    <a:pt x="2397" y="15564"/>
                    <a:pt x="2384" y="15567"/>
                  </a:cubicBezTo>
                  <a:cubicBezTo>
                    <a:pt x="2371" y="15571"/>
                    <a:pt x="2359" y="15576"/>
                    <a:pt x="2348" y="15584"/>
                  </a:cubicBezTo>
                  <a:cubicBezTo>
                    <a:pt x="2337" y="15591"/>
                    <a:pt x="2324" y="15602"/>
                    <a:pt x="2311" y="15617"/>
                  </a:cubicBezTo>
                  <a:lnTo>
                    <a:pt x="2274" y="15655"/>
                  </a:lnTo>
                  <a:cubicBezTo>
                    <a:pt x="2255" y="15674"/>
                    <a:pt x="2238" y="15687"/>
                    <a:pt x="2224" y="15692"/>
                  </a:cubicBezTo>
                  <a:cubicBezTo>
                    <a:pt x="2210" y="15697"/>
                    <a:pt x="2194" y="15696"/>
                    <a:pt x="2178" y="15688"/>
                  </a:cubicBezTo>
                  <a:cubicBezTo>
                    <a:pt x="2158" y="15679"/>
                    <a:pt x="2146" y="15664"/>
                    <a:pt x="2141" y="15645"/>
                  </a:cubicBezTo>
                  <a:cubicBezTo>
                    <a:pt x="2137" y="15625"/>
                    <a:pt x="2140" y="15603"/>
                    <a:pt x="2152" y="15579"/>
                  </a:cubicBezTo>
                  <a:cubicBezTo>
                    <a:pt x="2157" y="15570"/>
                    <a:pt x="2161" y="15563"/>
                    <a:pt x="2166" y="15556"/>
                  </a:cubicBezTo>
                  <a:cubicBezTo>
                    <a:pt x="2171" y="15549"/>
                    <a:pt x="2176" y="15543"/>
                    <a:pt x="2182" y="15536"/>
                  </a:cubicBezTo>
                  <a:cubicBezTo>
                    <a:pt x="2189" y="15530"/>
                    <a:pt x="2196" y="15524"/>
                    <a:pt x="2204" y="15518"/>
                  </a:cubicBezTo>
                  <a:cubicBezTo>
                    <a:pt x="2212" y="15513"/>
                    <a:pt x="2222" y="15506"/>
                    <a:pt x="2232" y="15500"/>
                  </a:cubicBezTo>
                  <a:lnTo>
                    <a:pt x="2209" y="15463"/>
                  </a:lnTo>
                  <a:cubicBezTo>
                    <a:pt x="2165" y="15488"/>
                    <a:pt x="2134" y="15521"/>
                    <a:pt x="2113" y="15562"/>
                  </a:cubicBezTo>
                  <a:cubicBezTo>
                    <a:pt x="2104" y="15581"/>
                    <a:pt x="2098" y="15600"/>
                    <a:pt x="2096" y="15618"/>
                  </a:cubicBezTo>
                  <a:cubicBezTo>
                    <a:pt x="2094" y="15636"/>
                    <a:pt x="2095" y="15653"/>
                    <a:pt x="2099" y="15669"/>
                  </a:cubicBezTo>
                  <a:cubicBezTo>
                    <a:pt x="2104" y="15685"/>
                    <a:pt x="2111" y="15700"/>
                    <a:pt x="2122" y="15712"/>
                  </a:cubicBezTo>
                  <a:cubicBezTo>
                    <a:pt x="2133" y="15725"/>
                    <a:pt x="2146" y="15736"/>
                    <a:pt x="2163" y="15744"/>
                  </a:cubicBezTo>
                  <a:cubicBezTo>
                    <a:pt x="2188" y="15756"/>
                    <a:pt x="2214" y="15759"/>
                    <a:pt x="2239" y="15751"/>
                  </a:cubicBezTo>
                  <a:cubicBezTo>
                    <a:pt x="2251" y="15747"/>
                    <a:pt x="2262" y="15741"/>
                    <a:pt x="2272" y="15733"/>
                  </a:cubicBezTo>
                  <a:cubicBezTo>
                    <a:pt x="2282" y="15725"/>
                    <a:pt x="2294" y="15714"/>
                    <a:pt x="2308" y="15698"/>
                  </a:cubicBezTo>
                  <a:lnTo>
                    <a:pt x="2339" y="15665"/>
                  </a:lnTo>
                  <a:cubicBezTo>
                    <a:pt x="2376" y="15625"/>
                    <a:pt x="2412" y="15614"/>
                    <a:pt x="2447" y="15631"/>
                  </a:cubicBezTo>
                  <a:cubicBezTo>
                    <a:pt x="2470" y="15642"/>
                    <a:pt x="2484" y="15661"/>
                    <a:pt x="2489" y="15686"/>
                  </a:cubicBezTo>
                  <a:cubicBezTo>
                    <a:pt x="2491" y="15698"/>
                    <a:pt x="2491" y="15709"/>
                    <a:pt x="2489" y="15719"/>
                  </a:cubicBezTo>
                  <a:cubicBezTo>
                    <a:pt x="2487" y="15729"/>
                    <a:pt x="2483" y="15742"/>
                    <a:pt x="2475" y="15757"/>
                  </a:cubicBezTo>
                  <a:cubicBezTo>
                    <a:pt x="2466" y="15776"/>
                    <a:pt x="2454" y="15793"/>
                    <a:pt x="2440" y="15808"/>
                  </a:cubicBezTo>
                  <a:cubicBezTo>
                    <a:pt x="2427" y="15822"/>
                    <a:pt x="2410" y="15834"/>
                    <a:pt x="2390" y="15845"/>
                  </a:cubicBezTo>
                  <a:lnTo>
                    <a:pt x="2417" y="15883"/>
                  </a:lnTo>
                  <a:cubicBezTo>
                    <a:pt x="2438" y="15870"/>
                    <a:pt x="2457" y="15855"/>
                    <a:pt x="2473" y="15837"/>
                  </a:cubicBezTo>
                  <a:cubicBezTo>
                    <a:pt x="2488" y="15820"/>
                    <a:pt x="2502" y="15799"/>
                    <a:pt x="2514" y="15775"/>
                  </a:cubicBezTo>
                  <a:cubicBezTo>
                    <a:pt x="2522" y="15757"/>
                    <a:pt x="2528" y="15740"/>
                    <a:pt x="2531" y="15725"/>
                  </a:cubicBezTo>
                  <a:cubicBezTo>
                    <a:pt x="2534" y="15709"/>
                    <a:pt x="2535" y="15693"/>
                    <a:pt x="2533" y="15676"/>
                  </a:cubicBezTo>
                  <a:cubicBezTo>
                    <a:pt x="2530" y="15653"/>
                    <a:pt x="2523" y="15633"/>
                    <a:pt x="2511" y="15615"/>
                  </a:cubicBezTo>
                  <a:cubicBezTo>
                    <a:pt x="2499" y="15598"/>
                    <a:pt x="2484" y="15585"/>
                    <a:pt x="2465" y="15576"/>
                  </a:cubicBezTo>
                  <a:cubicBezTo>
                    <a:pt x="2453" y="15570"/>
                    <a:pt x="2440" y="15566"/>
                    <a:pt x="2425" y="15564"/>
                  </a:cubicBezTo>
                  <a:close/>
                  <a:moveTo>
                    <a:pt x="2343" y="15118"/>
                  </a:moveTo>
                  <a:lnTo>
                    <a:pt x="2215" y="15376"/>
                  </a:lnTo>
                  <a:lnTo>
                    <a:pt x="2255" y="15396"/>
                  </a:lnTo>
                  <a:lnTo>
                    <a:pt x="2306" y="15291"/>
                  </a:lnTo>
                  <a:lnTo>
                    <a:pt x="2658" y="15464"/>
                  </a:lnTo>
                  <a:lnTo>
                    <a:pt x="2680" y="15419"/>
                  </a:lnTo>
                  <a:lnTo>
                    <a:pt x="2328" y="15246"/>
                  </a:lnTo>
                  <a:lnTo>
                    <a:pt x="2380" y="15140"/>
                  </a:lnTo>
                  <a:lnTo>
                    <a:pt x="2343" y="15118"/>
                  </a:lnTo>
                  <a:close/>
                  <a:moveTo>
                    <a:pt x="2477" y="14845"/>
                  </a:moveTo>
                  <a:lnTo>
                    <a:pt x="2376" y="15050"/>
                  </a:lnTo>
                  <a:lnTo>
                    <a:pt x="2766" y="15243"/>
                  </a:lnTo>
                  <a:lnTo>
                    <a:pt x="2790" y="15195"/>
                  </a:lnTo>
                  <a:lnTo>
                    <a:pt x="2604" y="15104"/>
                  </a:lnTo>
                  <a:lnTo>
                    <a:pt x="2666" y="14979"/>
                  </a:lnTo>
                  <a:lnTo>
                    <a:pt x="2627" y="14960"/>
                  </a:lnTo>
                  <a:lnTo>
                    <a:pt x="2566" y="15085"/>
                  </a:lnTo>
                  <a:lnTo>
                    <a:pt x="2438" y="15022"/>
                  </a:lnTo>
                  <a:lnTo>
                    <a:pt x="2512" y="14871"/>
                  </a:lnTo>
                  <a:lnTo>
                    <a:pt x="2477" y="14845"/>
                  </a:lnTo>
                  <a:close/>
                  <a:moveTo>
                    <a:pt x="3024" y="14719"/>
                  </a:moveTo>
                  <a:lnTo>
                    <a:pt x="2569" y="14656"/>
                  </a:lnTo>
                  <a:lnTo>
                    <a:pt x="2539" y="14717"/>
                  </a:lnTo>
                  <a:lnTo>
                    <a:pt x="2866" y="15040"/>
                  </a:lnTo>
                  <a:lnTo>
                    <a:pt x="2889" y="14993"/>
                  </a:lnTo>
                  <a:lnTo>
                    <a:pt x="2788" y="14896"/>
                  </a:lnTo>
                  <a:lnTo>
                    <a:pt x="2859" y="14750"/>
                  </a:lnTo>
                  <a:lnTo>
                    <a:pt x="2998" y="14772"/>
                  </a:lnTo>
                  <a:lnTo>
                    <a:pt x="3024" y="14719"/>
                  </a:lnTo>
                  <a:close/>
                  <a:moveTo>
                    <a:pt x="2815" y="14743"/>
                  </a:moveTo>
                  <a:lnTo>
                    <a:pt x="2756" y="14865"/>
                  </a:lnTo>
                  <a:lnTo>
                    <a:pt x="2595" y="14709"/>
                  </a:lnTo>
                  <a:lnTo>
                    <a:pt x="2815" y="14743"/>
                  </a:lnTo>
                  <a:close/>
                  <a:moveTo>
                    <a:pt x="2461" y="14687"/>
                  </a:moveTo>
                  <a:cubicBezTo>
                    <a:pt x="2453" y="14690"/>
                    <a:pt x="2447" y="14696"/>
                    <a:pt x="2443" y="14704"/>
                  </a:cubicBezTo>
                  <a:cubicBezTo>
                    <a:pt x="2439" y="14712"/>
                    <a:pt x="2438" y="14721"/>
                    <a:pt x="2441" y="14729"/>
                  </a:cubicBezTo>
                  <a:cubicBezTo>
                    <a:pt x="2444" y="14738"/>
                    <a:pt x="2449" y="14744"/>
                    <a:pt x="2457" y="14748"/>
                  </a:cubicBezTo>
                  <a:cubicBezTo>
                    <a:pt x="2466" y="14752"/>
                    <a:pt x="2474" y="14752"/>
                    <a:pt x="2483" y="14750"/>
                  </a:cubicBezTo>
                  <a:cubicBezTo>
                    <a:pt x="2492" y="14747"/>
                    <a:pt x="2498" y="14741"/>
                    <a:pt x="2502" y="14733"/>
                  </a:cubicBezTo>
                  <a:cubicBezTo>
                    <a:pt x="2506" y="14725"/>
                    <a:pt x="2507" y="14716"/>
                    <a:pt x="2503" y="14708"/>
                  </a:cubicBezTo>
                  <a:cubicBezTo>
                    <a:pt x="2500" y="14699"/>
                    <a:pt x="2495" y="14693"/>
                    <a:pt x="2486" y="14689"/>
                  </a:cubicBezTo>
                  <a:cubicBezTo>
                    <a:pt x="2478" y="14685"/>
                    <a:pt x="2470" y="14685"/>
                    <a:pt x="2461" y="14687"/>
                  </a:cubicBezTo>
                  <a:close/>
                  <a:moveTo>
                    <a:pt x="2519" y="14570"/>
                  </a:moveTo>
                  <a:cubicBezTo>
                    <a:pt x="2511" y="14573"/>
                    <a:pt x="2504" y="14579"/>
                    <a:pt x="2500" y="14587"/>
                  </a:cubicBezTo>
                  <a:cubicBezTo>
                    <a:pt x="2496" y="14595"/>
                    <a:pt x="2496" y="14603"/>
                    <a:pt x="2499" y="14612"/>
                  </a:cubicBezTo>
                  <a:cubicBezTo>
                    <a:pt x="2502" y="14620"/>
                    <a:pt x="2507" y="14626"/>
                    <a:pt x="2515" y="14630"/>
                  </a:cubicBezTo>
                  <a:cubicBezTo>
                    <a:pt x="2523" y="14634"/>
                    <a:pt x="2532" y="14635"/>
                    <a:pt x="2541" y="14632"/>
                  </a:cubicBezTo>
                  <a:cubicBezTo>
                    <a:pt x="2549" y="14629"/>
                    <a:pt x="2556" y="14624"/>
                    <a:pt x="2560" y="14616"/>
                  </a:cubicBezTo>
                  <a:cubicBezTo>
                    <a:pt x="2564" y="14607"/>
                    <a:pt x="2564" y="14599"/>
                    <a:pt x="2561" y="14590"/>
                  </a:cubicBezTo>
                  <a:cubicBezTo>
                    <a:pt x="2558" y="14582"/>
                    <a:pt x="2552" y="14576"/>
                    <a:pt x="2544" y="14572"/>
                  </a:cubicBezTo>
                  <a:cubicBezTo>
                    <a:pt x="2536" y="14568"/>
                    <a:pt x="2528" y="14567"/>
                    <a:pt x="2519" y="14570"/>
                  </a:cubicBezTo>
                  <a:close/>
                  <a:moveTo>
                    <a:pt x="3120" y="14425"/>
                  </a:moveTo>
                  <a:lnTo>
                    <a:pt x="3044" y="14579"/>
                  </a:lnTo>
                  <a:lnTo>
                    <a:pt x="2692" y="14406"/>
                  </a:lnTo>
                  <a:lnTo>
                    <a:pt x="2669" y="14453"/>
                  </a:lnTo>
                  <a:lnTo>
                    <a:pt x="3060" y="14645"/>
                  </a:lnTo>
                  <a:lnTo>
                    <a:pt x="3156" y="14451"/>
                  </a:lnTo>
                  <a:lnTo>
                    <a:pt x="3120" y="14425"/>
                  </a:lnTo>
                  <a:close/>
                  <a:moveTo>
                    <a:pt x="3219" y="14323"/>
                  </a:moveTo>
                  <a:lnTo>
                    <a:pt x="2828" y="14131"/>
                  </a:lnTo>
                  <a:lnTo>
                    <a:pt x="2806" y="14177"/>
                  </a:lnTo>
                  <a:lnTo>
                    <a:pt x="3196" y="14369"/>
                  </a:lnTo>
                  <a:lnTo>
                    <a:pt x="3219" y="14323"/>
                  </a:lnTo>
                  <a:close/>
                  <a:moveTo>
                    <a:pt x="3243" y="13903"/>
                  </a:moveTo>
                  <a:cubicBezTo>
                    <a:pt x="3228" y="13901"/>
                    <a:pt x="3215" y="13902"/>
                    <a:pt x="3201" y="13906"/>
                  </a:cubicBezTo>
                  <a:cubicBezTo>
                    <a:pt x="3188" y="13909"/>
                    <a:pt x="3176" y="13914"/>
                    <a:pt x="3165" y="13922"/>
                  </a:cubicBezTo>
                  <a:cubicBezTo>
                    <a:pt x="3155" y="13929"/>
                    <a:pt x="3142" y="13940"/>
                    <a:pt x="3128" y="13955"/>
                  </a:cubicBezTo>
                  <a:lnTo>
                    <a:pt x="3092" y="13993"/>
                  </a:lnTo>
                  <a:cubicBezTo>
                    <a:pt x="3073" y="14013"/>
                    <a:pt x="3056" y="14025"/>
                    <a:pt x="3042" y="14030"/>
                  </a:cubicBezTo>
                  <a:cubicBezTo>
                    <a:pt x="3027" y="14036"/>
                    <a:pt x="3012" y="14035"/>
                    <a:pt x="2996" y="14027"/>
                  </a:cubicBezTo>
                  <a:cubicBezTo>
                    <a:pt x="2976" y="14017"/>
                    <a:pt x="2964" y="14002"/>
                    <a:pt x="2959" y="13983"/>
                  </a:cubicBezTo>
                  <a:cubicBezTo>
                    <a:pt x="2954" y="13964"/>
                    <a:pt x="2958" y="13942"/>
                    <a:pt x="2970" y="13917"/>
                  </a:cubicBezTo>
                  <a:cubicBezTo>
                    <a:pt x="2974" y="13909"/>
                    <a:pt x="2979" y="13901"/>
                    <a:pt x="2983" y="13894"/>
                  </a:cubicBezTo>
                  <a:cubicBezTo>
                    <a:pt x="2988" y="13887"/>
                    <a:pt x="2994" y="13881"/>
                    <a:pt x="3000" y="13875"/>
                  </a:cubicBezTo>
                  <a:cubicBezTo>
                    <a:pt x="3006" y="13869"/>
                    <a:pt x="3014" y="13863"/>
                    <a:pt x="3022" y="13857"/>
                  </a:cubicBezTo>
                  <a:cubicBezTo>
                    <a:pt x="3030" y="13851"/>
                    <a:pt x="3039" y="13845"/>
                    <a:pt x="3050" y="13838"/>
                  </a:cubicBezTo>
                  <a:lnTo>
                    <a:pt x="3026" y="13801"/>
                  </a:lnTo>
                  <a:cubicBezTo>
                    <a:pt x="2983" y="13826"/>
                    <a:pt x="2951" y="13859"/>
                    <a:pt x="2931" y="13900"/>
                  </a:cubicBezTo>
                  <a:cubicBezTo>
                    <a:pt x="2921" y="13919"/>
                    <a:pt x="2916" y="13938"/>
                    <a:pt x="2914" y="13956"/>
                  </a:cubicBezTo>
                  <a:cubicBezTo>
                    <a:pt x="2911" y="13975"/>
                    <a:pt x="2913" y="13992"/>
                    <a:pt x="2917" y="14008"/>
                  </a:cubicBezTo>
                  <a:cubicBezTo>
                    <a:pt x="2921" y="14024"/>
                    <a:pt x="2929" y="14038"/>
                    <a:pt x="2940" y="14051"/>
                  </a:cubicBezTo>
                  <a:cubicBezTo>
                    <a:pt x="2950" y="14063"/>
                    <a:pt x="2964" y="14074"/>
                    <a:pt x="2981" y="14082"/>
                  </a:cubicBezTo>
                  <a:cubicBezTo>
                    <a:pt x="3006" y="14095"/>
                    <a:pt x="3031" y="14097"/>
                    <a:pt x="3057" y="14089"/>
                  </a:cubicBezTo>
                  <a:cubicBezTo>
                    <a:pt x="3068" y="14085"/>
                    <a:pt x="3079" y="14080"/>
                    <a:pt x="3089" y="14072"/>
                  </a:cubicBezTo>
                  <a:cubicBezTo>
                    <a:pt x="3099" y="14064"/>
                    <a:pt x="3112" y="14052"/>
                    <a:pt x="3126" y="14037"/>
                  </a:cubicBezTo>
                  <a:lnTo>
                    <a:pt x="3157" y="14003"/>
                  </a:lnTo>
                  <a:cubicBezTo>
                    <a:pt x="3194" y="13963"/>
                    <a:pt x="3230" y="13952"/>
                    <a:pt x="3264" y="13969"/>
                  </a:cubicBezTo>
                  <a:cubicBezTo>
                    <a:pt x="3288" y="13980"/>
                    <a:pt x="3302" y="13999"/>
                    <a:pt x="3306" y="14024"/>
                  </a:cubicBezTo>
                  <a:cubicBezTo>
                    <a:pt x="3309" y="14036"/>
                    <a:pt x="3309" y="14047"/>
                    <a:pt x="3307" y="14057"/>
                  </a:cubicBezTo>
                  <a:cubicBezTo>
                    <a:pt x="3305" y="14068"/>
                    <a:pt x="3300" y="14080"/>
                    <a:pt x="3293" y="14095"/>
                  </a:cubicBezTo>
                  <a:cubicBezTo>
                    <a:pt x="3283" y="14115"/>
                    <a:pt x="3272" y="14132"/>
                    <a:pt x="3258" y="14146"/>
                  </a:cubicBezTo>
                  <a:cubicBezTo>
                    <a:pt x="3244" y="14160"/>
                    <a:pt x="3228" y="14173"/>
                    <a:pt x="3208" y="14183"/>
                  </a:cubicBezTo>
                  <a:lnTo>
                    <a:pt x="3234" y="14222"/>
                  </a:lnTo>
                  <a:cubicBezTo>
                    <a:pt x="3256" y="14208"/>
                    <a:pt x="3275" y="14193"/>
                    <a:pt x="3290" y="14175"/>
                  </a:cubicBezTo>
                  <a:cubicBezTo>
                    <a:pt x="3306" y="14158"/>
                    <a:pt x="3320" y="14137"/>
                    <a:pt x="3331" y="14114"/>
                  </a:cubicBezTo>
                  <a:cubicBezTo>
                    <a:pt x="3340" y="14096"/>
                    <a:pt x="3346" y="14079"/>
                    <a:pt x="3349" y="14063"/>
                  </a:cubicBezTo>
                  <a:cubicBezTo>
                    <a:pt x="3352" y="14048"/>
                    <a:pt x="3352" y="14031"/>
                    <a:pt x="3350" y="14014"/>
                  </a:cubicBezTo>
                  <a:cubicBezTo>
                    <a:pt x="3348" y="13991"/>
                    <a:pt x="3341" y="13971"/>
                    <a:pt x="3329" y="13954"/>
                  </a:cubicBezTo>
                  <a:cubicBezTo>
                    <a:pt x="3316" y="13936"/>
                    <a:pt x="3301" y="13923"/>
                    <a:pt x="3283" y="13914"/>
                  </a:cubicBezTo>
                  <a:cubicBezTo>
                    <a:pt x="3271" y="13908"/>
                    <a:pt x="3257" y="13904"/>
                    <a:pt x="3243" y="13903"/>
                  </a:cubicBezTo>
                  <a:close/>
                  <a:moveTo>
                    <a:pt x="3494" y="13620"/>
                  </a:moveTo>
                  <a:cubicBezTo>
                    <a:pt x="3497" y="13637"/>
                    <a:pt x="3497" y="13652"/>
                    <a:pt x="3495" y="13666"/>
                  </a:cubicBezTo>
                  <a:cubicBezTo>
                    <a:pt x="3493" y="13680"/>
                    <a:pt x="3489" y="13694"/>
                    <a:pt x="3482" y="13709"/>
                  </a:cubicBezTo>
                  <a:cubicBezTo>
                    <a:pt x="3470" y="13731"/>
                    <a:pt x="3454" y="13749"/>
                    <a:pt x="3433" y="13762"/>
                  </a:cubicBezTo>
                  <a:cubicBezTo>
                    <a:pt x="3412" y="13775"/>
                    <a:pt x="3387" y="13780"/>
                    <a:pt x="3357" y="13778"/>
                  </a:cubicBezTo>
                  <a:cubicBezTo>
                    <a:pt x="3343" y="13777"/>
                    <a:pt x="3330" y="13774"/>
                    <a:pt x="3317" y="13770"/>
                  </a:cubicBezTo>
                  <a:cubicBezTo>
                    <a:pt x="3303" y="13766"/>
                    <a:pt x="3287" y="13759"/>
                    <a:pt x="3268" y="13750"/>
                  </a:cubicBezTo>
                  <a:cubicBezTo>
                    <a:pt x="3245" y="13738"/>
                    <a:pt x="3226" y="13727"/>
                    <a:pt x="3211" y="13717"/>
                  </a:cubicBezTo>
                  <a:cubicBezTo>
                    <a:pt x="3196" y="13706"/>
                    <a:pt x="3183" y="13694"/>
                    <a:pt x="3173" y="13682"/>
                  </a:cubicBezTo>
                  <a:cubicBezTo>
                    <a:pt x="3155" y="13662"/>
                    <a:pt x="3145" y="13641"/>
                    <a:pt x="3141" y="13619"/>
                  </a:cubicBezTo>
                  <a:cubicBezTo>
                    <a:pt x="3138" y="13598"/>
                    <a:pt x="3142" y="13576"/>
                    <a:pt x="3153" y="13553"/>
                  </a:cubicBezTo>
                  <a:cubicBezTo>
                    <a:pt x="3160" y="13538"/>
                    <a:pt x="3168" y="13526"/>
                    <a:pt x="3178" y="13517"/>
                  </a:cubicBezTo>
                  <a:cubicBezTo>
                    <a:pt x="3187" y="13507"/>
                    <a:pt x="3199" y="13498"/>
                    <a:pt x="3214" y="13491"/>
                  </a:cubicBezTo>
                  <a:lnTo>
                    <a:pt x="3196" y="13451"/>
                  </a:lnTo>
                  <a:cubicBezTo>
                    <a:pt x="3179" y="13459"/>
                    <a:pt x="3164" y="13470"/>
                    <a:pt x="3150" y="13484"/>
                  </a:cubicBezTo>
                  <a:cubicBezTo>
                    <a:pt x="3136" y="13498"/>
                    <a:pt x="3125" y="13515"/>
                    <a:pt x="3115" y="13534"/>
                  </a:cubicBezTo>
                  <a:cubicBezTo>
                    <a:pt x="3104" y="13557"/>
                    <a:pt x="3098" y="13582"/>
                    <a:pt x="3098" y="13607"/>
                  </a:cubicBezTo>
                  <a:cubicBezTo>
                    <a:pt x="3098" y="13632"/>
                    <a:pt x="3104" y="13656"/>
                    <a:pt x="3115" y="13680"/>
                  </a:cubicBezTo>
                  <a:cubicBezTo>
                    <a:pt x="3126" y="13703"/>
                    <a:pt x="3141" y="13725"/>
                    <a:pt x="3162" y="13745"/>
                  </a:cubicBezTo>
                  <a:cubicBezTo>
                    <a:pt x="3183" y="13766"/>
                    <a:pt x="3208" y="13783"/>
                    <a:pt x="3236" y="13797"/>
                  </a:cubicBezTo>
                  <a:cubicBezTo>
                    <a:pt x="3266" y="13812"/>
                    <a:pt x="3295" y="13821"/>
                    <a:pt x="3324" y="13827"/>
                  </a:cubicBezTo>
                  <a:cubicBezTo>
                    <a:pt x="3353" y="13832"/>
                    <a:pt x="3381" y="13831"/>
                    <a:pt x="3408" y="13824"/>
                  </a:cubicBezTo>
                  <a:cubicBezTo>
                    <a:pt x="3433" y="13817"/>
                    <a:pt x="3454" y="13806"/>
                    <a:pt x="3473" y="13790"/>
                  </a:cubicBezTo>
                  <a:cubicBezTo>
                    <a:pt x="3491" y="13775"/>
                    <a:pt x="3506" y="13756"/>
                    <a:pt x="3516" y="13735"/>
                  </a:cubicBezTo>
                  <a:cubicBezTo>
                    <a:pt x="3526" y="13716"/>
                    <a:pt x="3532" y="13695"/>
                    <a:pt x="3536" y="13674"/>
                  </a:cubicBezTo>
                  <a:cubicBezTo>
                    <a:pt x="3539" y="13653"/>
                    <a:pt x="3540" y="13632"/>
                    <a:pt x="3538" y="13611"/>
                  </a:cubicBezTo>
                  <a:lnTo>
                    <a:pt x="3494" y="13620"/>
                  </a:lnTo>
                  <a:close/>
                  <a:moveTo>
                    <a:pt x="3730" y="13285"/>
                  </a:moveTo>
                  <a:lnTo>
                    <a:pt x="3339" y="13093"/>
                  </a:lnTo>
                  <a:lnTo>
                    <a:pt x="3316" y="13139"/>
                  </a:lnTo>
                  <a:lnTo>
                    <a:pt x="3479" y="13220"/>
                  </a:lnTo>
                  <a:lnTo>
                    <a:pt x="3398" y="13385"/>
                  </a:lnTo>
                  <a:lnTo>
                    <a:pt x="3235" y="13304"/>
                  </a:lnTo>
                  <a:lnTo>
                    <a:pt x="3212" y="13350"/>
                  </a:lnTo>
                  <a:lnTo>
                    <a:pt x="3603" y="13542"/>
                  </a:lnTo>
                  <a:lnTo>
                    <a:pt x="3626" y="13496"/>
                  </a:lnTo>
                  <a:lnTo>
                    <a:pt x="3437" y="13403"/>
                  </a:lnTo>
                  <a:lnTo>
                    <a:pt x="3518" y="13239"/>
                  </a:lnTo>
                  <a:lnTo>
                    <a:pt x="3707" y="13332"/>
                  </a:lnTo>
                  <a:lnTo>
                    <a:pt x="3730" y="13285"/>
                  </a:lnTo>
                  <a:close/>
                  <a:moveTo>
                    <a:pt x="3894" y="12951"/>
                  </a:moveTo>
                  <a:lnTo>
                    <a:pt x="3854" y="12931"/>
                  </a:lnTo>
                  <a:lnTo>
                    <a:pt x="3769" y="13103"/>
                  </a:lnTo>
                  <a:lnTo>
                    <a:pt x="3626" y="13033"/>
                  </a:lnTo>
                  <a:lnTo>
                    <a:pt x="3692" y="12899"/>
                  </a:lnTo>
                  <a:lnTo>
                    <a:pt x="3651" y="12879"/>
                  </a:lnTo>
                  <a:lnTo>
                    <a:pt x="3585" y="13013"/>
                  </a:lnTo>
                  <a:lnTo>
                    <a:pt x="3457" y="12950"/>
                  </a:lnTo>
                  <a:lnTo>
                    <a:pt x="3536" y="12790"/>
                  </a:lnTo>
                  <a:lnTo>
                    <a:pt x="3500" y="12765"/>
                  </a:lnTo>
                  <a:lnTo>
                    <a:pt x="3395" y="12978"/>
                  </a:lnTo>
                  <a:lnTo>
                    <a:pt x="3786" y="13171"/>
                  </a:lnTo>
                  <a:lnTo>
                    <a:pt x="3894" y="12951"/>
                  </a:lnTo>
                  <a:close/>
                  <a:moveTo>
                    <a:pt x="3811" y="12134"/>
                  </a:moveTo>
                  <a:lnTo>
                    <a:pt x="3788" y="12181"/>
                  </a:lnTo>
                  <a:lnTo>
                    <a:pt x="3991" y="12341"/>
                  </a:lnTo>
                  <a:cubicBezTo>
                    <a:pt x="4004" y="12351"/>
                    <a:pt x="4016" y="12361"/>
                    <a:pt x="4029" y="12370"/>
                  </a:cubicBezTo>
                  <a:cubicBezTo>
                    <a:pt x="4042" y="12380"/>
                    <a:pt x="4053" y="12389"/>
                    <a:pt x="4063" y="12396"/>
                  </a:cubicBezTo>
                  <a:cubicBezTo>
                    <a:pt x="4074" y="12404"/>
                    <a:pt x="4082" y="12410"/>
                    <a:pt x="4089" y="12415"/>
                  </a:cubicBezTo>
                  <a:cubicBezTo>
                    <a:pt x="4094" y="12418"/>
                    <a:pt x="4097" y="12421"/>
                    <a:pt x="4099" y="12422"/>
                  </a:cubicBezTo>
                  <a:cubicBezTo>
                    <a:pt x="4097" y="12422"/>
                    <a:pt x="4094" y="12421"/>
                    <a:pt x="4089" y="12419"/>
                  </a:cubicBezTo>
                  <a:cubicBezTo>
                    <a:pt x="4083" y="12417"/>
                    <a:pt x="4075" y="12415"/>
                    <a:pt x="4065" y="12412"/>
                  </a:cubicBezTo>
                  <a:cubicBezTo>
                    <a:pt x="4055" y="12409"/>
                    <a:pt x="4043" y="12406"/>
                    <a:pt x="4030" y="12403"/>
                  </a:cubicBezTo>
                  <a:cubicBezTo>
                    <a:pt x="4016" y="12399"/>
                    <a:pt x="4001" y="12395"/>
                    <a:pt x="3986" y="12391"/>
                  </a:cubicBezTo>
                  <a:lnTo>
                    <a:pt x="3716" y="12326"/>
                  </a:lnTo>
                  <a:lnTo>
                    <a:pt x="3690" y="12379"/>
                  </a:lnTo>
                  <a:lnTo>
                    <a:pt x="3899" y="12546"/>
                  </a:lnTo>
                  <a:cubicBezTo>
                    <a:pt x="3909" y="12554"/>
                    <a:pt x="3919" y="12562"/>
                    <a:pt x="3931" y="12571"/>
                  </a:cubicBezTo>
                  <a:cubicBezTo>
                    <a:pt x="3943" y="12580"/>
                    <a:pt x="3953" y="12588"/>
                    <a:pt x="3963" y="12596"/>
                  </a:cubicBezTo>
                  <a:cubicBezTo>
                    <a:pt x="3973" y="12603"/>
                    <a:pt x="3982" y="12610"/>
                    <a:pt x="3989" y="12615"/>
                  </a:cubicBezTo>
                  <a:cubicBezTo>
                    <a:pt x="3996" y="12620"/>
                    <a:pt x="4000" y="12623"/>
                    <a:pt x="4001" y="12624"/>
                  </a:cubicBezTo>
                  <a:cubicBezTo>
                    <a:pt x="3999" y="12623"/>
                    <a:pt x="3994" y="12622"/>
                    <a:pt x="3985" y="12619"/>
                  </a:cubicBezTo>
                  <a:cubicBezTo>
                    <a:pt x="3977" y="12616"/>
                    <a:pt x="3966" y="12613"/>
                    <a:pt x="3954" y="12609"/>
                  </a:cubicBezTo>
                  <a:cubicBezTo>
                    <a:pt x="3942" y="12605"/>
                    <a:pt x="3928" y="12602"/>
                    <a:pt x="3914" y="12597"/>
                  </a:cubicBezTo>
                  <a:cubicBezTo>
                    <a:pt x="3899" y="12593"/>
                    <a:pt x="3885" y="12590"/>
                    <a:pt x="3872" y="12586"/>
                  </a:cubicBezTo>
                  <a:lnTo>
                    <a:pt x="3619" y="12524"/>
                  </a:lnTo>
                  <a:lnTo>
                    <a:pt x="3594" y="12574"/>
                  </a:lnTo>
                  <a:lnTo>
                    <a:pt x="4031" y="12674"/>
                  </a:lnTo>
                  <a:lnTo>
                    <a:pt x="4060" y="12613"/>
                  </a:lnTo>
                  <a:lnTo>
                    <a:pt x="3863" y="12457"/>
                  </a:lnTo>
                  <a:cubicBezTo>
                    <a:pt x="3852" y="12448"/>
                    <a:pt x="3840" y="12439"/>
                    <a:pt x="3829" y="12431"/>
                  </a:cubicBezTo>
                  <a:cubicBezTo>
                    <a:pt x="3818" y="12422"/>
                    <a:pt x="3808" y="12415"/>
                    <a:pt x="3799" y="12408"/>
                  </a:cubicBezTo>
                  <a:cubicBezTo>
                    <a:pt x="3790" y="12401"/>
                    <a:pt x="3782" y="12396"/>
                    <a:pt x="3777" y="12392"/>
                  </a:cubicBezTo>
                  <a:cubicBezTo>
                    <a:pt x="3771" y="12388"/>
                    <a:pt x="3768" y="12386"/>
                    <a:pt x="3767" y="12385"/>
                  </a:cubicBezTo>
                  <a:cubicBezTo>
                    <a:pt x="3768" y="12385"/>
                    <a:pt x="3772" y="12387"/>
                    <a:pt x="3779" y="12389"/>
                  </a:cubicBezTo>
                  <a:cubicBezTo>
                    <a:pt x="3786" y="12391"/>
                    <a:pt x="3795" y="12393"/>
                    <a:pt x="3805" y="12396"/>
                  </a:cubicBezTo>
                  <a:cubicBezTo>
                    <a:pt x="3816" y="12399"/>
                    <a:pt x="3828" y="12403"/>
                    <a:pt x="3842" y="12406"/>
                  </a:cubicBezTo>
                  <a:cubicBezTo>
                    <a:pt x="3856" y="12410"/>
                    <a:pt x="3871" y="12414"/>
                    <a:pt x="3887" y="12418"/>
                  </a:cubicBezTo>
                  <a:lnTo>
                    <a:pt x="4128" y="12477"/>
                  </a:lnTo>
                  <a:lnTo>
                    <a:pt x="4158" y="12416"/>
                  </a:lnTo>
                  <a:lnTo>
                    <a:pt x="3811" y="12134"/>
                  </a:lnTo>
                  <a:close/>
                  <a:moveTo>
                    <a:pt x="4263" y="12202"/>
                  </a:moveTo>
                  <a:lnTo>
                    <a:pt x="3872" y="12010"/>
                  </a:lnTo>
                  <a:lnTo>
                    <a:pt x="3849" y="12055"/>
                  </a:lnTo>
                  <a:lnTo>
                    <a:pt x="4240" y="12248"/>
                  </a:lnTo>
                  <a:lnTo>
                    <a:pt x="4263" y="12202"/>
                  </a:lnTo>
                  <a:close/>
                  <a:moveTo>
                    <a:pt x="4379" y="11867"/>
                  </a:moveTo>
                  <a:lnTo>
                    <a:pt x="4303" y="12021"/>
                  </a:lnTo>
                  <a:lnTo>
                    <a:pt x="3951" y="11848"/>
                  </a:lnTo>
                  <a:lnTo>
                    <a:pt x="3928" y="11895"/>
                  </a:lnTo>
                  <a:lnTo>
                    <a:pt x="4319" y="12087"/>
                  </a:lnTo>
                  <a:lnTo>
                    <a:pt x="4415" y="11893"/>
                  </a:lnTo>
                  <a:lnTo>
                    <a:pt x="4379" y="11867"/>
                  </a:lnTo>
                  <a:close/>
                  <a:moveTo>
                    <a:pt x="4581" y="11554"/>
                  </a:moveTo>
                  <a:lnTo>
                    <a:pt x="4191" y="11362"/>
                  </a:lnTo>
                  <a:lnTo>
                    <a:pt x="4168" y="11408"/>
                  </a:lnTo>
                  <a:lnTo>
                    <a:pt x="4331" y="11489"/>
                  </a:lnTo>
                  <a:lnTo>
                    <a:pt x="4250" y="11654"/>
                  </a:lnTo>
                  <a:lnTo>
                    <a:pt x="4087" y="11573"/>
                  </a:lnTo>
                  <a:lnTo>
                    <a:pt x="4064" y="11619"/>
                  </a:lnTo>
                  <a:lnTo>
                    <a:pt x="4455" y="11811"/>
                  </a:lnTo>
                  <a:lnTo>
                    <a:pt x="4477" y="11765"/>
                  </a:lnTo>
                  <a:lnTo>
                    <a:pt x="4288" y="11672"/>
                  </a:lnTo>
                  <a:lnTo>
                    <a:pt x="4369" y="11508"/>
                  </a:lnTo>
                  <a:lnTo>
                    <a:pt x="4558" y="11601"/>
                  </a:lnTo>
                  <a:lnTo>
                    <a:pt x="4581" y="11554"/>
                  </a:lnTo>
                  <a:close/>
                  <a:moveTo>
                    <a:pt x="4746" y="11220"/>
                  </a:moveTo>
                  <a:lnTo>
                    <a:pt x="4705" y="11200"/>
                  </a:lnTo>
                  <a:lnTo>
                    <a:pt x="4621" y="11372"/>
                  </a:lnTo>
                  <a:lnTo>
                    <a:pt x="4478" y="11302"/>
                  </a:lnTo>
                  <a:lnTo>
                    <a:pt x="4544" y="11168"/>
                  </a:lnTo>
                  <a:lnTo>
                    <a:pt x="4503" y="11148"/>
                  </a:lnTo>
                  <a:lnTo>
                    <a:pt x="4437" y="11282"/>
                  </a:lnTo>
                  <a:lnTo>
                    <a:pt x="4309" y="11219"/>
                  </a:lnTo>
                  <a:lnTo>
                    <a:pt x="4388" y="11059"/>
                  </a:lnTo>
                  <a:lnTo>
                    <a:pt x="4352" y="11034"/>
                  </a:lnTo>
                  <a:lnTo>
                    <a:pt x="4247" y="11247"/>
                  </a:lnTo>
                  <a:lnTo>
                    <a:pt x="4638" y="11440"/>
                  </a:lnTo>
                  <a:lnTo>
                    <a:pt x="4746" y="11220"/>
                  </a:lnTo>
                  <a:close/>
                  <a:moveTo>
                    <a:pt x="4846" y="10917"/>
                  </a:moveTo>
                  <a:lnTo>
                    <a:pt x="4770" y="11071"/>
                  </a:lnTo>
                  <a:lnTo>
                    <a:pt x="4419" y="10899"/>
                  </a:lnTo>
                  <a:lnTo>
                    <a:pt x="4396" y="10945"/>
                  </a:lnTo>
                  <a:lnTo>
                    <a:pt x="4786" y="11138"/>
                  </a:lnTo>
                  <a:lnTo>
                    <a:pt x="4882" y="10943"/>
                  </a:lnTo>
                  <a:lnTo>
                    <a:pt x="4846" y="10917"/>
                  </a:lnTo>
                  <a:close/>
                  <a:moveTo>
                    <a:pt x="5105" y="10490"/>
                  </a:moveTo>
                  <a:lnTo>
                    <a:pt x="4698" y="10331"/>
                  </a:lnTo>
                  <a:lnTo>
                    <a:pt x="4664" y="10400"/>
                  </a:lnTo>
                  <a:lnTo>
                    <a:pt x="4887" y="10601"/>
                  </a:lnTo>
                  <a:cubicBezTo>
                    <a:pt x="4901" y="10613"/>
                    <a:pt x="4913" y="10624"/>
                    <a:pt x="4925" y="10632"/>
                  </a:cubicBezTo>
                  <a:cubicBezTo>
                    <a:pt x="4936" y="10641"/>
                    <a:pt x="4942" y="10646"/>
                    <a:pt x="4944" y="10647"/>
                  </a:cubicBezTo>
                  <a:cubicBezTo>
                    <a:pt x="4942" y="10646"/>
                    <a:pt x="4934" y="10644"/>
                    <a:pt x="4920" y="10640"/>
                  </a:cubicBezTo>
                  <a:cubicBezTo>
                    <a:pt x="4906" y="10637"/>
                    <a:pt x="4889" y="10633"/>
                    <a:pt x="4868" y="10629"/>
                  </a:cubicBezTo>
                  <a:lnTo>
                    <a:pt x="4578" y="10574"/>
                  </a:lnTo>
                  <a:lnTo>
                    <a:pt x="4544" y="10643"/>
                  </a:lnTo>
                  <a:lnTo>
                    <a:pt x="4918" y="10869"/>
                  </a:lnTo>
                  <a:lnTo>
                    <a:pt x="4941" y="10824"/>
                  </a:lnTo>
                  <a:lnTo>
                    <a:pt x="4673" y="10666"/>
                  </a:lnTo>
                  <a:cubicBezTo>
                    <a:pt x="4668" y="10663"/>
                    <a:pt x="4661" y="10659"/>
                    <a:pt x="4654" y="10654"/>
                  </a:cubicBezTo>
                  <a:cubicBezTo>
                    <a:pt x="4646" y="10650"/>
                    <a:pt x="4639" y="10646"/>
                    <a:pt x="4631" y="10642"/>
                  </a:cubicBezTo>
                  <a:cubicBezTo>
                    <a:pt x="4624" y="10638"/>
                    <a:pt x="4617" y="10634"/>
                    <a:pt x="4612" y="10631"/>
                  </a:cubicBezTo>
                  <a:cubicBezTo>
                    <a:pt x="4607" y="10628"/>
                    <a:pt x="4604" y="10626"/>
                    <a:pt x="4602" y="10625"/>
                  </a:cubicBezTo>
                  <a:cubicBezTo>
                    <a:pt x="4607" y="10627"/>
                    <a:pt x="4616" y="10629"/>
                    <a:pt x="4630" y="10631"/>
                  </a:cubicBezTo>
                  <a:cubicBezTo>
                    <a:pt x="4645" y="10634"/>
                    <a:pt x="4664" y="10638"/>
                    <a:pt x="4686" y="10642"/>
                  </a:cubicBezTo>
                  <a:lnTo>
                    <a:pt x="5001" y="10701"/>
                  </a:lnTo>
                  <a:lnTo>
                    <a:pt x="5021" y="10661"/>
                  </a:lnTo>
                  <a:lnTo>
                    <a:pt x="4770" y="10434"/>
                  </a:lnTo>
                  <a:cubicBezTo>
                    <a:pt x="4765" y="10430"/>
                    <a:pt x="4759" y="10425"/>
                    <a:pt x="4754" y="10420"/>
                  </a:cubicBezTo>
                  <a:cubicBezTo>
                    <a:pt x="4748" y="10415"/>
                    <a:pt x="4742" y="10410"/>
                    <a:pt x="4737" y="10406"/>
                  </a:cubicBezTo>
                  <a:cubicBezTo>
                    <a:pt x="4731" y="10401"/>
                    <a:pt x="4727" y="10397"/>
                    <a:pt x="4723" y="10394"/>
                  </a:cubicBezTo>
                  <a:cubicBezTo>
                    <a:pt x="4720" y="10391"/>
                    <a:pt x="4717" y="10389"/>
                    <a:pt x="4717" y="10389"/>
                  </a:cubicBezTo>
                  <a:cubicBezTo>
                    <a:pt x="4718" y="10389"/>
                    <a:pt x="4720" y="10390"/>
                    <a:pt x="4725" y="10392"/>
                  </a:cubicBezTo>
                  <a:cubicBezTo>
                    <a:pt x="4730" y="10394"/>
                    <a:pt x="4735" y="10397"/>
                    <a:pt x="4742" y="10400"/>
                  </a:cubicBezTo>
                  <a:cubicBezTo>
                    <a:pt x="4749" y="10403"/>
                    <a:pt x="4756" y="10406"/>
                    <a:pt x="4764" y="10410"/>
                  </a:cubicBezTo>
                  <a:cubicBezTo>
                    <a:pt x="4771" y="10413"/>
                    <a:pt x="4778" y="10416"/>
                    <a:pt x="4784" y="10418"/>
                  </a:cubicBezTo>
                  <a:lnTo>
                    <a:pt x="5082" y="10537"/>
                  </a:lnTo>
                  <a:lnTo>
                    <a:pt x="5105" y="10490"/>
                  </a:lnTo>
                  <a:close/>
                  <a:moveTo>
                    <a:pt x="5125" y="10078"/>
                  </a:moveTo>
                  <a:cubicBezTo>
                    <a:pt x="5110" y="10077"/>
                    <a:pt x="5096" y="10077"/>
                    <a:pt x="5083" y="10081"/>
                  </a:cubicBezTo>
                  <a:cubicBezTo>
                    <a:pt x="5070" y="10084"/>
                    <a:pt x="5058" y="10090"/>
                    <a:pt x="5047" y="10097"/>
                  </a:cubicBezTo>
                  <a:cubicBezTo>
                    <a:pt x="5037" y="10105"/>
                    <a:pt x="5024" y="10116"/>
                    <a:pt x="5010" y="10131"/>
                  </a:cubicBezTo>
                  <a:lnTo>
                    <a:pt x="4974" y="10169"/>
                  </a:lnTo>
                  <a:cubicBezTo>
                    <a:pt x="4955" y="10188"/>
                    <a:pt x="4938" y="10200"/>
                    <a:pt x="4924" y="10206"/>
                  </a:cubicBezTo>
                  <a:cubicBezTo>
                    <a:pt x="4909" y="10211"/>
                    <a:pt x="4894" y="10210"/>
                    <a:pt x="4878" y="10202"/>
                  </a:cubicBezTo>
                  <a:cubicBezTo>
                    <a:pt x="4858" y="10192"/>
                    <a:pt x="4845" y="10178"/>
                    <a:pt x="4841" y="10158"/>
                  </a:cubicBezTo>
                  <a:cubicBezTo>
                    <a:pt x="4836" y="10139"/>
                    <a:pt x="4840" y="10117"/>
                    <a:pt x="4852" y="10092"/>
                  </a:cubicBezTo>
                  <a:cubicBezTo>
                    <a:pt x="4856" y="10084"/>
                    <a:pt x="4861" y="10076"/>
                    <a:pt x="4865" y="10070"/>
                  </a:cubicBezTo>
                  <a:cubicBezTo>
                    <a:pt x="4870" y="10063"/>
                    <a:pt x="4876" y="10056"/>
                    <a:pt x="4882" y="10050"/>
                  </a:cubicBezTo>
                  <a:cubicBezTo>
                    <a:pt x="4888" y="10044"/>
                    <a:pt x="4896" y="10038"/>
                    <a:pt x="4904" y="10032"/>
                  </a:cubicBezTo>
                  <a:cubicBezTo>
                    <a:pt x="4912" y="10026"/>
                    <a:pt x="4921" y="10020"/>
                    <a:pt x="4932" y="10014"/>
                  </a:cubicBezTo>
                  <a:lnTo>
                    <a:pt x="4908" y="9976"/>
                  </a:lnTo>
                  <a:cubicBezTo>
                    <a:pt x="4865" y="10001"/>
                    <a:pt x="4833" y="10035"/>
                    <a:pt x="4813" y="10076"/>
                  </a:cubicBezTo>
                  <a:cubicBezTo>
                    <a:pt x="4803" y="10095"/>
                    <a:pt x="4798" y="10114"/>
                    <a:pt x="4795" y="10132"/>
                  </a:cubicBezTo>
                  <a:cubicBezTo>
                    <a:pt x="4793" y="10150"/>
                    <a:pt x="4794" y="10167"/>
                    <a:pt x="4799" y="10183"/>
                  </a:cubicBezTo>
                  <a:cubicBezTo>
                    <a:pt x="4803" y="10199"/>
                    <a:pt x="4811" y="10213"/>
                    <a:pt x="4822" y="10226"/>
                  </a:cubicBezTo>
                  <a:cubicBezTo>
                    <a:pt x="4832" y="10239"/>
                    <a:pt x="4846" y="10249"/>
                    <a:pt x="4863" y="10258"/>
                  </a:cubicBezTo>
                  <a:cubicBezTo>
                    <a:pt x="4888" y="10270"/>
                    <a:pt x="4913" y="10272"/>
                    <a:pt x="4939" y="10265"/>
                  </a:cubicBezTo>
                  <a:cubicBezTo>
                    <a:pt x="4950" y="10261"/>
                    <a:pt x="4961" y="10255"/>
                    <a:pt x="4971" y="10247"/>
                  </a:cubicBezTo>
                  <a:cubicBezTo>
                    <a:pt x="4981" y="10239"/>
                    <a:pt x="4993" y="10227"/>
                    <a:pt x="5008" y="10212"/>
                  </a:cubicBezTo>
                  <a:lnTo>
                    <a:pt x="5039" y="10179"/>
                  </a:lnTo>
                  <a:cubicBezTo>
                    <a:pt x="5076" y="10139"/>
                    <a:pt x="5112" y="10127"/>
                    <a:pt x="5146" y="10144"/>
                  </a:cubicBezTo>
                  <a:cubicBezTo>
                    <a:pt x="5169" y="10156"/>
                    <a:pt x="5183" y="10174"/>
                    <a:pt x="5188" y="10200"/>
                  </a:cubicBezTo>
                  <a:cubicBezTo>
                    <a:pt x="5191" y="10211"/>
                    <a:pt x="5191" y="10222"/>
                    <a:pt x="5189" y="10233"/>
                  </a:cubicBezTo>
                  <a:cubicBezTo>
                    <a:pt x="5187" y="10243"/>
                    <a:pt x="5182" y="10256"/>
                    <a:pt x="5175" y="10270"/>
                  </a:cubicBezTo>
                  <a:cubicBezTo>
                    <a:pt x="5165" y="10290"/>
                    <a:pt x="5153" y="10307"/>
                    <a:pt x="5140" y="10321"/>
                  </a:cubicBezTo>
                  <a:cubicBezTo>
                    <a:pt x="5126" y="10336"/>
                    <a:pt x="5110" y="10348"/>
                    <a:pt x="5090" y="10359"/>
                  </a:cubicBezTo>
                  <a:lnTo>
                    <a:pt x="5116" y="10397"/>
                  </a:lnTo>
                  <a:cubicBezTo>
                    <a:pt x="5138" y="10384"/>
                    <a:pt x="5156" y="10368"/>
                    <a:pt x="5172" y="10351"/>
                  </a:cubicBezTo>
                  <a:cubicBezTo>
                    <a:pt x="5188" y="10333"/>
                    <a:pt x="5201" y="10313"/>
                    <a:pt x="5213" y="10289"/>
                  </a:cubicBezTo>
                  <a:cubicBezTo>
                    <a:pt x="5222" y="10271"/>
                    <a:pt x="5228" y="10254"/>
                    <a:pt x="5231" y="10239"/>
                  </a:cubicBezTo>
                  <a:cubicBezTo>
                    <a:pt x="5234" y="10223"/>
                    <a:pt x="5234" y="10207"/>
                    <a:pt x="5232" y="10190"/>
                  </a:cubicBezTo>
                  <a:cubicBezTo>
                    <a:pt x="5230" y="10167"/>
                    <a:pt x="5223" y="10147"/>
                    <a:pt x="5211" y="10129"/>
                  </a:cubicBezTo>
                  <a:cubicBezTo>
                    <a:pt x="5198" y="10112"/>
                    <a:pt x="5183" y="10098"/>
                    <a:pt x="5165" y="10089"/>
                  </a:cubicBezTo>
                  <a:cubicBezTo>
                    <a:pt x="5153" y="10083"/>
                    <a:pt x="5139" y="10080"/>
                    <a:pt x="5125" y="10078"/>
                  </a:cubicBezTo>
                  <a:close/>
                  <a:moveTo>
                    <a:pt x="5239" y="9888"/>
                  </a:moveTo>
                  <a:lnTo>
                    <a:pt x="5196" y="9867"/>
                  </a:lnTo>
                  <a:lnTo>
                    <a:pt x="5142" y="9976"/>
                  </a:lnTo>
                  <a:lnTo>
                    <a:pt x="5186" y="9997"/>
                  </a:lnTo>
                  <a:lnTo>
                    <a:pt x="5239" y="9888"/>
                  </a:lnTo>
                  <a:close/>
                  <a:moveTo>
                    <a:pt x="5156" y="9401"/>
                  </a:moveTo>
                  <a:lnTo>
                    <a:pt x="5133" y="9447"/>
                  </a:lnTo>
                  <a:lnTo>
                    <a:pt x="5405" y="9581"/>
                  </a:lnTo>
                  <a:cubicBezTo>
                    <a:pt x="5419" y="9587"/>
                    <a:pt x="5429" y="9594"/>
                    <a:pt x="5438" y="9600"/>
                  </a:cubicBezTo>
                  <a:cubicBezTo>
                    <a:pt x="5446" y="9606"/>
                    <a:pt x="5453" y="9615"/>
                    <a:pt x="5459" y="9626"/>
                  </a:cubicBezTo>
                  <a:cubicBezTo>
                    <a:pt x="5464" y="9636"/>
                    <a:pt x="5466" y="9648"/>
                    <a:pt x="5464" y="9661"/>
                  </a:cubicBezTo>
                  <a:cubicBezTo>
                    <a:pt x="5462" y="9675"/>
                    <a:pt x="5458" y="9690"/>
                    <a:pt x="5449" y="9707"/>
                  </a:cubicBezTo>
                  <a:cubicBezTo>
                    <a:pt x="5443" y="9719"/>
                    <a:pt x="5437" y="9729"/>
                    <a:pt x="5431" y="9736"/>
                  </a:cubicBezTo>
                  <a:cubicBezTo>
                    <a:pt x="5424" y="9744"/>
                    <a:pt x="5417" y="9750"/>
                    <a:pt x="5411" y="9754"/>
                  </a:cubicBezTo>
                  <a:cubicBezTo>
                    <a:pt x="5404" y="9758"/>
                    <a:pt x="5397" y="9761"/>
                    <a:pt x="5391" y="9762"/>
                  </a:cubicBezTo>
                  <a:cubicBezTo>
                    <a:pt x="5385" y="9764"/>
                    <a:pt x="5379" y="9764"/>
                    <a:pt x="5374" y="9764"/>
                  </a:cubicBezTo>
                  <a:cubicBezTo>
                    <a:pt x="5366" y="9764"/>
                    <a:pt x="5357" y="9762"/>
                    <a:pt x="5346" y="9757"/>
                  </a:cubicBezTo>
                  <a:cubicBezTo>
                    <a:pt x="5334" y="9753"/>
                    <a:pt x="5324" y="9748"/>
                    <a:pt x="5314" y="9743"/>
                  </a:cubicBezTo>
                  <a:lnTo>
                    <a:pt x="5051" y="9614"/>
                  </a:lnTo>
                  <a:lnTo>
                    <a:pt x="5028" y="9660"/>
                  </a:lnTo>
                  <a:lnTo>
                    <a:pt x="5308" y="9798"/>
                  </a:lnTo>
                  <a:cubicBezTo>
                    <a:pt x="5317" y="9802"/>
                    <a:pt x="5327" y="9806"/>
                    <a:pt x="5339" y="9811"/>
                  </a:cubicBezTo>
                  <a:cubicBezTo>
                    <a:pt x="5351" y="9815"/>
                    <a:pt x="5363" y="9817"/>
                    <a:pt x="5375" y="9816"/>
                  </a:cubicBezTo>
                  <a:cubicBezTo>
                    <a:pt x="5400" y="9815"/>
                    <a:pt x="5421" y="9808"/>
                    <a:pt x="5439" y="9794"/>
                  </a:cubicBezTo>
                  <a:cubicBezTo>
                    <a:pt x="5457" y="9781"/>
                    <a:pt x="5473" y="9759"/>
                    <a:pt x="5488" y="9729"/>
                  </a:cubicBezTo>
                  <a:cubicBezTo>
                    <a:pt x="5500" y="9705"/>
                    <a:pt x="5507" y="9683"/>
                    <a:pt x="5510" y="9665"/>
                  </a:cubicBezTo>
                  <a:cubicBezTo>
                    <a:pt x="5513" y="9646"/>
                    <a:pt x="5513" y="9628"/>
                    <a:pt x="5508" y="9611"/>
                  </a:cubicBezTo>
                  <a:cubicBezTo>
                    <a:pt x="5504" y="9595"/>
                    <a:pt x="5497" y="9581"/>
                    <a:pt x="5486" y="9571"/>
                  </a:cubicBezTo>
                  <a:cubicBezTo>
                    <a:pt x="5475" y="9560"/>
                    <a:pt x="5457" y="9549"/>
                    <a:pt x="5434" y="9538"/>
                  </a:cubicBezTo>
                  <a:lnTo>
                    <a:pt x="5156" y="9401"/>
                  </a:lnTo>
                  <a:close/>
                  <a:moveTo>
                    <a:pt x="5730" y="9220"/>
                  </a:moveTo>
                  <a:lnTo>
                    <a:pt x="5339" y="9028"/>
                  </a:lnTo>
                  <a:lnTo>
                    <a:pt x="5316" y="9074"/>
                  </a:lnTo>
                  <a:lnTo>
                    <a:pt x="5530" y="9177"/>
                  </a:lnTo>
                  <a:cubicBezTo>
                    <a:pt x="5544" y="9184"/>
                    <a:pt x="5558" y="9191"/>
                    <a:pt x="5572" y="9197"/>
                  </a:cubicBezTo>
                  <a:cubicBezTo>
                    <a:pt x="5586" y="9203"/>
                    <a:pt x="5599" y="9209"/>
                    <a:pt x="5611" y="9214"/>
                  </a:cubicBezTo>
                  <a:cubicBezTo>
                    <a:pt x="5622" y="9219"/>
                    <a:pt x="5632" y="9223"/>
                    <a:pt x="5639" y="9226"/>
                  </a:cubicBezTo>
                  <a:cubicBezTo>
                    <a:pt x="5647" y="9229"/>
                    <a:pt x="5651" y="9230"/>
                    <a:pt x="5651" y="9231"/>
                  </a:cubicBezTo>
                  <a:cubicBezTo>
                    <a:pt x="5650" y="9230"/>
                    <a:pt x="5646" y="9230"/>
                    <a:pt x="5640" y="9230"/>
                  </a:cubicBezTo>
                  <a:cubicBezTo>
                    <a:pt x="5634" y="9229"/>
                    <a:pt x="5626" y="9229"/>
                    <a:pt x="5617" y="9228"/>
                  </a:cubicBezTo>
                  <a:cubicBezTo>
                    <a:pt x="5608" y="9228"/>
                    <a:pt x="5597" y="9227"/>
                    <a:pt x="5586" y="9227"/>
                  </a:cubicBezTo>
                  <a:cubicBezTo>
                    <a:pt x="5574" y="9226"/>
                    <a:pt x="5563" y="9226"/>
                    <a:pt x="5551" y="9227"/>
                  </a:cubicBezTo>
                  <a:lnTo>
                    <a:pt x="5238" y="9234"/>
                  </a:lnTo>
                  <a:lnTo>
                    <a:pt x="5211" y="9288"/>
                  </a:lnTo>
                  <a:lnTo>
                    <a:pt x="5602" y="9480"/>
                  </a:lnTo>
                  <a:lnTo>
                    <a:pt x="5626" y="9432"/>
                  </a:lnTo>
                  <a:lnTo>
                    <a:pt x="5398" y="9323"/>
                  </a:lnTo>
                  <a:cubicBezTo>
                    <a:pt x="5386" y="9317"/>
                    <a:pt x="5375" y="9312"/>
                    <a:pt x="5363" y="9307"/>
                  </a:cubicBezTo>
                  <a:cubicBezTo>
                    <a:pt x="5352" y="9302"/>
                    <a:pt x="5341" y="9297"/>
                    <a:pt x="5331" y="9293"/>
                  </a:cubicBezTo>
                  <a:cubicBezTo>
                    <a:pt x="5321" y="9289"/>
                    <a:pt x="5312" y="9285"/>
                    <a:pt x="5305" y="9282"/>
                  </a:cubicBezTo>
                  <a:cubicBezTo>
                    <a:pt x="5298" y="9279"/>
                    <a:pt x="5293" y="9277"/>
                    <a:pt x="5289" y="9275"/>
                  </a:cubicBezTo>
                  <a:cubicBezTo>
                    <a:pt x="5293" y="9276"/>
                    <a:pt x="5299" y="9276"/>
                    <a:pt x="5306" y="9277"/>
                  </a:cubicBezTo>
                  <a:cubicBezTo>
                    <a:pt x="5314" y="9277"/>
                    <a:pt x="5323" y="9277"/>
                    <a:pt x="5333" y="9277"/>
                  </a:cubicBezTo>
                  <a:cubicBezTo>
                    <a:pt x="5343" y="9277"/>
                    <a:pt x="5354" y="9277"/>
                    <a:pt x="5366" y="9278"/>
                  </a:cubicBezTo>
                  <a:cubicBezTo>
                    <a:pt x="5378" y="9278"/>
                    <a:pt x="5391" y="9278"/>
                    <a:pt x="5405" y="9277"/>
                  </a:cubicBezTo>
                  <a:lnTo>
                    <a:pt x="5706" y="9269"/>
                  </a:lnTo>
                  <a:lnTo>
                    <a:pt x="5730" y="9220"/>
                  </a:lnTo>
                  <a:close/>
                  <a:moveTo>
                    <a:pt x="5808" y="9060"/>
                  </a:moveTo>
                  <a:lnTo>
                    <a:pt x="5418" y="8868"/>
                  </a:lnTo>
                  <a:lnTo>
                    <a:pt x="5395" y="8914"/>
                  </a:lnTo>
                  <a:lnTo>
                    <a:pt x="5786" y="9106"/>
                  </a:lnTo>
                  <a:lnTo>
                    <a:pt x="5808" y="9060"/>
                  </a:lnTo>
                  <a:close/>
                  <a:moveTo>
                    <a:pt x="5608" y="8481"/>
                  </a:moveTo>
                  <a:lnTo>
                    <a:pt x="5585" y="8529"/>
                  </a:lnTo>
                  <a:lnTo>
                    <a:pt x="5801" y="8739"/>
                  </a:lnTo>
                  <a:cubicBezTo>
                    <a:pt x="5819" y="8757"/>
                    <a:pt x="5834" y="8771"/>
                    <a:pt x="5846" y="8782"/>
                  </a:cubicBezTo>
                  <a:cubicBezTo>
                    <a:pt x="5858" y="8792"/>
                    <a:pt x="5866" y="8800"/>
                    <a:pt x="5871" y="8803"/>
                  </a:cubicBezTo>
                  <a:cubicBezTo>
                    <a:pt x="5868" y="8802"/>
                    <a:pt x="5863" y="8801"/>
                    <a:pt x="5856" y="8799"/>
                  </a:cubicBezTo>
                  <a:cubicBezTo>
                    <a:pt x="5849" y="8797"/>
                    <a:pt x="5841" y="8796"/>
                    <a:pt x="5832" y="8794"/>
                  </a:cubicBezTo>
                  <a:cubicBezTo>
                    <a:pt x="5823" y="8792"/>
                    <a:pt x="5813" y="8790"/>
                    <a:pt x="5803" y="8788"/>
                  </a:cubicBezTo>
                  <a:cubicBezTo>
                    <a:pt x="5792" y="8786"/>
                    <a:pt x="5782" y="8785"/>
                    <a:pt x="5772" y="8783"/>
                  </a:cubicBezTo>
                  <a:lnTo>
                    <a:pt x="5480" y="8742"/>
                  </a:lnTo>
                  <a:lnTo>
                    <a:pt x="5455" y="8793"/>
                  </a:lnTo>
                  <a:lnTo>
                    <a:pt x="5910" y="8853"/>
                  </a:lnTo>
                  <a:lnTo>
                    <a:pt x="5933" y="8807"/>
                  </a:lnTo>
                  <a:lnTo>
                    <a:pt x="5608" y="8481"/>
                  </a:lnTo>
                  <a:close/>
                  <a:moveTo>
                    <a:pt x="6144" y="8378"/>
                  </a:moveTo>
                  <a:lnTo>
                    <a:pt x="6104" y="8358"/>
                  </a:lnTo>
                  <a:lnTo>
                    <a:pt x="6019" y="8530"/>
                  </a:lnTo>
                  <a:lnTo>
                    <a:pt x="5876" y="8460"/>
                  </a:lnTo>
                  <a:lnTo>
                    <a:pt x="5942" y="8326"/>
                  </a:lnTo>
                  <a:lnTo>
                    <a:pt x="5901" y="8306"/>
                  </a:lnTo>
                  <a:lnTo>
                    <a:pt x="5836" y="8440"/>
                  </a:lnTo>
                  <a:lnTo>
                    <a:pt x="5707" y="8377"/>
                  </a:lnTo>
                  <a:lnTo>
                    <a:pt x="5786" y="8217"/>
                  </a:lnTo>
                  <a:lnTo>
                    <a:pt x="5751" y="8192"/>
                  </a:lnTo>
                  <a:lnTo>
                    <a:pt x="5645" y="8405"/>
                  </a:lnTo>
                  <a:lnTo>
                    <a:pt x="6036" y="8598"/>
                  </a:lnTo>
                  <a:lnTo>
                    <a:pt x="6144" y="8378"/>
                  </a:lnTo>
                  <a:close/>
                  <a:moveTo>
                    <a:pt x="6307" y="8047"/>
                  </a:moveTo>
                  <a:lnTo>
                    <a:pt x="6271" y="8052"/>
                  </a:lnTo>
                  <a:cubicBezTo>
                    <a:pt x="6254" y="8054"/>
                    <a:pt x="6236" y="8057"/>
                    <a:pt x="6218" y="8059"/>
                  </a:cubicBezTo>
                  <a:cubicBezTo>
                    <a:pt x="6199" y="8062"/>
                    <a:pt x="6181" y="8064"/>
                    <a:pt x="6165" y="8066"/>
                  </a:cubicBezTo>
                  <a:cubicBezTo>
                    <a:pt x="6148" y="8069"/>
                    <a:pt x="6137" y="8071"/>
                    <a:pt x="6130" y="8072"/>
                  </a:cubicBezTo>
                  <a:cubicBezTo>
                    <a:pt x="6120" y="8074"/>
                    <a:pt x="6109" y="8076"/>
                    <a:pt x="6097" y="8079"/>
                  </a:cubicBezTo>
                  <a:cubicBezTo>
                    <a:pt x="6086" y="8082"/>
                    <a:pt x="6075" y="8086"/>
                    <a:pt x="6067" y="8090"/>
                  </a:cubicBezTo>
                  <a:lnTo>
                    <a:pt x="6070" y="8084"/>
                  </a:lnTo>
                  <a:cubicBezTo>
                    <a:pt x="6077" y="8068"/>
                    <a:pt x="6082" y="8053"/>
                    <a:pt x="6083" y="8038"/>
                  </a:cubicBezTo>
                  <a:cubicBezTo>
                    <a:pt x="6084" y="8022"/>
                    <a:pt x="6082" y="8008"/>
                    <a:pt x="6077" y="7994"/>
                  </a:cubicBezTo>
                  <a:cubicBezTo>
                    <a:pt x="6072" y="7981"/>
                    <a:pt x="6065" y="7968"/>
                    <a:pt x="6054" y="7956"/>
                  </a:cubicBezTo>
                  <a:cubicBezTo>
                    <a:pt x="6043" y="7945"/>
                    <a:pt x="6029" y="7935"/>
                    <a:pt x="6014" y="7927"/>
                  </a:cubicBezTo>
                  <a:cubicBezTo>
                    <a:pt x="6003" y="7922"/>
                    <a:pt x="5993" y="7919"/>
                    <a:pt x="5984" y="7917"/>
                  </a:cubicBezTo>
                  <a:cubicBezTo>
                    <a:pt x="5974" y="7916"/>
                    <a:pt x="5965" y="7915"/>
                    <a:pt x="5956" y="7915"/>
                  </a:cubicBezTo>
                  <a:cubicBezTo>
                    <a:pt x="5947" y="7915"/>
                    <a:pt x="5939" y="7916"/>
                    <a:pt x="5932" y="7918"/>
                  </a:cubicBezTo>
                  <a:cubicBezTo>
                    <a:pt x="5925" y="7921"/>
                    <a:pt x="5918" y="7923"/>
                    <a:pt x="5912" y="7926"/>
                  </a:cubicBezTo>
                  <a:cubicBezTo>
                    <a:pt x="5906" y="7929"/>
                    <a:pt x="5900" y="7932"/>
                    <a:pt x="5894" y="7936"/>
                  </a:cubicBezTo>
                  <a:cubicBezTo>
                    <a:pt x="5889" y="7941"/>
                    <a:pt x="5883" y="7946"/>
                    <a:pt x="5876" y="7953"/>
                  </a:cubicBezTo>
                  <a:cubicBezTo>
                    <a:pt x="5870" y="7960"/>
                    <a:pt x="5864" y="7968"/>
                    <a:pt x="5858" y="7978"/>
                  </a:cubicBezTo>
                  <a:cubicBezTo>
                    <a:pt x="5852" y="7987"/>
                    <a:pt x="5845" y="7999"/>
                    <a:pt x="5839" y="8012"/>
                  </a:cubicBezTo>
                  <a:lnTo>
                    <a:pt x="5794" y="8103"/>
                  </a:lnTo>
                  <a:lnTo>
                    <a:pt x="6185" y="8296"/>
                  </a:lnTo>
                  <a:lnTo>
                    <a:pt x="6207" y="8250"/>
                  </a:lnTo>
                  <a:lnTo>
                    <a:pt x="6031" y="8163"/>
                  </a:lnTo>
                  <a:cubicBezTo>
                    <a:pt x="6036" y="8153"/>
                    <a:pt x="6042" y="8146"/>
                    <a:pt x="6048" y="8142"/>
                  </a:cubicBezTo>
                  <a:cubicBezTo>
                    <a:pt x="6054" y="8137"/>
                    <a:pt x="6064" y="8134"/>
                    <a:pt x="6078" y="8131"/>
                  </a:cubicBezTo>
                  <a:cubicBezTo>
                    <a:pt x="6101" y="8126"/>
                    <a:pt x="6123" y="8122"/>
                    <a:pt x="6143" y="8119"/>
                  </a:cubicBezTo>
                  <a:cubicBezTo>
                    <a:pt x="6164" y="8115"/>
                    <a:pt x="6183" y="8113"/>
                    <a:pt x="6201" y="8110"/>
                  </a:cubicBezTo>
                  <a:cubicBezTo>
                    <a:pt x="6218" y="8108"/>
                    <a:pt x="6233" y="8107"/>
                    <a:pt x="6246" y="8106"/>
                  </a:cubicBezTo>
                  <a:cubicBezTo>
                    <a:pt x="6260" y="8106"/>
                    <a:pt x="6270" y="8106"/>
                    <a:pt x="6278" y="8106"/>
                  </a:cubicBezTo>
                  <a:lnTo>
                    <a:pt x="6307" y="8047"/>
                  </a:lnTo>
                  <a:close/>
                  <a:moveTo>
                    <a:pt x="6021" y="7998"/>
                  </a:moveTo>
                  <a:cubicBezTo>
                    <a:pt x="6029" y="8007"/>
                    <a:pt x="6035" y="8016"/>
                    <a:pt x="6038" y="8025"/>
                  </a:cubicBezTo>
                  <a:cubicBezTo>
                    <a:pt x="6041" y="8036"/>
                    <a:pt x="6041" y="8048"/>
                    <a:pt x="6039" y="8060"/>
                  </a:cubicBezTo>
                  <a:cubicBezTo>
                    <a:pt x="6037" y="8073"/>
                    <a:pt x="6031" y="8088"/>
                    <a:pt x="6023" y="8105"/>
                  </a:cubicBezTo>
                  <a:lnTo>
                    <a:pt x="6002" y="8149"/>
                  </a:lnTo>
                  <a:lnTo>
                    <a:pt x="5856" y="8077"/>
                  </a:lnTo>
                  <a:lnTo>
                    <a:pt x="5879" y="8030"/>
                  </a:lnTo>
                  <a:cubicBezTo>
                    <a:pt x="5884" y="8020"/>
                    <a:pt x="5889" y="8011"/>
                    <a:pt x="5894" y="8004"/>
                  </a:cubicBezTo>
                  <a:cubicBezTo>
                    <a:pt x="5899" y="7997"/>
                    <a:pt x="5905" y="7990"/>
                    <a:pt x="5911" y="7985"/>
                  </a:cubicBezTo>
                  <a:cubicBezTo>
                    <a:pt x="5921" y="7976"/>
                    <a:pt x="5933" y="7971"/>
                    <a:pt x="5948" y="7969"/>
                  </a:cubicBezTo>
                  <a:cubicBezTo>
                    <a:pt x="5962" y="7968"/>
                    <a:pt x="5976" y="7970"/>
                    <a:pt x="5989" y="7976"/>
                  </a:cubicBezTo>
                  <a:cubicBezTo>
                    <a:pt x="6002" y="7983"/>
                    <a:pt x="6012" y="7990"/>
                    <a:pt x="6021" y="7998"/>
                  </a:cubicBezTo>
                  <a:close/>
                  <a:moveTo>
                    <a:pt x="6318" y="7653"/>
                  </a:moveTo>
                  <a:cubicBezTo>
                    <a:pt x="6303" y="7652"/>
                    <a:pt x="6290" y="7653"/>
                    <a:pt x="6277" y="7656"/>
                  </a:cubicBezTo>
                  <a:cubicBezTo>
                    <a:pt x="6264" y="7660"/>
                    <a:pt x="6252" y="7665"/>
                    <a:pt x="6241" y="7672"/>
                  </a:cubicBezTo>
                  <a:cubicBezTo>
                    <a:pt x="6230" y="7680"/>
                    <a:pt x="6217" y="7691"/>
                    <a:pt x="6203" y="7706"/>
                  </a:cubicBezTo>
                  <a:lnTo>
                    <a:pt x="6167" y="7744"/>
                  </a:lnTo>
                  <a:cubicBezTo>
                    <a:pt x="6148" y="7763"/>
                    <a:pt x="6131" y="7776"/>
                    <a:pt x="6117" y="7781"/>
                  </a:cubicBezTo>
                  <a:cubicBezTo>
                    <a:pt x="6102" y="7786"/>
                    <a:pt x="6087" y="7785"/>
                    <a:pt x="6071" y="7777"/>
                  </a:cubicBezTo>
                  <a:cubicBezTo>
                    <a:pt x="6051" y="7767"/>
                    <a:pt x="6039" y="7753"/>
                    <a:pt x="6034" y="7734"/>
                  </a:cubicBezTo>
                  <a:cubicBezTo>
                    <a:pt x="6029" y="7714"/>
                    <a:pt x="6033" y="7692"/>
                    <a:pt x="6045" y="7668"/>
                  </a:cubicBezTo>
                  <a:cubicBezTo>
                    <a:pt x="6049" y="7659"/>
                    <a:pt x="6054" y="7652"/>
                    <a:pt x="6059" y="7645"/>
                  </a:cubicBezTo>
                  <a:cubicBezTo>
                    <a:pt x="6063" y="7638"/>
                    <a:pt x="6069" y="7631"/>
                    <a:pt x="6075" y="7625"/>
                  </a:cubicBezTo>
                  <a:cubicBezTo>
                    <a:pt x="6081" y="7619"/>
                    <a:pt x="6089" y="7613"/>
                    <a:pt x="6097" y="7607"/>
                  </a:cubicBezTo>
                  <a:cubicBezTo>
                    <a:pt x="6105" y="7601"/>
                    <a:pt x="6114" y="7595"/>
                    <a:pt x="6125" y="7589"/>
                  </a:cubicBezTo>
                  <a:lnTo>
                    <a:pt x="6102" y="7552"/>
                  </a:lnTo>
                  <a:cubicBezTo>
                    <a:pt x="6058" y="7577"/>
                    <a:pt x="6026" y="7610"/>
                    <a:pt x="6006" y="7651"/>
                  </a:cubicBezTo>
                  <a:cubicBezTo>
                    <a:pt x="5997" y="7670"/>
                    <a:pt x="5991" y="7689"/>
                    <a:pt x="5989" y="7707"/>
                  </a:cubicBezTo>
                  <a:cubicBezTo>
                    <a:pt x="5987" y="7725"/>
                    <a:pt x="5988" y="7742"/>
                    <a:pt x="5992" y="7758"/>
                  </a:cubicBezTo>
                  <a:cubicBezTo>
                    <a:pt x="5997" y="7774"/>
                    <a:pt x="6004" y="7788"/>
                    <a:pt x="6015" y="7801"/>
                  </a:cubicBezTo>
                  <a:cubicBezTo>
                    <a:pt x="6025" y="7814"/>
                    <a:pt x="6039" y="7825"/>
                    <a:pt x="6056" y="7833"/>
                  </a:cubicBezTo>
                  <a:cubicBezTo>
                    <a:pt x="6081" y="7845"/>
                    <a:pt x="6106" y="7847"/>
                    <a:pt x="6132" y="7840"/>
                  </a:cubicBezTo>
                  <a:cubicBezTo>
                    <a:pt x="6143" y="7836"/>
                    <a:pt x="6154" y="7830"/>
                    <a:pt x="6164" y="7822"/>
                  </a:cubicBezTo>
                  <a:cubicBezTo>
                    <a:pt x="6175" y="7814"/>
                    <a:pt x="6187" y="7803"/>
                    <a:pt x="6201" y="7787"/>
                  </a:cubicBezTo>
                  <a:lnTo>
                    <a:pt x="6232" y="7754"/>
                  </a:lnTo>
                  <a:cubicBezTo>
                    <a:pt x="6269" y="7714"/>
                    <a:pt x="6305" y="7703"/>
                    <a:pt x="6339" y="7720"/>
                  </a:cubicBezTo>
                  <a:cubicBezTo>
                    <a:pt x="6363" y="7731"/>
                    <a:pt x="6377" y="7750"/>
                    <a:pt x="6382" y="7775"/>
                  </a:cubicBezTo>
                  <a:cubicBezTo>
                    <a:pt x="6384" y="7787"/>
                    <a:pt x="6384" y="7797"/>
                    <a:pt x="6382" y="7808"/>
                  </a:cubicBezTo>
                  <a:cubicBezTo>
                    <a:pt x="6380" y="7818"/>
                    <a:pt x="6375" y="7831"/>
                    <a:pt x="6368" y="7846"/>
                  </a:cubicBezTo>
                  <a:cubicBezTo>
                    <a:pt x="6358" y="7865"/>
                    <a:pt x="6347" y="7882"/>
                    <a:pt x="6333" y="7897"/>
                  </a:cubicBezTo>
                  <a:cubicBezTo>
                    <a:pt x="6319" y="7911"/>
                    <a:pt x="6303" y="7923"/>
                    <a:pt x="6283" y="7934"/>
                  </a:cubicBezTo>
                  <a:lnTo>
                    <a:pt x="6309" y="7972"/>
                  </a:lnTo>
                  <a:cubicBezTo>
                    <a:pt x="6331" y="7959"/>
                    <a:pt x="6350" y="7943"/>
                    <a:pt x="6365" y="7926"/>
                  </a:cubicBezTo>
                  <a:cubicBezTo>
                    <a:pt x="6381" y="7908"/>
                    <a:pt x="6395" y="7888"/>
                    <a:pt x="6406" y="7864"/>
                  </a:cubicBezTo>
                  <a:cubicBezTo>
                    <a:pt x="6415" y="7846"/>
                    <a:pt x="6421" y="7829"/>
                    <a:pt x="6424" y="7814"/>
                  </a:cubicBezTo>
                  <a:cubicBezTo>
                    <a:pt x="6427" y="7798"/>
                    <a:pt x="6428" y="7782"/>
                    <a:pt x="6426" y="7765"/>
                  </a:cubicBezTo>
                  <a:cubicBezTo>
                    <a:pt x="6423" y="7742"/>
                    <a:pt x="6416" y="7722"/>
                    <a:pt x="6404" y="7704"/>
                  </a:cubicBezTo>
                  <a:cubicBezTo>
                    <a:pt x="6392" y="7687"/>
                    <a:pt x="6376" y="7673"/>
                    <a:pt x="6358" y="7664"/>
                  </a:cubicBezTo>
                  <a:cubicBezTo>
                    <a:pt x="6346" y="7658"/>
                    <a:pt x="6333" y="7655"/>
                    <a:pt x="6318" y="7653"/>
                  </a:cubicBezTo>
                  <a:close/>
                  <a:moveTo>
                    <a:pt x="6536" y="7583"/>
                  </a:moveTo>
                  <a:lnTo>
                    <a:pt x="6145" y="7390"/>
                  </a:lnTo>
                  <a:lnTo>
                    <a:pt x="6122" y="7436"/>
                  </a:lnTo>
                  <a:lnTo>
                    <a:pt x="6513" y="7628"/>
                  </a:lnTo>
                  <a:lnTo>
                    <a:pt x="6536" y="7583"/>
                  </a:lnTo>
                  <a:close/>
                  <a:moveTo>
                    <a:pt x="6311" y="7053"/>
                  </a:moveTo>
                  <a:lnTo>
                    <a:pt x="6183" y="7312"/>
                  </a:lnTo>
                  <a:lnTo>
                    <a:pt x="6223" y="7331"/>
                  </a:lnTo>
                  <a:lnTo>
                    <a:pt x="6274" y="7226"/>
                  </a:lnTo>
                  <a:lnTo>
                    <a:pt x="6626" y="7399"/>
                  </a:lnTo>
                  <a:lnTo>
                    <a:pt x="6648" y="7354"/>
                  </a:lnTo>
                  <a:lnTo>
                    <a:pt x="6296" y="7181"/>
                  </a:lnTo>
                  <a:lnTo>
                    <a:pt x="6349" y="7076"/>
                  </a:lnTo>
                  <a:lnTo>
                    <a:pt x="6311" y="7053"/>
                  </a:lnTo>
                  <a:close/>
                  <a:moveTo>
                    <a:pt x="6854" y="6937"/>
                  </a:moveTo>
                  <a:lnTo>
                    <a:pt x="6399" y="6874"/>
                  </a:lnTo>
                  <a:lnTo>
                    <a:pt x="6369" y="6935"/>
                  </a:lnTo>
                  <a:lnTo>
                    <a:pt x="6696" y="7257"/>
                  </a:lnTo>
                  <a:lnTo>
                    <a:pt x="6719" y="7210"/>
                  </a:lnTo>
                  <a:lnTo>
                    <a:pt x="6617" y="7113"/>
                  </a:lnTo>
                  <a:lnTo>
                    <a:pt x="6689" y="6968"/>
                  </a:lnTo>
                  <a:lnTo>
                    <a:pt x="6827" y="6990"/>
                  </a:lnTo>
                  <a:lnTo>
                    <a:pt x="6854" y="6937"/>
                  </a:lnTo>
                  <a:close/>
                  <a:moveTo>
                    <a:pt x="6645" y="6961"/>
                  </a:moveTo>
                  <a:lnTo>
                    <a:pt x="6585" y="7082"/>
                  </a:lnTo>
                  <a:lnTo>
                    <a:pt x="6424" y="6926"/>
                  </a:lnTo>
                  <a:lnTo>
                    <a:pt x="6645" y="6961"/>
                  </a:lnTo>
                  <a:close/>
                  <a:moveTo>
                    <a:pt x="6291" y="6905"/>
                  </a:moveTo>
                  <a:cubicBezTo>
                    <a:pt x="6283" y="6908"/>
                    <a:pt x="6276" y="6913"/>
                    <a:pt x="6272" y="6922"/>
                  </a:cubicBezTo>
                  <a:cubicBezTo>
                    <a:pt x="6268" y="6930"/>
                    <a:pt x="6268" y="6938"/>
                    <a:pt x="6271" y="6946"/>
                  </a:cubicBezTo>
                  <a:cubicBezTo>
                    <a:pt x="6273" y="6955"/>
                    <a:pt x="6279" y="6961"/>
                    <a:pt x="6287" y="6965"/>
                  </a:cubicBezTo>
                  <a:cubicBezTo>
                    <a:pt x="6295" y="6969"/>
                    <a:pt x="6304" y="6970"/>
                    <a:pt x="6312" y="6967"/>
                  </a:cubicBezTo>
                  <a:cubicBezTo>
                    <a:pt x="6321" y="6964"/>
                    <a:pt x="6328" y="6959"/>
                    <a:pt x="6332" y="6950"/>
                  </a:cubicBezTo>
                  <a:cubicBezTo>
                    <a:pt x="6336" y="6942"/>
                    <a:pt x="6336" y="6933"/>
                    <a:pt x="6333" y="6925"/>
                  </a:cubicBezTo>
                  <a:cubicBezTo>
                    <a:pt x="6330" y="6917"/>
                    <a:pt x="6324" y="6910"/>
                    <a:pt x="6316" y="6906"/>
                  </a:cubicBezTo>
                  <a:cubicBezTo>
                    <a:pt x="6308" y="6902"/>
                    <a:pt x="6300" y="6902"/>
                    <a:pt x="6291" y="6905"/>
                  </a:cubicBezTo>
                  <a:close/>
                  <a:moveTo>
                    <a:pt x="6349" y="6787"/>
                  </a:moveTo>
                  <a:cubicBezTo>
                    <a:pt x="6340" y="6790"/>
                    <a:pt x="6334" y="6796"/>
                    <a:pt x="6330" y="6804"/>
                  </a:cubicBezTo>
                  <a:cubicBezTo>
                    <a:pt x="6326" y="6812"/>
                    <a:pt x="6325" y="6820"/>
                    <a:pt x="6328" y="6829"/>
                  </a:cubicBezTo>
                  <a:cubicBezTo>
                    <a:pt x="6331" y="6837"/>
                    <a:pt x="6337" y="6844"/>
                    <a:pt x="6345" y="6848"/>
                  </a:cubicBezTo>
                  <a:cubicBezTo>
                    <a:pt x="6353" y="6852"/>
                    <a:pt x="6362" y="6852"/>
                    <a:pt x="6370" y="6850"/>
                  </a:cubicBezTo>
                  <a:cubicBezTo>
                    <a:pt x="6379" y="6847"/>
                    <a:pt x="6385" y="6841"/>
                    <a:pt x="6389" y="6833"/>
                  </a:cubicBezTo>
                  <a:cubicBezTo>
                    <a:pt x="6394" y="6824"/>
                    <a:pt x="6394" y="6816"/>
                    <a:pt x="6391" y="6808"/>
                  </a:cubicBezTo>
                  <a:cubicBezTo>
                    <a:pt x="6388" y="6799"/>
                    <a:pt x="6382" y="6793"/>
                    <a:pt x="6374" y="6789"/>
                  </a:cubicBezTo>
                  <a:cubicBezTo>
                    <a:pt x="6366" y="6785"/>
                    <a:pt x="6357" y="6784"/>
                    <a:pt x="6349" y="6787"/>
                  </a:cubicBezTo>
                  <a:close/>
                  <a:moveTo>
                    <a:pt x="6591" y="6484"/>
                  </a:moveTo>
                  <a:lnTo>
                    <a:pt x="6463" y="6743"/>
                  </a:lnTo>
                  <a:lnTo>
                    <a:pt x="6503" y="6762"/>
                  </a:lnTo>
                  <a:lnTo>
                    <a:pt x="6554" y="6658"/>
                  </a:lnTo>
                  <a:lnTo>
                    <a:pt x="6906" y="6831"/>
                  </a:lnTo>
                  <a:lnTo>
                    <a:pt x="6928" y="6786"/>
                  </a:lnTo>
                  <a:lnTo>
                    <a:pt x="6576" y="6613"/>
                  </a:lnTo>
                  <a:lnTo>
                    <a:pt x="6628" y="6507"/>
                  </a:lnTo>
                  <a:lnTo>
                    <a:pt x="6591" y="6484"/>
                  </a:lnTo>
                  <a:close/>
                  <a:moveTo>
                    <a:pt x="7256" y="6118"/>
                  </a:moveTo>
                  <a:lnTo>
                    <a:pt x="6849" y="5959"/>
                  </a:lnTo>
                  <a:lnTo>
                    <a:pt x="6815" y="6028"/>
                  </a:lnTo>
                  <a:lnTo>
                    <a:pt x="7039" y="6229"/>
                  </a:lnTo>
                  <a:cubicBezTo>
                    <a:pt x="7052" y="6241"/>
                    <a:pt x="7065" y="6251"/>
                    <a:pt x="7076" y="6260"/>
                  </a:cubicBezTo>
                  <a:cubicBezTo>
                    <a:pt x="7087" y="6269"/>
                    <a:pt x="7094" y="6274"/>
                    <a:pt x="7095" y="6275"/>
                  </a:cubicBezTo>
                  <a:cubicBezTo>
                    <a:pt x="7093" y="6274"/>
                    <a:pt x="7085" y="6272"/>
                    <a:pt x="7071" y="6268"/>
                  </a:cubicBezTo>
                  <a:cubicBezTo>
                    <a:pt x="7058" y="6265"/>
                    <a:pt x="7040" y="6261"/>
                    <a:pt x="7020" y="6257"/>
                  </a:cubicBezTo>
                  <a:lnTo>
                    <a:pt x="6729" y="6202"/>
                  </a:lnTo>
                  <a:lnTo>
                    <a:pt x="6696" y="6271"/>
                  </a:lnTo>
                  <a:lnTo>
                    <a:pt x="7070" y="6497"/>
                  </a:lnTo>
                  <a:lnTo>
                    <a:pt x="7092" y="6452"/>
                  </a:lnTo>
                  <a:lnTo>
                    <a:pt x="6824" y="6294"/>
                  </a:lnTo>
                  <a:cubicBezTo>
                    <a:pt x="6819" y="6291"/>
                    <a:pt x="6812" y="6287"/>
                    <a:pt x="6805" y="6282"/>
                  </a:cubicBezTo>
                  <a:cubicBezTo>
                    <a:pt x="6797" y="6278"/>
                    <a:pt x="6790" y="6274"/>
                    <a:pt x="6783" y="6270"/>
                  </a:cubicBezTo>
                  <a:cubicBezTo>
                    <a:pt x="6775" y="6266"/>
                    <a:pt x="6769" y="6262"/>
                    <a:pt x="6763" y="6259"/>
                  </a:cubicBezTo>
                  <a:cubicBezTo>
                    <a:pt x="6758" y="6256"/>
                    <a:pt x="6755" y="6254"/>
                    <a:pt x="6754" y="6253"/>
                  </a:cubicBezTo>
                  <a:cubicBezTo>
                    <a:pt x="6758" y="6255"/>
                    <a:pt x="6768" y="6257"/>
                    <a:pt x="6781" y="6259"/>
                  </a:cubicBezTo>
                  <a:cubicBezTo>
                    <a:pt x="6796" y="6262"/>
                    <a:pt x="6815" y="6266"/>
                    <a:pt x="6837" y="6270"/>
                  </a:cubicBezTo>
                  <a:lnTo>
                    <a:pt x="7152" y="6329"/>
                  </a:lnTo>
                  <a:lnTo>
                    <a:pt x="7172" y="6289"/>
                  </a:lnTo>
                  <a:lnTo>
                    <a:pt x="6922" y="6062"/>
                  </a:lnTo>
                  <a:cubicBezTo>
                    <a:pt x="6916" y="6058"/>
                    <a:pt x="6911" y="6053"/>
                    <a:pt x="6905" y="6048"/>
                  </a:cubicBezTo>
                  <a:cubicBezTo>
                    <a:pt x="6899" y="6043"/>
                    <a:pt x="6893" y="6038"/>
                    <a:pt x="6888" y="6034"/>
                  </a:cubicBezTo>
                  <a:cubicBezTo>
                    <a:pt x="6883" y="6029"/>
                    <a:pt x="6878" y="6025"/>
                    <a:pt x="6875" y="6022"/>
                  </a:cubicBezTo>
                  <a:cubicBezTo>
                    <a:pt x="6871" y="6019"/>
                    <a:pt x="6869" y="6017"/>
                    <a:pt x="6868" y="6017"/>
                  </a:cubicBezTo>
                  <a:cubicBezTo>
                    <a:pt x="6869" y="6017"/>
                    <a:pt x="6872" y="6018"/>
                    <a:pt x="6876" y="6020"/>
                  </a:cubicBezTo>
                  <a:cubicBezTo>
                    <a:pt x="6881" y="6022"/>
                    <a:pt x="6887" y="6025"/>
                    <a:pt x="6893" y="6028"/>
                  </a:cubicBezTo>
                  <a:cubicBezTo>
                    <a:pt x="6900" y="6031"/>
                    <a:pt x="6907" y="6034"/>
                    <a:pt x="6915" y="6037"/>
                  </a:cubicBezTo>
                  <a:cubicBezTo>
                    <a:pt x="6922" y="6041"/>
                    <a:pt x="6929" y="6044"/>
                    <a:pt x="6936" y="6046"/>
                  </a:cubicBezTo>
                  <a:lnTo>
                    <a:pt x="7233" y="6165"/>
                  </a:lnTo>
                  <a:lnTo>
                    <a:pt x="7256" y="6118"/>
                  </a:lnTo>
                  <a:close/>
                  <a:moveTo>
                    <a:pt x="7041" y="5569"/>
                  </a:moveTo>
                  <a:lnTo>
                    <a:pt x="7018" y="5615"/>
                  </a:lnTo>
                  <a:lnTo>
                    <a:pt x="7291" y="5749"/>
                  </a:lnTo>
                  <a:cubicBezTo>
                    <a:pt x="7304" y="5756"/>
                    <a:pt x="7315" y="5762"/>
                    <a:pt x="7323" y="5769"/>
                  </a:cubicBezTo>
                  <a:cubicBezTo>
                    <a:pt x="7332" y="5775"/>
                    <a:pt x="7339" y="5783"/>
                    <a:pt x="7344" y="5794"/>
                  </a:cubicBezTo>
                  <a:cubicBezTo>
                    <a:pt x="7349" y="5804"/>
                    <a:pt x="7351" y="5816"/>
                    <a:pt x="7349" y="5830"/>
                  </a:cubicBezTo>
                  <a:cubicBezTo>
                    <a:pt x="7348" y="5844"/>
                    <a:pt x="7343" y="5859"/>
                    <a:pt x="7335" y="5875"/>
                  </a:cubicBezTo>
                  <a:cubicBezTo>
                    <a:pt x="7329" y="5887"/>
                    <a:pt x="7323" y="5897"/>
                    <a:pt x="7316" y="5905"/>
                  </a:cubicBezTo>
                  <a:cubicBezTo>
                    <a:pt x="7309" y="5913"/>
                    <a:pt x="7303" y="5918"/>
                    <a:pt x="7296" y="5923"/>
                  </a:cubicBezTo>
                  <a:cubicBezTo>
                    <a:pt x="7289" y="5927"/>
                    <a:pt x="7283" y="5930"/>
                    <a:pt x="7276" y="5931"/>
                  </a:cubicBezTo>
                  <a:cubicBezTo>
                    <a:pt x="7270" y="5932"/>
                    <a:pt x="7264" y="5933"/>
                    <a:pt x="7259" y="5933"/>
                  </a:cubicBezTo>
                  <a:cubicBezTo>
                    <a:pt x="7252" y="5932"/>
                    <a:pt x="7242" y="5930"/>
                    <a:pt x="7231" y="5926"/>
                  </a:cubicBezTo>
                  <a:cubicBezTo>
                    <a:pt x="7220" y="5921"/>
                    <a:pt x="7209" y="5917"/>
                    <a:pt x="7199" y="5912"/>
                  </a:cubicBezTo>
                  <a:lnTo>
                    <a:pt x="6936" y="5782"/>
                  </a:lnTo>
                  <a:lnTo>
                    <a:pt x="6913" y="5829"/>
                  </a:lnTo>
                  <a:lnTo>
                    <a:pt x="7194" y="5966"/>
                  </a:lnTo>
                  <a:cubicBezTo>
                    <a:pt x="7202" y="5971"/>
                    <a:pt x="7213" y="5975"/>
                    <a:pt x="7224" y="5979"/>
                  </a:cubicBezTo>
                  <a:cubicBezTo>
                    <a:pt x="7236" y="5984"/>
                    <a:pt x="7248" y="5986"/>
                    <a:pt x="7260" y="5985"/>
                  </a:cubicBezTo>
                  <a:cubicBezTo>
                    <a:pt x="7285" y="5984"/>
                    <a:pt x="7306" y="5977"/>
                    <a:pt x="7324" y="5963"/>
                  </a:cubicBezTo>
                  <a:cubicBezTo>
                    <a:pt x="7342" y="5950"/>
                    <a:pt x="7359" y="5928"/>
                    <a:pt x="7374" y="5897"/>
                  </a:cubicBezTo>
                  <a:cubicBezTo>
                    <a:pt x="7385" y="5873"/>
                    <a:pt x="7393" y="5852"/>
                    <a:pt x="7396" y="5833"/>
                  </a:cubicBezTo>
                  <a:cubicBezTo>
                    <a:pt x="7399" y="5815"/>
                    <a:pt x="7398" y="5797"/>
                    <a:pt x="7394" y="5780"/>
                  </a:cubicBezTo>
                  <a:cubicBezTo>
                    <a:pt x="7390" y="5763"/>
                    <a:pt x="7382" y="5750"/>
                    <a:pt x="7371" y="5739"/>
                  </a:cubicBezTo>
                  <a:cubicBezTo>
                    <a:pt x="7360" y="5729"/>
                    <a:pt x="7342" y="5718"/>
                    <a:pt x="7319" y="5706"/>
                  </a:cubicBezTo>
                  <a:lnTo>
                    <a:pt x="7041" y="5569"/>
                  </a:lnTo>
                  <a:close/>
                  <a:moveTo>
                    <a:pt x="6884" y="5700"/>
                  </a:moveTo>
                  <a:cubicBezTo>
                    <a:pt x="6875" y="5703"/>
                    <a:pt x="6869" y="5709"/>
                    <a:pt x="6865" y="5717"/>
                  </a:cubicBezTo>
                  <a:cubicBezTo>
                    <a:pt x="6861" y="5725"/>
                    <a:pt x="6860" y="5733"/>
                    <a:pt x="6863" y="5742"/>
                  </a:cubicBezTo>
                  <a:cubicBezTo>
                    <a:pt x="6866" y="5750"/>
                    <a:pt x="6872" y="5756"/>
                    <a:pt x="6880" y="5760"/>
                  </a:cubicBezTo>
                  <a:cubicBezTo>
                    <a:pt x="6888" y="5764"/>
                    <a:pt x="6897" y="5765"/>
                    <a:pt x="6905" y="5762"/>
                  </a:cubicBezTo>
                  <a:cubicBezTo>
                    <a:pt x="6914" y="5759"/>
                    <a:pt x="6920" y="5754"/>
                    <a:pt x="6924" y="5746"/>
                  </a:cubicBezTo>
                  <a:cubicBezTo>
                    <a:pt x="6929" y="5737"/>
                    <a:pt x="6929" y="5729"/>
                    <a:pt x="6926" y="5720"/>
                  </a:cubicBezTo>
                  <a:cubicBezTo>
                    <a:pt x="6923" y="5712"/>
                    <a:pt x="6917" y="5706"/>
                    <a:pt x="6909" y="5702"/>
                  </a:cubicBezTo>
                  <a:cubicBezTo>
                    <a:pt x="6901" y="5698"/>
                    <a:pt x="6892" y="5697"/>
                    <a:pt x="6884" y="5700"/>
                  </a:cubicBezTo>
                  <a:close/>
                  <a:moveTo>
                    <a:pt x="6941" y="5583"/>
                  </a:moveTo>
                  <a:cubicBezTo>
                    <a:pt x="6933" y="5586"/>
                    <a:pt x="6926" y="5592"/>
                    <a:pt x="6922" y="5600"/>
                  </a:cubicBezTo>
                  <a:cubicBezTo>
                    <a:pt x="6918" y="5608"/>
                    <a:pt x="6918" y="5616"/>
                    <a:pt x="6921" y="5625"/>
                  </a:cubicBezTo>
                  <a:cubicBezTo>
                    <a:pt x="6924" y="5633"/>
                    <a:pt x="6929" y="5640"/>
                    <a:pt x="6937" y="5644"/>
                  </a:cubicBezTo>
                  <a:cubicBezTo>
                    <a:pt x="6945" y="5648"/>
                    <a:pt x="6954" y="5648"/>
                    <a:pt x="6963" y="5645"/>
                  </a:cubicBezTo>
                  <a:cubicBezTo>
                    <a:pt x="6971" y="5643"/>
                    <a:pt x="6978" y="5637"/>
                    <a:pt x="6982" y="5629"/>
                  </a:cubicBezTo>
                  <a:cubicBezTo>
                    <a:pt x="6986" y="5620"/>
                    <a:pt x="6986" y="5612"/>
                    <a:pt x="6983" y="5604"/>
                  </a:cubicBezTo>
                  <a:cubicBezTo>
                    <a:pt x="6980" y="5595"/>
                    <a:pt x="6974" y="5589"/>
                    <a:pt x="6966" y="5585"/>
                  </a:cubicBezTo>
                  <a:cubicBezTo>
                    <a:pt x="6958" y="5581"/>
                    <a:pt x="6950" y="5580"/>
                    <a:pt x="6941" y="5583"/>
                  </a:cubicBezTo>
                  <a:close/>
                  <a:moveTo>
                    <a:pt x="7615" y="5389"/>
                  </a:moveTo>
                  <a:lnTo>
                    <a:pt x="7224" y="5197"/>
                  </a:lnTo>
                  <a:lnTo>
                    <a:pt x="7201" y="5243"/>
                  </a:lnTo>
                  <a:lnTo>
                    <a:pt x="7415" y="5346"/>
                  </a:lnTo>
                  <a:cubicBezTo>
                    <a:pt x="7429" y="5353"/>
                    <a:pt x="7443" y="5359"/>
                    <a:pt x="7457" y="5366"/>
                  </a:cubicBezTo>
                  <a:cubicBezTo>
                    <a:pt x="7472" y="5372"/>
                    <a:pt x="7485" y="5378"/>
                    <a:pt x="7496" y="5383"/>
                  </a:cubicBezTo>
                  <a:cubicBezTo>
                    <a:pt x="7508" y="5387"/>
                    <a:pt x="7517" y="5391"/>
                    <a:pt x="7525" y="5394"/>
                  </a:cubicBezTo>
                  <a:cubicBezTo>
                    <a:pt x="7532" y="5397"/>
                    <a:pt x="7536" y="5399"/>
                    <a:pt x="7536" y="5399"/>
                  </a:cubicBezTo>
                  <a:cubicBezTo>
                    <a:pt x="7535" y="5399"/>
                    <a:pt x="7531" y="5399"/>
                    <a:pt x="7525" y="5398"/>
                  </a:cubicBezTo>
                  <a:cubicBezTo>
                    <a:pt x="7519" y="5398"/>
                    <a:pt x="7511" y="5397"/>
                    <a:pt x="7502" y="5397"/>
                  </a:cubicBezTo>
                  <a:cubicBezTo>
                    <a:pt x="7493" y="5396"/>
                    <a:pt x="7483" y="5396"/>
                    <a:pt x="7471" y="5395"/>
                  </a:cubicBezTo>
                  <a:cubicBezTo>
                    <a:pt x="7460" y="5395"/>
                    <a:pt x="7448" y="5395"/>
                    <a:pt x="7436" y="5395"/>
                  </a:cubicBezTo>
                  <a:lnTo>
                    <a:pt x="7123" y="5402"/>
                  </a:lnTo>
                  <a:lnTo>
                    <a:pt x="7096" y="5457"/>
                  </a:lnTo>
                  <a:lnTo>
                    <a:pt x="7487" y="5649"/>
                  </a:lnTo>
                  <a:lnTo>
                    <a:pt x="7511" y="5600"/>
                  </a:lnTo>
                  <a:lnTo>
                    <a:pt x="7283" y="5491"/>
                  </a:lnTo>
                  <a:cubicBezTo>
                    <a:pt x="7272" y="5485"/>
                    <a:pt x="7260" y="5480"/>
                    <a:pt x="7249" y="5475"/>
                  </a:cubicBezTo>
                  <a:cubicBezTo>
                    <a:pt x="7237" y="5470"/>
                    <a:pt x="7226" y="5465"/>
                    <a:pt x="7216" y="5461"/>
                  </a:cubicBezTo>
                  <a:cubicBezTo>
                    <a:pt x="7206" y="5457"/>
                    <a:pt x="7197" y="5453"/>
                    <a:pt x="7190" y="5450"/>
                  </a:cubicBezTo>
                  <a:cubicBezTo>
                    <a:pt x="7183" y="5447"/>
                    <a:pt x="7178" y="5445"/>
                    <a:pt x="7175" y="5444"/>
                  </a:cubicBezTo>
                  <a:cubicBezTo>
                    <a:pt x="7179" y="5445"/>
                    <a:pt x="7184" y="5445"/>
                    <a:pt x="7192" y="5445"/>
                  </a:cubicBezTo>
                  <a:cubicBezTo>
                    <a:pt x="7199" y="5446"/>
                    <a:pt x="7208" y="5446"/>
                    <a:pt x="7218" y="5446"/>
                  </a:cubicBezTo>
                  <a:cubicBezTo>
                    <a:pt x="7228" y="5446"/>
                    <a:pt x="7239" y="5446"/>
                    <a:pt x="7251" y="5446"/>
                  </a:cubicBezTo>
                  <a:cubicBezTo>
                    <a:pt x="7264" y="5446"/>
                    <a:pt x="7277" y="5446"/>
                    <a:pt x="7290" y="5446"/>
                  </a:cubicBezTo>
                  <a:lnTo>
                    <a:pt x="7591" y="5438"/>
                  </a:lnTo>
                  <a:lnTo>
                    <a:pt x="7615" y="5389"/>
                  </a:lnTo>
                  <a:close/>
                  <a:moveTo>
                    <a:pt x="7639" y="4968"/>
                  </a:moveTo>
                  <a:cubicBezTo>
                    <a:pt x="7625" y="4967"/>
                    <a:pt x="7611" y="4968"/>
                    <a:pt x="7598" y="4971"/>
                  </a:cubicBezTo>
                  <a:cubicBezTo>
                    <a:pt x="7585" y="4975"/>
                    <a:pt x="7573" y="4980"/>
                    <a:pt x="7562" y="4987"/>
                  </a:cubicBezTo>
                  <a:cubicBezTo>
                    <a:pt x="7551" y="4995"/>
                    <a:pt x="7538" y="5006"/>
                    <a:pt x="7525" y="5021"/>
                  </a:cubicBezTo>
                  <a:lnTo>
                    <a:pt x="7488" y="5059"/>
                  </a:lnTo>
                  <a:cubicBezTo>
                    <a:pt x="7469" y="5078"/>
                    <a:pt x="7452" y="5091"/>
                    <a:pt x="7438" y="5096"/>
                  </a:cubicBezTo>
                  <a:cubicBezTo>
                    <a:pt x="7423" y="5101"/>
                    <a:pt x="7408" y="5100"/>
                    <a:pt x="7392" y="5092"/>
                  </a:cubicBezTo>
                  <a:cubicBezTo>
                    <a:pt x="7372" y="5082"/>
                    <a:pt x="7360" y="5068"/>
                    <a:pt x="7355" y="5049"/>
                  </a:cubicBezTo>
                  <a:cubicBezTo>
                    <a:pt x="7350" y="5029"/>
                    <a:pt x="7354" y="5007"/>
                    <a:pt x="7366" y="4983"/>
                  </a:cubicBezTo>
                  <a:cubicBezTo>
                    <a:pt x="7370" y="4974"/>
                    <a:pt x="7375" y="4967"/>
                    <a:pt x="7380" y="4960"/>
                  </a:cubicBezTo>
                  <a:cubicBezTo>
                    <a:pt x="7384" y="4953"/>
                    <a:pt x="7390" y="4946"/>
                    <a:pt x="7396" y="4940"/>
                  </a:cubicBezTo>
                  <a:cubicBezTo>
                    <a:pt x="7403" y="4934"/>
                    <a:pt x="7410" y="4928"/>
                    <a:pt x="7418" y="4922"/>
                  </a:cubicBezTo>
                  <a:cubicBezTo>
                    <a:pt x="7426" y="4916"/>
                    <a:pt x="7435" y="4910"/>
                    <a:pt x="7446" y="4904"/>
                  </a:cubicBezTo>
                  <a:lnTo>
                    <a:pt x="7423" y="4867"/>
                  </a:lnTo>
                  <a:cubicBezTo>
                    <a:pt x="7379" y="4892"/>
                    <a:pt x="7347" y="4925"/>
                    <a:pt x="7327" y="4966"/>
                  </a:cubicBezTo>
                  <a:cubicBezTo>
                    <a:pt x="7318" y="4985"/>
                    <a:pt x="7312" y="5004"/>
                    <a:pt x="7310" y="5022"/>
                  </a:cubicBezTo>
                  <a:cubicBezTo>
                    <a:pt x="7308" y="5040"/>
                    <a:pt x="7309" y="5057"/>
                    <a:pt x="7313" y="5073"/>
                  </a:cubicBezTo>
                  <a:cubicBezTo>
                    <a:pt x="7318" y="5089"/>
                    <a:pt x="7325" y="5103"/>
                    <a:pt x="7336" y="5116"/>
                  </a:cubicBezTo>
                  <a:cubicBezTo>
                    <a:pt x="7347" y="5129"/>
                    <a:pt x="7360" y="5140"/>
                    <a:pt x="7377" y="5148"/>
                  </a:cubicBezTo>
                  <a:cubicBezTo>
                    <a:pt x="7402" y="5160"/>
                    <a:pt x="7427" y="5162"/>
                    <a:pt x="7453" y="5155"/>
                  </a:cubicBezTo>
                  <a:cubicBezTo>
                    <a:pt x="7465" y="5151"/>
                    <a:pt x="7476" y="5145"/>
                    <a:pt x="7486" y="5137"/>
                  </a:cubicBezTo>
                  <a:cubicBezTo>
                    <a:pt x="7496" y="5129"/>
                    <a:pt x="7508" y="5118"/>
                    <a:pt x="7522" y="5102"/>
                  </a:cubicBezTo>
                  <a:lnTo>
                    <a:pt x="7553" y="5069"/>
                  </a:lnTo>
                  <a:cubicBezTo>
                    <a:pt x="7590" y="5029"/>
                    <a:pt x="7626" y="5018"/>
                    <a:pt x="7661" y="5035"/>
                  </a:cubicBezTo>
                  <a:cubicBezTo>
                    <a:pt x="7684" y="5046"/>
                    <a:pt x="7698" y="5065"/>
                    <a:pt x="7703" y="5090"/>
                  </a:cubicBezTo>
                  <a:cubicBezTo>
                    <a:pt x="7705" y="5102"/>
                    <a:pt x="7705" y="5113"/>
                    <a:pt x="7703" y="5123"/>
                  </a:cubicBezTo>
                  <a:cubicBezTo>
                    <a:pt x="7701" y="5133"/>
                    <a:pt x="7697" y="5146"/>
                    <a:pt x="7689" y="5161"/>
                  </a:cubicBezTo>
                  <a:cubicBezTo>
                    <a:pt x="7680" y="5180"/>
                    <a:pt x="7668" y="5197"/>
                    <a:pt x="7654" y="5212"/>
                  </a:cubicBezTo>
                  <a:cubicBezTo>
                    <a:pt x="7641" y="5226"/>
                    <a:pt x="7624" y="5238"/>
                    <a:pt x="7604" y="5249"/>
                  </a:cubicBezTo>
                  <a:lnTo>
                    <a:pt x="7630" y="5287"/>
                  </a:lnTo>
                  <a:cubicBezTo>
                    <a:pt x="7652" y="5274"/>
                    <a:pt x="7671" y="5258"/>
                    <a:pt x="7687" y="5241"/>
                  </a:cubicBezTo>
                  <a:cubicBezTo>
                    <a:pt x="7702" y="5223"/>
                    <a:pt x="7716" y="5203"/>
                    <a:pt x="7727" y="5179"/>
                  </a:cubicBezTo>
                  <a:cubicBezTo>
                    <a:pt x="7736" y="5161"/>
                    <a:pt x="7742" y="5144"/>
                    <a:pt x="7745" y="5129"/>
                  </a:cubicBezTo>
                  <a:cubicBezTo>
                    <a:pt x="7748" y="5113"/>
                    <a:pt x="7749" y="5097"/>
                    <a:pt x="7747" y="5080"/>
                  </a:cubicBezTo>
                  <a:cubicBezTo>
                    <a:pt x="7744" y="5057"/>
                    <a:pt x="7737" y="5037"/>
                    <a:pt x="7725" y="5019"/>
                  </a:cubicBezTo>
                  <a:cubicBezTo>
                    <a:pt x="7713" y="5002"/>
                    <a:pt x="7698" y="4988"/>
                    <a:pt x="7679" y="4979"/>
                  </a:cubicBezTo>
                  <a:cubicBezTo>
                    <a:pt x="7667" y="4973"/>
                    <a:pt x="7654" y="4970"/>
                    <a:pt x="7639" y="4968"/>
                  </a:cubicBezTo>
                  <a:close/>
                  <a:moveTo>
                    <a:pt x="7556" y="4521"/>
                  </a:moveTo>
                  <a:lnTo>
                    <a:pt x="7429" y="4780"/>
                  </a:lnTo>
                  <a:lnTo>
                    <a:pt x="7468" y="4799"/>
                  </a:lnTo>
                  <a:lnTo>
                    <a:pt x="7520" y="4695"/>
                  </a:lnTo>
                  <a:lnTo>
                    <a:pt x="7872" y="4868"/>
                  </a:lnTo>
                  <a:lnTo>
                    <a:pt x="7894" y="4823"/>
                  </a:lnTo>
                  <a:lnTo>
                    <a:pt x="7542" y="4650"/>
                  </a:lnTo>
                  <a:lnTo>
                    <a:pt x="7594" y="4544"/>
                  </a:lnTo>
                  <a:lnTo>
                    <a:pt x="7556" y="4521"/>
                  </a:lnTo>
                  <a:close/>
                  <a:moveTo>
                    <a:pt x="8088" y="4427"/>
                  </a:moveTo>
                  <a:lnTo>
                    <a:pt x="8048" y="4407"/>
                  </a:lnTo>
                  <a:lnTo>
                    <a:pt x="7963" y="4579"/>
                  </a:lnTo>
                  <a:lnTo>
                    <a:pt x="7820" y="4509"/>
                  </a:lnTo>
                  <a:lnTo>
                    <a:pt x="7886" y="4375"/>
                  </a:lnTo>
                  <a:lnTo>
                    <a:pt x="7846" y="4355"/>
                  </a:lnTo>
                  <a:lnTo>
                    <a:pt x="7780" y="4489"/>
                  </a:lnTo>
                  <a:lnTo>
                    <a:pt x="7652" y="4426"/>
                  </a:lnTo>
                  <a:lnTo>
                    <a:pt x="7730" y="4266"/>
                  </a:lnTo>
                  <a:lnTo>
                    <a:pt x="7695" y="4241"/>
                  </a:lnTo>
                  <a:lnTo>
                    <a:pt x="7590" y="4454"/>
                  </a:lnTo>
                  <a:lnTo>
                    <a:pt x="7980" y="4647"/>
                  </a:lnTo>
                  <a:lnTo>
                    <a:pt x="8088" y="4427"/>
                  </a:lnTo>
                  <a:close/>
                  <a:moveTo>
                    <a:pt x="8251" y="4096"/>
                  </a:moveTo>
                  <a:lnTo>
                    <a:pt x="8215" y="4101"/>
                  </a:lnTo>
                  <a:cubicBezTo>
                    <a:pt x="8198" y="4103"/>
                    <a:pt x="8181" y="4106"/>
                    <a:pt x="8162" y="4108"/>
                  </a:cubicBezTo>
                  <a:cubicBezTo>
                    <a:pt x="8143" y="4111"/>
                    <a:pt x="8126" y="4113"/>
                    <a:pt x="8109" y="4115"/>
                  </a:cubicBezTo>
                  <a:cubicBezTo>
                    <a:pt x="8093" y="4118"/>
                    <a:pt x="8081" y="4120"/>
                    <a:pt x="8074" y="4121"/>
                  </a:cubicBezTo>
                  <a:cubicBezTo>
                    <a:pt x="8064" y="4123"/>
                    <a:pt x="8053" y="4125"/>
                    <a:pt x="8042" y="4128"/>
                  </a:cubicBezTo>
                  <a:cubicBezTo>
                    <a:pt x="8030" y="4131"/>
                    <a:pt x="8019" y="4135"/>
                    <a:pt x="8011" y="4139"/>
                  </a:cubicBezTo>
                  <a:lnTo>
                    <a:pt x="8014" y="4133"/>
                  </a:lnTo>
                  <a:cubicBezTo>
                    <a:pt x="8021" y="4117"/>
                    <a:pt x="8026" y="4102"/>
                    <a:pt x="8027" y="4087"/>
                  </a:cubicBezTo>
                  <a:cubicBezTo>
                    <a:pt x="8028" y="4071"/>
                    <a:pt x="8026" y="4057"/>
                    <a:pt x="8021" y="4043"/>
                  </a:cubicBezTo>
                  <a:cubicBezTo>
                    <a:pt x="8017" y="4030"/>
                    <a:pt x="8009" y="4017"/>
                    <a:pt x="7998" y="4005"/>
                  </a:cubicBezTo>
                  <a:cubicBezTo>
                    <a:pt x="7987" y="3994"/>
                    <a:pt x="7974" y="3984"/>
                    <a:pt x="7958" y="3976"/>
                  </a:cubicBezTo>
                  <a:cubicBezTo>
                    <a:pt x="7947" y="3971"/>
                    <a:pt x="7937" y="3968"/>
                    <a:pt x="7928" y="3966"/>
                  </a:cubicBezTo>
                  <a:cubicBezTo>
                    <a:pt x="7918" y="3965"/>
                    <a:pt x="7909" y="3964"/>
                    <a:pt x="7900" y="3964"/>
                  </a:cubicBezTo>
                  <a:cubicBezTo>
                    <a:pt x="7891" y="3964"/>
                    <a:pt x="7883" y="3965"/>
                    <a:pt x="7876" y="3967"/>
                  </a:cubicBezTo>
                  <a:cubicBezTo>
                    <a:pt x="7869" y="3970"/>
                    <a:pt x="7862" y="3972"/>
                    <a:pt x="7857" y="3975"/>
                  </a:cubicBezTo>
                  <a:cubicBezTo>
                    <a:pt x="7851" y="3978"/>
                    <a:pt x="7845" y="3981"/>
                    <a:pt x="7839" y="3985"/>
                  </a:cubicBezTo>
                  <a:cubicBezTo>
                    <a:pt x="7833" y="3990"/>
                    <a:pt x="7827" y="3995"/>
                    <a:pt x="7821" y="4002"/>
                  </a:cubicBezTo>
                  <a:cubicBezTo>
                    <a:pt x="7814" y="4009"/>
                    <a:pt x="7808" y="4017"/>
                    <a:pt x="7802" y="4027"/>
                  </a:cubicBezTo>
                  <a:cubicBezTo>
                    <a:pt x="7796" y="4036"/>
                    <a:pt x="7790" y="4048"/>
                    <a:pt x="7783" y="4061"/>
                  </a:cubicBezTo>
                  <a:lnTo>
                    <a:pt x="7738" y="4152"/>
                  </a:lnTo>
                  <a:lnTo>
                    <a:pt x="8129" y="4345"/>
                  </a:lnTo>
                  <a:lnTo>
                    <a:pt x="8151" y="4299"/>
                  </a:lnTo>
                  <a:lnTo>
                    <a:pt x="7975" y="4212"/>
                  </a:lnTo>
                  <a:cubicBezTo>
                    <a:pt x="7980" y="4202"/>
                    <a:pt x="7986" y="4195"/>
                    <a:pt x="7992" y="4191"/>
                  </a:cubicBezTo>
                  <a:cubicBezTo>
                    <a:pt x="7998" y="4186"/>
                    <a:pt x="8008" y="4183"/>
                    <a:pt x="8022" y="4180"/>
                  </a:cubicBezTo>
                  <a:cubicBezTo>
                    <a:pt x="8045" y="4175"/>
                    <a:pt x="8067" y="4171"/>
                    <a:pt x="8088" y="4168"/>
                  </a:cubicBezTo>
                  <a:cubicBezTo>
                    <a:pt x="8108" y="4164"/>
                    <a:pt x="8127" y="4162"/>
                    <a:pt x="8145" y="4159"/>
                  </a:cubicBezTo>
                  <a:cubicBezTo>
                    <a:pt x="8162" y="4157"/>
                    <a:pt x="8177" y="4156"/>
                    <a:pt x="8191" y="4155"/>
                  </a:cubicBezTo>
                  <a:cubicBezTo>
                    <a:pt x="8204" y="4155"/>
                    <a:pt x="8214" y="4155"/>
                    <a:pt x="8222" y="4155"/>
                  </a:cubicBezTo>
                  <a:lnTo>
                    <a:pt x="8251" y="4096"/>
                  </a:lnTo>
                  <a:close/>
                  <a:moveTo>
                    <a:pt x="7965" y="4047"/>
                  </a:moveTo>
                  <a:cubicBezTo>
                    <a:pt x="7973" y="4056"/>
                    <a:pt x="7979" y="4065"/>
                    <a:pt x="7982" y="4074"/>
                  </a:cubicBezTo>
                  <a:cubicBezTo>
                    <a:pt x="7985" y="4085"/>
                    <a:pt x="7985" y="4097"/>
                    <a:pt x="7983" y="4109"/>
                  </a:cubicBezTo>
                  <a:cubicBezTo>
                    <a:pt x="7981" y="4122"/>
                    <a:pt x="7976" y="4137"/>
                    <a:pt x="7967" y="4154"/>
                  </a:cubicBezTo>
                  <a:lnTo>
                    <a:pt x="7946" y="4198"/>
                  </a:lnTo>
                  <a:lnTo>
                    <a:pt x="7800" y="4126"/>
                  </a:lnTo>
                  <a:lnTo>
                    <a:pt x="7823" y="4079"/>
                  </a:lnTo>
                  <a:cubicBezTo>
                    <a:pt x="7828" y="4069"/>
                    <a:pt x="7833" y="4060"/>
                    <a:pt x="7838" y="4053"/>
                  </a:cubicBezTo>
                  <a:cubicBezTo>
                    <a:pt x="7844" y="4046"/>
                    <a:pt x="7849" y="4039"/>
                    <a:pt x="7855" y="4034"/>
                  </a:cubicBezTo>
                  <a:cubicBezTo>
                    <a:pt x="7865" y="4025"/>
                    <a:pt x="7877" y="4020"/>
                    <a:pt x="7892" y="4018"/>
                  </a:cubicBezTo>
                  <a:cubicBezTo>
                    <a:pt x="7906" y="4017"/>
                    <a:pt x="7920" y="4019"/>
                    <a:pt x="7933" y="4025"/>
                  </a:cubicBezTo>
                  <a:cubicBezTo>
                    <a:pt x="7946" y="4032"/>
                    <a:pt x="7957" y="4039"/>
                    <a:pt x="7965" y="4047"/>
                  </a:cubicBezTo>
                  <a:close/>
                  <a:moveTo>
                    <a:pt x="8463" y="3885"/>
                  </a:moveTo>
                  <a:lnTo>
                    <a:pt x="7914" y="3615"/>
                  </a:lnTo>
                  <a:lnTo>
                    <a:pt x="7895" y="3652"/>
                  </a:lnTo>
                  <a:lnTo>
                    <a:pt x="8445" y="3922"/>
                  </a:lnTo>
                  <a:lnTo>
                    <a:pt x="8463" y="3885"/>
                  </a:lnTo>
                  <a:close/>
                  <a:moveTo>
                    <a:pt x="8238" y="3137"/>
                  </a:moveTo>
                  <a:lnTo>
                    <a:pt x="8215" y="3183"/>
                  </a:lnTo>
                  <a:lnTo>
                    <a:pt x="8487" y="3317"/>
                  </a:lnTo>
                  <a:cubicBezTo>
                    <a:pt x="8501" y="3324"/>
                    <a:pt x="8512" y="3330"/>
                    <a:pt x="8520" y="3336"/>
                  </a:cubicBezTo>
                  <a:cubicBezTo>
                    <a:pt x="8528" y="3343"/>
                    <a:pt x="8535" y="3351"/>
                    <a:pt x="8541" y="3362"/>
                  </a:cubicBezTo>
                  <a:cubicBezTo>
                    <a:pt x="8546" y="3372"/>
                    <a:pt x="8548" y="3384"/>
                    <a:pt x="8546" y="3398"/>
                  </a:cubicBezTo>
                  <a:cubicBezTo>
                    <a:pt x="8544" y="3412"/>
                    <a:pt x="8540" y="3427"/>
                    <a:pt x="8532" y="3443"/>
                  </a:cubicBezTo>
                  <a:cubicBezTo>
                    <a:pt x="8526" y="3455"/>
                    <a:pt x="8519" y="3465"/>
                    <a:pt x="8513" y="3473"/>
                  </a:cubicBezTo>
                  <a:cubicBezTo>
                    <a:pt x="8506" y="3480"/>
                    <a:pt x="8500" y="3486"/>
                    <a:pt x="8493" y="3490"/>
                  </a:cubicBezTo>
                  <a:cubicBezTo>
                    <a:pt x="8486" y="3495"/>
                    <a:pt x="8479" y="3497"/>
                    <a:pt x="8473" y="3499"/>
                  </a:cubicBezTo>
                  <a:cubicBezTo>
                    <a:pt x="8467" y="3500"/>
                    <a:pt x="8461" y="3501"/>
                    <a:pt x="8456" y="3500"/>
                  </a:cubicBezTo>
                  <a:cubicBezTo>
                    <a:pt x="8449" y="3500"/>
                    <a:pt x="8439" y="3498"/>
                    <a:pt x="8428" y="3493"/>
                  </a:cubicBezTo>
                  <a:cubicBezTo>
                    <a:pt x="8417" y="3489"/>
                    <a:pt x="8406" y="3484"/>
                    <a:pt x="8396" y="3480"/>
                  </a:cubicBezTo>
                  <a:lnTo>
                    <a:pt x="8133" y="3350"/>
                  </a:lnTo>
                  <a:lnTo>
                    <a:pt x="8110" y="3396"/>
                  </a:lnTo>
                  <a:lnTo>
                    <a:pt x="8390" y="3534"/>
                  </a:lnTo>
                  <a:cubicBezTo>
                    <a:pt x="8399" y="3538"/>
                    <a:pt x="8409" y="3543"/>
                    <a:pt x="8421" y="3547"/>
                  </a:cubicBezTo>
                  <a:cubicBezTo>
                    <a:pt x="8433" y="3551"/>
                    <a:pt x="8445" y="3553"/>
                    <a:pt x="8457" y="3553"/>
                  </a:cubicBezTo>
                  <a:cubicBezTo>
                    <a:pt x="8482" y="3552"/>
                    <a:pt x="8503" y="3544"/>
                    <a:pt x="8521" y="3531"/>
                  </a:cubicBezTo>
                  <a:cubicBezTo>
                    <a:pt x="8539" y="3517"/>
                    <a:pt x="8555" y="3495"/>
                    <a:pt x="8570" y="3465"/>
                  </a:cubicBezTo>
                  <a:cubicBezTo>
                    <a:pt x="8582" y="3441"/>
                    <a:pt x="8590" y="3420"/>
                    <a:pt x="8593" y="3401"/>
                  </a:cubicBezTo>
                  <a:cubicBezTo>
                    <a:pt x="8596" y="3382"/>
                    <a:pt x="8595" y="3365"/>
                    <a:pt x="8591" y="3347"/>
                  </a:cubicBezTo>
                  <a:cubicBezTo>
                    <a:pt x="8587" y="3331"/>
                    <a:pt x="8579" y="3317"/>
                    <a:pt x="8568" y="3307"/>
                  </a:cubicBezTo>
                  <a:cubicBezTo>
                    <a:pt x="8557" y="3296"/>
                    <a:pt x="8539" y="3285"/>
                    <a:pt x="8516" y="3274"/>
                  </a:cubicBezTo>
                  <a:lnTo>
                    <a:pt x="8238" y="3137"/>
                  </a:lnTo>
                  <a:close/>
                  <a:moveTo>
                    <a:pt x="8812" y="2957"/>
                  </a:moveTo>
                  <a:lnTo>
                    <a:pt x="8421" y="2764"/>
                  </a:lnTo>
                  <a:lnTo>
                    <a:pt x="8398" y="2811"/>
                  </a:lnTo>
                  <a:lnTo>
                    <a:pt x="8612" y="2913"/>
                  </a:lnTo>
                  <a:cubicBezTo>
                    <a:pt x="8626" y="2920"/>
                    <a:pt x="8640" y="2927"/>
                    <a:pt x="8654" y="2933"/>
                  </a:cubicBezTo>
                  <a:cubicBezTo>
                    <a:pt x="8669" y="2940"/>
                    <a:pt x="8682" y="2945"/>
                    <a:pt x="8693" y="2950"/>
                  </a:cubicBezTo>
                  <a:cubicBezTo>
                    <a:pt x="8705" y="2955"/>
                    <a:pt x="8714" y="2959"/>
                    <a:pt x="8721" y="2962"/>
                  </a:cubicBezTo>
                  <a:cubicBezTo>
                    <a:pt x="8729" y="2965"/>
                    <a:pt x="8733" y="2967"/>
                    <a:pt x="8733" y="2967"/>
                  </a:cubicBezTo>
                  <a:cubicBezTo>
                    <a:pt x="8732" y="2967"/>
                    <a:pt x="8728" y="2966"/>
                    <a:pt x="8722" y="2966"/>
                  </a:cubicBezTo>
                  <a:cubicBezTo>
                    <a:pt x="8716" y="2965"/>
                    <a:pt x="8708" y="2965"/>
                    <a:pt x="8699" y="2965"/>
                  </a:cubicBezTo>
                  <a:cubicBezTo>
                    <a:pt x="8690" y="2964"/>
                    <a:pt x="8680" y="2964"/>
                    <a:pt x="8668" y="2963"/>
                  </a:cubicBezTo>
                  <a:cubicBezTo>
                    <a:pt x="8656" y="2963"/>
                    <a:pt x="8645" y="2963"/>
                    <a:pt x="8633" y="2963"/>
                  </a:cubicBezTo>
                  <a:lnTo>
                    <a:pt x="8320" y="2970"/>
                  </a:lnTo>
                  <a:lnTo>
                    <a:pt x="8293" y="3024"/>
                  </a:lnTo>
                  <a:lnTo>
                    <a:pt x="8684" y="3217"/>
                  </a:lnTo>
                  <a:lnTo>
                    <a:pt x="8708" y="3168"/>
                  </a:lnTo>
                  <a:lnTo>
                    <a:pt x="8480" y="3059"/>
                  </a:lnTo>
                  <a:cubicBezTo>
                    <a:pt x="8469" y="3053"/>
                    <a:pt x="8457" y="3048"/>
                    <a:pt x="8445" y="3043"/>
                  </a:cubicBezTo>
                  <a:cubicBezTo>
                    <a:pt x="8434" y="3038"/>
                    <a:pt x="8423" y="3033"/>
                    <a:pt x="8413" y="3029"/>
                  </a:cubicBezTo>
                  <a:cubicBezTo>
                    <a:pt x="8403" y="3025"/>
                    <a:pt x="8394" y="3021"/>
                    <a:pt x="8387" y="3018"/>
                  </a:cubicBezTo>
                  <a:cubicBezTo>
                    <a:pt x="8380" y="3015"/>
                    <a:pt x="8375" y="3013"/>
                    <a:pt x="8371" y="3012"/>
                  </a:cubicBezTo>
                  <a:cubicBezTo>
                    <a:pt x="8375" y="3012"/>
                    <a:pt x="8381" y="3013"/>
                    <a:pt x="8389" y="3013"/>
                  </a:cubicBezTo>
                  <a:cubicBezTo>
                    <a:pt x="8396" y="3013"/>
                    <a:pt x="8405" y="3014"/>
                    <a:pt x="8415" y="3014"/>
                  </a:cubicBezTo>
                  <a:cubicBezTo>
                    <a:pt x="8425" y="3014"/>
                    <a:pt x="8436" y="3014"/>
                    <a:pt x="8448" y="3014"/>
                  </a:cubicBezTo>
                  <a:cubicBezTo>
                    <a:pt x="8461" y="3014"/>
                    <a:pt x="8473" y="3014"/>
                    <a:pt x="8487" y="3013"/>
                  </a:cubicBezTo>
                  <a:lnTo>
                    <a:pt x="8788" y="3006"/>
                  </a:lnTo>
                  <a:lnTo>
                    <a:pt x="8812" y="2957"/>
                  </a:lnTo>
                  <a:close/>
                  <a:moveTo>
                    <a:pt x="8891" y="2797"/>
                  </a:moveTo>
                  <a:lnTo>
                    <a:pt x="8500" y="2604"/>
                  </a:lnTo>
                  <a:lnTo>
                    <a:pt x="8477" y="2650"/>
                  </a:lnTo>
                  <a:lnTo>
                    <a:pt x="8868" y="2842"/>
                  </a:lnTo>
                  <a:lnTo>
                    <a:pt x="8891" y="2797"/>
                  </a:lnTo>
                  <a:close/>
                  <a:moveTo>
                    <a:pt x="2039" y="18075"/>
                  </a:moveTo>
                  <a:cubicBezTo>
                    <a:pt x="2025" y="18073"/>
                    <a:pt x="2011" y="18074"/>
                    <a:pt x="1998" y="18078"/>
                  </a:cubicBezTo>
                  <a:cubicBezTo>
                    <a:pt x="1985" y="18081"/>
                    <a:pt x="1973" y="18087"/>
                    <a:pt x="1962" y="18094"/>
                  </a:cubicBezTo>
                  <a:cubicBezTo>
                    <a:pt x="1951" y="18101"/>
                    <a:pt x="1938" y="18112"/>
                    <a:pt x="1925" y="18127"/>
                  </a:cubicBezTo>
                  <a:lnTo>
                    <a:pt x="1888" y="18165"/>
                  </a:lnTo>
                  <a:cubicBezTo>
                    <a:pt x="1869" y="18185"/>
                    <a:pt x="1852" y="18197"/>
                    <a:pt x="1838" y="18203"/>
                  </a:cubicBezTo>
                  <a:cubicBezTo>
                    <a:pt x="1824" y="18208"/>
                    <a:pt x="1808" y="18207"/>
                    <a:pt x="1792" y="18199"/>
                  </a:cubicBezTo>
                  <a:cubicBezTo>
                    <a:pt x="1772" y="18189"/>
                    <a:pt x="1760" y="18174"/>
                    <a:pt x="1755" y="18155"/>
                  </a:cubicBezTo>
                  <a:cubicBezTo>
                    <a:pt x="1750" y="18136"/>
                    <a:pt x="1754" y="18114"/>
                    <a:pt x="1766" y="18089"/>
                  </a:cubicBezTo>
                  <a:cubicBezTo>
                    <a:pt x="1770" y="18081"/>
                    <a:pt x="1775" y="18073"/>
                    <a:pt x="1780" y="18066"/>
                  </a:cubicBezTo>
                  <a:cubicBezTo>
                    <a:pt x="1784" y="18060"/>
                    <a:pt x="1790" y="18053"/>
                    <a:pt x="1796" y="18047"/>
                  </a:cubicBezTo>
                  <a:cubicBezTo>
                    <a:pt x="1803" y="18041"/>
                    <a:pt x="1810" y="18035"/>
                    <a:pt x="1818" y="18029"/>
                  </a:cubicBezTo>
                  <a:cubicBezTo>
                    <a:pt x="1826" y="18023"/>
                    <a:pt x="1836" y="18017"/>
                    <a:pt x="1846" y="18010"/>
                  </a:cubicBezTo>
                  <a:lnTo>
                    <a:pt x="1823" y="17973"/>
                  </a:lnTo>
                  <a:cubicBezTo>
                    <a:pt x="1779" y="17998"/>
                    <a:pt x="1747" y="18031"/>
                    <a:pt x="1727" y="18073"/>
                  </a:cubicBezTo>
                  <a:cubicBezTo>
                    <a:pt x="1718" y="18092"/>
                    <a:pt x="1712" y="18110"/>
                    <a:pt x="1710" y="18129"/>
                  </a:cubicBezTo>
                  <a:cubicBezTo>
                    <a:pt x="1708" y="18147"/>
                    <a:pt x="1709" y="18164"/>
                    <a:pt x="1713" y="18180"/>
                  </a:cubicBezTo>
                  <a:cubicBezTo>
                    <a:pt x="1718" y="18196"/>
                    <a:pt x="1725" y="18210"/>
                    <a:pt x="1736" y="18223"/>
                  </a:cubicBezTo>
                  <a:cubicBezTo>
                    <a:pt x="1747" y="18235"/>
                    <a:pt x="1760" y="18246"/>
                    <a:pt x="1776" y="18254"/>
                  </a:cubicBezTo>
                  <a:lnTo>
                    <a:pt x="1870" y="18254"/>
                  </a:lnTo>
                  <a:cubicBezTo>
                    <a:pt x="1876" y="18251"/>
                    <a:pt x="1881" y="18248"/>
                    <a:pt x="1886" y="18244"/>
                  </a:cubicBezTo>
                  <a:cubicBezTo>
                    <a:pt x="1896" y="18236"/>
                    <a:pt x="1908" y="18224"/>
                    <a:pt x="1922" y="18209"/>
                  </a:cubicBezTo>
                  <a:lnTo>
                    <a:pt x="1953" y="18175"/>
                  </a:lnTo>
                  <a:cubicBezTo>
                    <a:pt x="1990" y="18136"/>
                    <a:pt x="2026" y="18124"/>
                    <a:pt x="2061" y="18141"/>
                  </a:cubicBezTo>
                  <a:cubicBezTo>
                    <a:pt x="2084" y="18153"/>
                    <a:pt x="2098" y="18171"/>
                    <a:pt x="2103" y="18197"/>
                  </a:cubicBezTo>
                  <a:cubicBezTo>
                    <a:pt x="2105" y="18208"/>
                    <a:pt x="2105" y="18219"/>
                    <a:pt x="2103" y="18229"/>
                  </a:cubicBezTo>
                  <a:cubicBezTo>
                    <a:pt x="2102" y="18237"/>
                    <a:pt x="2099" y="18245"/>
                    <a:pt x="2095" y="18254"/>
                  </a:cubicBezTo>
                  <a:lnTo>
                    <a:pt x="2141" y="18254"/>
                  </a:lnTo>
                  <a:cubicBezTo>
                    <a:pt x="2143" y="18248"/>
                    <a:pt x="2144" y="18241"/>
                    <a:pt x="2145" y="18235"/>
                  </a:cubicBezTo>
                  <a:cubicBezTo>
                    <a:pt x="2148" y="18220"/>
                    <a:pt x="2149" y="18203"/>
                    <a:pt x="2147" y="18186"/>
                  </a:cubicBezTo>
                  <a:cubicBezTo>
                    <a:pt x="2144" y="18164"/>
                    <a:pt x="2137" y="18143"/>
                    <a:pt x="2125" y="18126"/>
                  </a:cubicBezTo>
                  <a:cubicBezTo>
                    <a:pt x="2113" y="18108"/>
                    <a:pt x="2098" y="18095"/>
                    <a:pt x="2079" y="18086"/>
                  </a:cubicBezTo>
                  <a:cubicBezTo>
                    <a:pt x="2067" y="18080"/>
                    <a:pt x="2054" y="18076"/>
                    <a:pt x="2039" y="18075"/>
                  </a:cubicBezTo>
                  <a:close/>
                  <a:moveTo>
                    <a:pt x="9002" y="4138"/>
                  </a:moveTo>
                  <a:lnTo>
                    <a:pt x="9002" y="4082"/>
                  </a:lnTo>
                  <a:lnTo>
                    <a:pt x="8735" y="3951"/>
                  </a:lnTo>
                  <a:lnTo>
                    <a:pt x="8787" y="3845"/>
                  </a:lnTo>
                  <a:lnTo>
                    <a:pt x="8749" y="3823"/>
                  </a:lnTo>
                  <a:lnTo>
                    <a:pt x="8622" y="4082"/>
                  </a:lnTo>
                  <a:lnTo>
                    <a:pt x="8662" y="4101"/>
                  </a:lnTo>
                  <a:lnTo>
                    <a:pt x="8713" y="3996"/>
                  </a:lnTo>
                  <a:lnTo>
                    <a:pt x="9002" y="4138"/>
                  </a:lnTo>
                  <a:close/>
                  <a:moveTo>
                    <a:pt x="9002" y="3896"/>
                  </a:moveTo>
                  <a:lnTo>
                    <a:pt x="9002" y="3830"/>
                  </a:lnTo>
                  <a:lnTo>
                    <a:pt x="8863" y="3696"/>
                  </a:lnTo>
                  <a:lnTo>
                    <a:pt x="9002" y="3718"/>
                  </a:lnTo>
                  <a:lnTo>
                    <a:pt x="9002" y="3666"/>
                  </a:lnTo>
                  <a:lnTo>
                    <a:pt x="8838" y="3643"/>
                  </a:lnTo>
                  <a:lnTo>
                    <a:pt x="8808" y="3704"/>
                  </a:lnTo>
                  <a:lnTo>
                    <a:pt x="9002" y="3896"/>
                  </a:lnTo>
                  <a:close/>
                  <a:moveTo>
                    <a:pt x="9002" y="3432"/>
                  </a:moveTo>
                  <a:lnTo>
                    <a:pt x="9002" y="3310"/>
                  </a:lnTo>
                  <a:lnTo>
                    <a:pt x="8902" y="3513"/>
                  </a:lnTo>
                  <a:lnTo>
                    <a:pt x="8941" y="3532"/>
                  </a:lnTo>
                  <a:lnTo>
                    <a:pt x="8993" y="3427"/>
                  </a:lnTo>
                  <a:lnTo>
                    <a:pt x="9002" y="3432"/>
                  </a:lnTo>
                  <a:close/>
                  <a:moveTo>
                    <a:pt x="2257" y="18004"/>
                  </a:moveTo>
                  <a:lnTo>
                    <a:pt x="1866" y="17812"/>
                  </a:lnTo>
                  <a:lnTo>
                    <a:pt x="1844" y="17858"/>
                  </a:lnTo>
                  <a:lnTo>
                    <a:pt x="2234" y="18050"/>
                  </a:lnTo>
                  <a:lnTo>
                    <a:pt x="2257" y="18004"/>
                  </a:lnTo>
                  <a:close/>
                  <a:moveTo>
                    <a:pt x="2032" y="17475"/>
                  </a:moveTo>
                  <a:lnTo>
                    <a:pt x="1905" y="17734"/>
                  </a:lnTo>
                  <a:lnTo>
                    <a:pt x="1944" y="17753"/>
                  </a:lnTo>
                  <a:lnTo>
                    <a:pt x="1995" y="17648"/>
                  </a:lnTo>
                  <a:lnTo>
                    <a:pt x="2347" y="17821"/>
                  </a:lnTo>
                  <a:lnTo>
                    <a:pt x="2369" y="17776"/>
                  </a:lnTo>
                  <a:lnTo>
                    <a:pt x="2018" y="17603"/>
                  </a:lnTo>
                  <a:lnTo>
                    <a:pt x="2070" y="17497"/>
                  </a:lnTo>
                  <a:lnTo>
                    <a:pt x="2032" y="17475"/>
                  </a:lnTo>
                  <a:close/>
                  <a:moveTo>
                    <a:pt x="2199" y="17135"/>
                  </a:moveTo>
                  <a:lnTo>
                    <a:pt x="2173" y="17188"/>
                  </a:lnTo>
                  <a:lnTo>
                    <a:pt x="2285" y="17337"/>
                  </a:lnTo>
                  <a:cubicBezTo>
                    <a:pt x="2292" y="17347"/>
                    <a:pt x="2299" y="17356"/>
                    <a:pt x="2306" y="17364"/>
                  </a:cubicBezTo>
                  <a:cubicBezTo>
                    <a:pt x="2313" y="17373"/>
                    <a:pt x="2317" y="17378"/>
                    <a:pt x="2319" y="17379"/>
                  </a:cubicBezTo>
                  <a:cubicBezTo>
                    <a:pt x="2309" y="17379"/>
                    <a:pt x="2301" y="17379"/>
                    <a:pt x="2292" y="17378"/>
                  </a:cubicBezTo>
                  <a:cubicBezTo>
                    <a:pt x="2284" y="17378"/>
                    <a:pt x="2275" y="17378"/>
                    <a:pt x="2265" y="17378"/>
                  </a:cubicBezTo>
                  <a:lnTo>
                    <a:pt x="2079" y="17378"/>
                  </a:lnTo>
                  <a:lnTo>
                    <a:pt x="2051" y="17436"/>
                  </a:lnTo>
                  <a:lnTo>
                    <a:pt x="2349" y="17426"/>
                  </a:lnTo>
                  <a:lnTo>
                    <a:pt x="2504" y="17502"/>
                  </a:lnTo>
                  <a:lnTo>
                    <a:pt x="2528" y="17454"/>
                  </a:lnTo>
                  <a:lnTo>
                    <a:pt x="2376" y="17379"/>
                  </a:lnTo>
                  <a:lnTo>
                    <a:pt x="2199" y="17135"/>
                  </a:lnTo>
                  <a:close/>
                  <a:moveTo>
                    <a:pt x="2559" y="16706"/>
                  </a:moveTo>
                  <a:cubicBezTo>
                    <a:pt x="2532" y="16700"/>
                    <a:pt x="2507" y="16698"/>
                    <a:pt x="2483" y="16702"/>
                  </a:cubicBezTo>
                  <a:cubicBezTo>
                    <a:pt x="2474" y="16703"/>
                    <a:pt x="2464" y="16705"/>
                    <a:pt x="2453" y="16709"/>
                  </a:cubicBezTo>
                  <a:cubicBezTo>
                    <a:pt x="2442" y="16712"/>
                    <a:pt x="2430" y="16717"/>
                    <a:pt x="2419" y="16724"/>
                  </a:cubicBezTo>
                  <a:cubicBezTo>
                    <a:pt x="2408" y="16731"/>
                    <a:pt x="2397" y="16740"/>
                    <a:pt x="2387" y="16751"/>
                  </a:cubicBezTo>
                  <a:cubicBezTo>
                    <a:pt x="2377" y="16762"/>
                    <a:pt x="2367" y="16776"/>
                    <a:pt x="2359" y="16793"/>
                  </a:cubicBezTo>
                  <a:cubicBezTo>
                    <a:pt x="2347" y="16817"/>
                    <a:pt x="2341" y="16841"/>
                    <a:pt x="2341" y="16865"/>
                  </a:cubicBezTo>
                  <a:cubicBezTo>
                    <a:pt x="2341" y="16889"/>
                    <a:pt x="2346" y="16912"/>
                    <a:pt x="2356" y="16934"/>
                  </a:cubicBezTo>
                  <a:cubicBezTo>
                    <a:pt x="2367" y="16956"/>
                    <a:pt x="2383" y="16976"/>
                    <a:pt x="2404" y="16996"/>
                  </a:cubicBezTo>
                  <a:cubicBezTo>
                    <a:pt x="2425" y="17015"/>
                    <a:pt x="2452" y="17032"/>
                    <a:pt x="2483" y="17048"/>
                  </a:cubicBezTo>
                  <a:cubicBezTo>
                    <a:pt x="2550" y="17081"/>
                    <a:pt x="2610" y="17091"/>
                    <a:pt x="2661" y="17077"/>
                  </a:cubicBezTo>
                  <a:cubicBezTo>
                    <a:pt x="2682" y="17071"/>
                    <a:pt x="2702" y="17061"/>
                    <a:pt x="2720" y="17047"/>
                  </a:cubicBezTo>
                  <a:cubicBezTo>
                    <a:pt x="2738" y="17033"/>
                    <a:pt x="2753" y="17014"/>
                    <a:pt x="2765" y="16990"/>
                  </a:cubicBezTo>
                  <a:cubicBezTo>
                    <a:pt x="2775" y="16970"/>
                    <a:pt x="2781" y="16950"/>
                    <a:pt x="2783" y="16932"/>
                  </a:cubicBezTo>
                  <a:cubicBezTo>
                    <a:pt x="2785" y="16913"/>
                    <a:pt x="2782" y="16894"/>
                    <a:pt x="2776" y="16873"/>
                  </a:cubicBezTo>
                  <a:cubicBezTo>
                    <a:pt x="2768" y="16844"/>
                    <a:pt x="2753" y="16819"/>
                    <a:pt x="2732" y="16797"/>
                  </a:cubicBezTo>
                  <a:cubicBezTo>
                    <a:pt x="2712" y="16776"/>
                    <a:pt x="2683" y="16756"/>
                    <a:pt x="2645" y="16738"/>
                  </a:cubicBezTo>
                  <a:cubicBezTo>
                    <a:pt x="2614" y="16722"/>
                    <a:pt x="2585" y="16711"/>
                    <a:pt x="2559" y="16706"/>
                  </a:cubicBezTo>
                  <a:close/>
                  <a:moveTo>
                    <a:pt x="2668" y="16816"/>
                  </a:moveTo>
                  <a:cubicBezTo>
                    <a:pt x="2680" y="16823"/>
                    <a:pt x="2690" y="16830"/>
                    <a:pt x="2698" y="16837"/>
                  </a:cubicBezTo>
                  <a:cubicBezTo>
                    <a:pt x="2706" y="16844"/>
                    <a:pt x="2713" y="16851"/>
                    <a:pt x="2719" y="16858"/>
                  </a:cubicBezTo>
                  <a:cubicBezTo>
                    <a:pt x="2724" y="16866"/>
                    <a:pt x="2729" y="16873"/>
                    <a:pt x="2732" y="16881"/>
                  </a:cubicBezTo>
                  <a:cubicBezTo>
                    <a:pt x="2739" y="16895"/>
                    <a:pt x="2742" y="16910"/>
                    <a:pt x="2742" y="16924"/>
                  </a:cubicBezTo>
                  <a:cubicBezTo>
                    <a:pt x="2742" y="16939"/>
                    <a:pt x="2738" y="16954"/>
                    <a:pt x="2730" y="16970"/>
                  </a:cubicBezTo>
                  <a:cubicBezTo>
                    <a:pt x="2726" y="16978"/>
                    <a:pt x="2721" y="16986"/>
                    <a:pt x="2715" y="16993"/>
                  </a:cubicBezTo>
                  <a:cubicBezTo>
                    <a:pt x="2709" y="17001"/>
                    <a:pt x="2702" y="17007"/>
                    <a:pt x="2695" y="17013"/>
                  </a:cubicBezTo>
                  <a:cubicBezTo>
                    <a:pt x="2688" y="17018"/>
                    <a:pt x="2680" y="17023"/>
                    <a:pt x="2672" y="17027"/>
                  </a:cubicBezTo>
                  <a:cubicBezTo>
                    <a:pt x="2664" y="17030"/>
                    <a:pt x="2655" y="17032"/>
                    <a:pt x="2647" y="17033"/>
                  </a:cubicBezTo>
                  <a:cubicBezTo>
                    <a:pt x="2630" y="17034"/>
                    <a:pt x="2608" y="17031"/>
                    <a:pt x="2582" y="17024"/>
                  </a:cubicBezTo>
                  <a:cubicBezTo>
                    <a:pt x="2556" y="17016"/>
                    <a:pt x="2528" y="17006"/>
                    <a:pt x="2499" y="16991"/>
                  </a:cubicBezTo>
                  <a:cubicBezTo>
                    <a:pt x="2474" y="16979"/>
                    <a:pt x="2454" y="16967"/>
                    <a:pt x="2439" y="16955"/>
                  </a:cubicBezTo>
                  <a:cubicBezTo>
                    <a:pt x="2423" y="16944"/>
                    <a:pt x="2410" y="16931"/>
                    <a:pt x="2401" y="16918"/>
                  </a:cubicBezTo>
                  <a:cubicBezTo>
                    <a:pt x="2390" y="16904"/>
                    <a:pt x="2385" y="16887"/>
                    <a:pt x="2384" y="16868"/>
                  </a:cubicBezTo>
                  <a:cubicBezTo>
                    <a:pt x="2383" y="16849"/>
                    <a:pt x="2387" y="16830"/>
                    <a:pt x="2396" y="16812"/>
                  </a:cubicBezTo>
                  <a:cubicBezTo>
                    <a:pt x="2408" y="16789"/>
                    <a:pt x="2422" y="16773"/>
                    <a:pt x="2440" y="16764"/>
                  </a:cubicBezTo>
                  <a:cubicBezTo>
                    <a:pt x="2457" y="16755"/>
                    <a:pt x="2475" y="16751"/>
                    <a:pt x="2493" y="16751"/>
                  </a:cubicBezTo>
                  <a:cubicBezTo>
                    <a:pt x="2510" y="16751"/>
                    <a:pt x="2529" y="16755"/>
                    <a:pt x="2550" y="16762"/>
                  </a:cubicBezTo>
                  <a:cubicBezTo>
                    <a:pt x="2572" y="16769"/>
                    <a:pt x="2597" y="16779"/>
                    <a:pt x="2626" y="16793"/>
                  </a:cubicBezTo>
                  <a:cubicBezTo>
                    <a:pt x="2642" y="16801"/>
                    <a:pt x="2656" y="16809"/>
                    <a:pt x="2668" y="16816"/>
                  </a:cubicBezTo>
                  <a:close/>
                  <a:moveTo>
                    <a:pt x="2593" y="16335"/>
                  </a:moveTo>
                  <a:lnTo>
                    <a:pt x="2492" y="16540"/>
                  </a:lnTo>
                  <a:lnTo>
                    <a:pt x="2883" y="16733"/>
                  </a:lnTo>
                  <a:lnTo>
                    <a:pt x="2906" y="16685"/>
                  </a:lnTo>
                  <a:lnTo>
                    <a:pt x="2720" y="16594"/>
                  </a:lnTo>
                  <a:lnTo>
                    <a:pt x="2782" y="16469"/>
                  </a:lnTo>
                  <a:lnTo>
                    <a:pt x="2744" y="16450"/>
                  </a:lnTo>
                  <a:lnTo>
                    <a:pt x="2682" y="16575"/>
                  </a:lnTo>
                  <a:lnTo>
                    <a:pt x="2554" y="16512"/>
                  </a:lnTo>
                  <a:lnTo>
                    <a:pt x="2628" y="16361"/>
                  </a:lnTo>
                  <a:lnTo>
                    <a:pt x="2593" y="16335"/>
                  </a:lnTo>
                  <a:close/>
                  <a:moveTo>
                    <a:pt x="3259" y="15968"/>
                  </a:moveTo>
                  <a:lnTo>
                    <a:pt x="2851" y="15809"/>
                  </a:lnTo>
                  <a:lnTo>
                    <a:pt x="2818" y="15878"/>
                  </a:lnTo>
                  <a:lnTo>
                    <a:pt x="3041" y="16080"/>
                  </a:lnTo>
                  <a:cubicBezTo>
                    <a:pt x="3055" y="16091"/>
                    <a:pt x="3067" y="16102"/>
                    <a:pt x="3078" y="16110"/>
                  </a:cubicBezTo>
                  <a:cubicBezTo>
                    <a:pt x="3090" y="16119"/>
                    <a:pt x="3096" y="16124"/>
                    <a:pt x="3097" y="16125"/>
                  </a:cubicBezTo>
                  <a:cubicBezTo>
                    <a:pt x="3095" y="16124"/>
                    <a:pt x="3087" y="16122"/>
                    <a:pt x="3074" y="16119"/>
                  </a:cubicBezTo>
                  <a:cubicBezTo>
                    <a:pt x="3060" y="16115"/>
                    <a:pt x="3043" y="16111"/>
                    <a:pt x="3022" y="16107"/>
                  </a:cubicBezTo>
                  <a:lnTo>
                    <a:pt x="2732" y="16053"/>
                  </a:lnTo>
                  <a:lnTo>
                    <a:pt x="2698" y="16121"/>
                  </a:lnTo>
                  <a:lnTo>
                    <a:pt x="3072" y="16347"/>
                  </a:lnTo>
                  <a:lnTo>
                    <a:pt x="3094" y="16302"/>
                  </a:lnTo>
                  <a:lnTo>
                    <a:pt x="2827" y="16144"/>
                  </a:lnTo>
                  <a:cubicBezTo>
                    <a:pt x="2821" y="16141"/>
                    <a:pt x="2815" y="16137"/>
                    <a:pt x="2807" y="16133"/>
                  </a:cubicBezTo>
                  <a:cubicBezTo>
                    <a:pt x="2800" y="16128"/>
                    <a:pt x="2792" y="16124"/>
                    <a:pt x="2785" y="16120"/>
                  </a:cubicBezTo>
                  <a:cubicBezTo>
                    <a:pt x="2778" y="16116"/>
                    <a:pt x="2771" y="16112"/>
                    <a:pt x="2766" y="16109"/>
                  </a:cubicBezTo>
                  <a:cubicBezTo>
                    <a:pt x="2761" y="16106"/>
                    <a:pt x="2758" y="16104"/>
                    <a:pt x="2756" y="16104"/>
                  </a:cubicBezTo>
                  <a:cubicBezTo>
                    <a:pt x="2761" y="16105"/>
                    <a:pt x="2770" y="16107"/>
                    <a:pt x="2784" y="16109"/>
                  </a:cubicBezTo>
                  <a:cubicBezTo>
                    <a:pt x="2799" y="16112"/>
                    <a:pt x="2817" y="16116"/>
                    <a:pt x="2839" y="16120"/>
                  </a:cubicBezTo>
                  <a:lnTo>
                    <a:pt x="3155" y="16179"/>
                  </a:lnTo>
                  <a:lnTo>
                    <a:pt x="3174" y="16139"/>
                  </a:lnTo>
                  <a:lnTo>
                    <a:pt x="2924" y="15912"/>
                  </a:lnTo>
                  <a:cubicBezTo>
                    <a:pt x="2919" y="15908"/>
                    <a:pt x="2913" y="15903"/>
                    <a:pt x="2907" y="15898"/>
                  </a:cubicBezTo>
                  <a:cubicBezTo>
                    <a:pt x="2901" y="15893"/>
                    <a:pt x="2896" y="15888"/>
                    <a:pt x="2890" y="15884"/>
                  </a:cubicBezTo>
                  <a:cubicBezTo>
                    <a:pt x="2885" y="15879"/>
                    <a:pt x="2881" y="15875"/>
                    <a:pt x="2877" y="15872"/>
                  </a:cubicBezTo>
                  <a:cubicBezTo>
                    <a:pt x="2873" y="15869"/>
                    <a:pt x="2871" y="15868"/>
                    <a:pt x="2871" y="15867"/>
                  </a:cubicBezTo>
                  <a:cubicBezTo>
                    <a:pt x="2871" y="15867"/>
                    <a:pt x="2874" y="15868"/>
                    <a:pt x="2879" y="15870"/>
                  </a:cubicBezTo>
                  <a:cubicBezTo>
                    <a:pt x="2883" y="15873"/>
                    <a:pt x="2889" y="15875"/>
                    <a:pt x="2896" y="15878"/>
                  </a:cubicBezTo>
                  <a:cubicBezTo>
                    <a:pt x="2902" y="15881"/>
                    <a:pt x="2910" y="15884"/>
                    <a:pt x="2917" y="15888"/>
                  </a:cubicBezTo>
                  <a:cubicBezTo>
                    <a:pt x="2925" y="15891"/>
                    <a:pt x="2932" y="15894"/>
                    <a:pt x="2938" y="15896"/>
                  </a:cubicBezTo>
                  <a:lnTo>
                    <a:pt x="3236" y="16015"/>
                  </a:lnTo>
                  <a:lnTo>
                    <a:pt x="3259" y="15968"/>
                  </a:lnTo>
                  <a:close/>
                  <a:moveTo>
                    <a:pt x="3043" y="15419"/>
                  </a:moveTo>
                  <a:lnTo>
                    <a:pt x="3021" y="15466"/>
                  </a:lnTo>
                  <a:lnTo>
                    <a:pt x="3293" y="15600"/>
                  </a:lnTo>
                  <a:cubicBezTo>
                    <a:pt x="3306" y="15606"/>
                    <a:pt x="3317" y="15613"/>
                    <a:pt x="3326" y="15619"/>
                  </a:cubicBezTo>
                  <a:cubicBezTo>
                    <a:pt x="3334" y="15625"/>
                    <a:pt x="3341" y="15634"/>
                    <a:pt x="3347" y="15644"/>
                  </a:cubicBezTo>
                  <a:cubicBezTo>
                    <a:pt x="3352" y="15654"/>
                    <a:pt x="3353" y="15666"/>
                    <a:pt x="3352" y="15680"/>
                  </a:cubicBezTo>
                  <a:cubicBezTo>
                    <a:pt x="3350" y="15694"/>
                    <a:pt x="3345" y="15709"/>
                    <a:pt x="3337" y="15725"/>
                  </a:cubicBezTo>
                  <a:cubicBezTo>
                    <a:pt x="3331" y="15738"/>
                    <a:pt x="3325" y="15747"/>
                    <a:pt x="3318" y="15755"/>
                  </a:cubicBezTo>
                  <a:cubicBezTo>
                    <a:pt x="3312" y="15763"/>
                    <a:pt x="3305" y="15769"/>
                    <a:pt x="3298" y="15773"/>
                  </a:cubicBezTo>
                  <a:cubicBezTo>
                    <a:pt x="3291" y="15777"/>
                    <a:pt x="3285" y="15780"/>
                    <a:pt x="3279" y="15781"/>
                  </a:cubicBezTo>
                  <a:cubicBezTo>
                    <a:pt x="3272" y="15783"/>
                    <a:pt x="3266" y="15783"/>
                    <a:pt x="3261" y="15783"/>
                  </a:cubicBezTo>
                  <a:cubicBezTo>
                    <a:pt x="3254" y="15783"/>
                    <a:pt x="3245" y="15780"/>
                    <a:pt x="3233" y="15776"/>
                  </a:cubicBezTo>
                  <a:cubicBezTo>
                    <a:pt x="3222" y="15772"/>
                    <a:pt x="3211" y="15767"/>
                    <a:pt x="3202" y="15762"/>
                  </a:cubicBezTo>
                  <a:lnTo>
                    <a:pt x="2938" y="15633"/>
                  </a:lnTo>
                  <a:lnTo>
                    <a:pt x="2916" y="15679"/>
                  </a:lnTo>
                  <a:lnTo>
                    <a:pt x="3196" y="15817"/>
                  </a:lnTo>
                  <a:cubicBezTo>
                    <a:pt x="3205" y="15821"/>
                    <a:pt x="3215" y="15825"/>
                    <a:pt x="3227" y="15830"/>
                  </a:cubicBezTo>
                  <a:cubicBezTo>
                    <a:pt x="3239" y="15834"/>
                    <a:pt x="3250" y="15836"/>
                    <a:pt x="3263" y="15835"/>
                  </a:cubicBezTo>
                  <a:cubicBezTo>
                    <a:pt x="3287" y="15834"/>
                    <a:pt x="3308" y="15827"/>
                    <a:pt x="3326" y="15813"/>
                  </a:cubicBezTo>
                  <a:cubicBezTo>
                    <a:pt x="3344" y="15800"/>
                    <a:pt x="3361" y="15778"/>
                    <a:pt x="3376" y="15747"/>
                  </a:cubicBezTo>
                  <a:cubicBezTo>
                    <a:pt x="3388" y="15723"/>
                    <a:pt x="3395" y="15702"/>
                    <a:pt x="3398" y="15684"/>
                  </a:cubicBezTo>
                  <a:cubicBezTo>
                    <a:pt x="3401" y="15665"/>
                    <a:pt x="3400" y="15647"/>
                    <a:pt x="3396" y="15630"/>
                  </a:cubicBezTo>
                  <a:cubicBezTo>
                    <a:pt x="3392" y="15613"/>
                    <a:pt x="3384" y="15600"/>
                    <a:pt x="3373" y="15589"/>
                  </a:cubicBezTo>
                  <a:cubicBezTo>
                    <a:pt x="3362" y="15579"/>
                    <a:pt x="3345" y="15568"/>
                    <a:pt x="3321" y="15556"/>
                  </a:cubicBezTo>
                  <a:lnTo>
                    <a:pt x="3043" y="15419"/>
                  </a:lnTo>
                  <a:close/>
                  <a:moveTo>
                    <a:pt x="2886" y="15550"/>
                  </a:moveTo>
                  <a:cubicBezTo>
                    <a:pt x="2878" y="15553"/>
                    <a:pt x="2871" y="15559"/>
                    <a:pt x="2867" y="15567"/>
                  </a:cubicBezTo>
                  <a:cubicBezTo>
                    <a:pt x="2863" y="15575"/>
                    <a:pt x="2863" y="15583"/>
                    <a:pt x="2866" y="15592"/>
                  </a:cubicBezTo>
                  <a:cubicBezTo>
                    <a:pt x="2869" y="15600"/>
                    <a:pt x="2874" y="15607"/>
                    <a:pt x="2882" y="15610"/>
                  </a:cubicBezTo>
                  <a:cubicBezTo>
                    <a:pt x="2890" y="15615"/>
                    <a:pt x="2899" y="15615"/>
                    <a:pt x="2908" y="15612"/>
                  </a:cubicBezTo>
                  <a:cubicBezTo>
                    <a:pt x="2916" y="15610"/>
                    <a:pt x="2923" y="15604"/>
                    <a:pt x="2927" y="15596"/>
                  </a:cubicBezTo>
                  <a:cubicBezTo>
                    <a:pt x="2931" y="15587"/>
                    <a:pt x="2931" y="15579"/>
                    <a:pt x="2928" y="15571"/>
                  </a:cubicBezTo>
                  <a:cubicBezTo>
                    <a:pt x="2925" y="15562"/>
                    <a:pt x="2919" y="15556"/>
                    <a:pt x="2911" y="15552"/>
                  </a:cubicBezTo>
                  <a:cubicBezTo>
                    <a:pt x="2903" y="15548"/>
                    <a:pt x="2895" y="15547"/>
                    <a:pt x="2886" y="15550"/>
                  </a:cubicBezTo>
                  <a:close/>
                  <a:moveTo>
                    <a:pt x="2944" y="15433"/>
                  </a:moveTo>
                  <a:cubicBezTo>
                    <a:pt x="2935" y="15436"/>
                    <a:pt x="2929" y="15442"/>
                    <a:pt x="2925" y="15450"/>
                  </a:cubicBezTo>
                  <a:cubicBezTo>
                    <a:pt x="2921" y="15458"/>
                    <a:pt x="2920" y="15467"/>
                    <a:pt x="2923" y="15475"/>
                  </a:cubicBezTo>
                  <a:cubicBezTo>
                    <a:pt x="2926" y="15484"/>
                    <a:pt x="2931" y="15490"/>
                    <a:pt x="2939" y="15494"/>
                  </a:cubicBezTo>
                  <a:cubicBezTo>
                    <a:pt x="2948" y="15498"/>
                    <a:pt x="2956" y="15498"/>
                    <a:pt x="2965" y="15496"/>
                  </a:cubicBezTo>
                  <a:cubicBezTo>
                    <a:pt x="2974" y="15493"/>
                    <a:pt x="2980" y="15487"/>
                    <a:pt x="2984" y="15479"/>
                  </a:cubicBezTo>
                  <a:cubicBezTo>
                    <a:pt x="2988" y="15471"/>
                    <a:pt x="2989" y="15462"/>
                    <a:pt x="2986" y="15454"/>
                  </a:cubicBezTo>
                  <a:cubicBezTo>
                    <a:pt x="2982" y="15445"/>
                    <a:pt x="2977" y="15439"/>
                    <a:pt x="2968" y="15435"/>
                  </a:cubicBezTo>
                  <a:cubicBezTo>
                    <a:pt x="2960" y="15431"/>
                    <a:pt x="2952" y="15431"/>
                    <a:pt x="2944" y="15433"/>
                  </a:cubicBezTo>
                  <a:close/>
                  <a:moveTo>
                    <a:pt x="3617" y="15239"/>
                  </a:moveTo>
                  <a:lnTo>
                    <a:pt x="3227" y="15047"/>
                  </a:lnTo>
                  <a:lnTo>
                    <a:pt x="3204" y="15093"/>
                  </a:lnTo>
                  <a:lnTo>
                    <a:pt x="3417" y="15196"/>
                  </a:lnTo>
                  <a:cubicBezTo>
                    <a:pt x="3431" y="15203"/>
                    <a:pt x="3445" y="15209"/>
                    <a:pt x="3460" y="15216"/>
                  </a:cubicBezTo>
                  <a:cubicBezTo>
                    <a:pt x="3474" y="15222"/>
                    <a:pt x="3487" y="15228"/>
                    <a:pt x="3499" y="15233"/>
                  </a:cubicBezTo>
                  <a:cubicBezTo>
                    <a:pt x="3510" y="15238"/>
                    <a:pt x="3519" y="15242"/>
                    <a:pt x="3527" y="15245"/>
                  </a:cubicBezTo>
                  <a:cubicBezTo>
                    <a:pt x="3534" y="15248"/>
                    <a:pt x="3538" y="15249"/>
                    <a:pt x="3539" y="15249"/>
                  </a:cubicBezTo>
                  <a:cubicBezTo>
                    <a:pt x="3537" y="15249"/>
                    <a:pt x="3534" y="15249"/>
                    <a:pt x="3528" y="15248"/>
                  </a:cubicBezTo>
                  <a:cubicBezTo>
                    <a:pt x="3521" y="15248"/>
                    <a:pt x="3514" y="15248"/>
                    <a:pt x="3505" y="15247"/>
                  </a:cubicBezTo>
                  <a:cubicBezTo>
                    <a:pt x="3495" y="15247"/>
                    <a:pt x="3485" y="15246"/>
                    <a:pt x="3473" y="15246"/>
                  </a:cubicBezTo>
                  <a:cubicBezTo>
                    <a:pt x="3462" y="15245"/>
                    <a:pt x="3450" y="15245"/>
                    <a:pt x="3439" y="15245"/>
                  </a:cubicBezTo>
                  <a:lnTo>
                    <a:pt x="3125" y="15253"/>
                  </a:lnTo>
                  <a:lnTo>
                    <a:pt x="3099" y="15307"/>
                  </a:lnTo>
                  <a:lnTo>
                    <a:pt x="3490" y="15499"/>
                  </a:lnTo>
                  <a:lnTo>
                    <a:pt x="3513" y="15451"/>
                  </a:lnTo>
                  <a:lnTo>
                    <a:pt x="3285" y="15341"/>
                  </a:lnTo>
                  <a:cubicBezTo>
                    <a:pt x="3274" y="15336"/>
                    <a:pt x="3263" y="15330"/>
                    <a:pt x="3251" y="15325"/>
                  </a:cubicBezTo>
                  <a:cubicBezTo>
                    <a:pt x="3239" y="15320"/>
                    <a:pt x="3228" y="15316"/>
                    <a:pt x="3218" y="15311"/>
                  </a:cubicBezTo>
                  <a:cubicBezTo>
                    <a:pt x="3208" y="15307"/>
                    <a:pt x="3200" y="15304"/>
                    <a:pt x="3192" y="15300"/>
                  </a:cubicBezTo>
                  <a:cubicBezTo>
                    <a:pt x="3185" y="15297"/>
                    <a:pt x="3180" y="15295"/>
                    <a:pt x="3177" y="15294"/>
                  </a:cubicBezTo>
                  <a:cubicBezTo>
                    <a:pt x="3181" y="15295"/>
                    <a:pt x="3187" y="15295"/>
                    <a:pt x="3194" y="15296"/>
                  </a:cubicBezTo>
                  <a:cubicBezTo>
                    <a:pt x="3201" y="15296"/>
                    <a:pt x="3210" y="15296"/>
                    <a:pt x="3220" y="15296"/>
                  </a:cubicBezTo>
                  <a:cubicBezTo>
                    <a:pt x="3230" y="15296"/>
                    <a:pt x="3242" y="15296"/>
                    <a:pt x="3254" y="15296"/>
                  </a:cubicBezTo>
                  <a:cubicBezTo>
                    <a:pt x="3266" y="15296"/>
                    <a:pt x="3279" y="15296"/>
                    <a:pt x="3292" y="15296"/>
                  </a:cubicBezTo>
                  <a:lnTo>
                    <a:pt x="3593" y="15288"/>
                  </a:lnTo>
                  <a:lnTo>
                    <a:pt x="3617" y="15239"/>
                  </a:lnTo>
                  <a:close/>
                  <a:moveTo>
                    <a:pt x="3642" y="14818"/>
                  </a:moveTo>
                  <a:cubicBezTo>
                    <a:pt x="3627" y="14817"/>
                    <a:pt x="3613" y="14818"/>
                    <a:pt x="3600" y="14821"/>
                  </a:cubicBezTo>
                  <a:cubicBezTo>
                    <a:pt x="3587" y="14825"/>
                    <a:pt x="3575" y="14830"/>
                    <a:pt x="3564" y="14838"/>
                  </a:cubicBezTo>
                  <a:cubicBezTo>
                    <a:pt x="3553" y="14845"/>
                    <a:pt x="3541" y="14856"/>
                    <a:pt x="3527" y="14871"/>
                  </a:cubicBezTo>
                  <a:lnTo>
                    <a:pt x="3490" y="14909"/>
                  </a:lnTo>
                  <a:cubicBezTo>
                    <a:pt x="3471" y="14928"/>
                    <a:pt x="3455" y="14941"/>
                    <a:pt x="3440" y="14946"/>
                  </a:cubicBezTo>
                  <a:cubicBezTo>
                    <a:pt x="3426" y="14952"/>
                    <a:pt x="3411" y="14950"/>
                    <a:pt x="3395" y="14943"/>
                  </a:cubicBezTo>
                  <a:cubicBezTo>
                    <a:pt x="3375" y="14933"/>
                    <a:pt x="3362" y="14918"/>
                    <a:pt x="3358" y="14899"/>
                  </a:cubicBezTo>
                  <a:cubicBezTo>
                    <a:pt x="3353" y="14879"/>
                    <a:pt x="3357" y="14857"/>
                    <a:pt x="3369" y="14833"/>
                  </a:cubicBezTo>
                  <a:cubicBezTo>
                    <a:pt x="3373" y="14824"/>
                    <a:pt x="3377" y="14817"/>
                    <a:pt x="3382" y="14810"/>
                  </a:cubicBezTo>
                  <a:cubicBezTo>
                    <a:pt x="3387" y="14803"/>
                    <a:pt x="3392" y="14797"/>
                    <a:pt x="3399" y="14791"/>
                  </a:cubicBezTo>
                  <a:cubicBezTo>
                    <a:pt x="3405" y="14784"/>
                    <a:pt x="3412" y="14778"/>
                    <a:pt x="3420" y="14773"/>
                  </a:cubicBezTo>
                  <a:cubicBezTo>
                    <a:pt x="3428" y="14767"/>
                    <a:pt x="3438" y="14760"/>
                    <a:pt x="3449" y="14754"/>
                  </a:cubicBezTo>
                  <a:lnTo>
                    <a:pt x="3425" y="14717"/>
                  </a:lnTo>
                  <a:cubicBezTo>
                    <a:pt x="3382" y="14742"/>
                    <a:pt x="3350" y="14775"/>
                    <a:pt x="3329" y="14816"/>
                  </a:cubicBezTo>
                  <a:cubicBezTo>
                    <a:pt x="3320" y="14835"/>
                    <a:pt x="3314" y="14854"/>
                    <a:pt x="3312" y="14872"/>
                  </a:cubicBezTo>
                  <a:cubicBezTo>
                    <a:pt x="3310" y="14890"/>
                    <a:pt x="3311" y="14908"/>
                    <a:pt x="3316" y="14923"/>
                  </a:cubicBezTo>
                  <a:cubicBezTo>
                    <a:pt x="3320" y="14939"/>
                    <a:pt x="3328" y="14954"/>
                    <a:pt x="3338" y="14966"/>
                  </a:cubicBezTo>
                  <a:cubicBezTo>
                    <a:pt x="3349" y="14979"/>
                    <a:pt x="3363" y="14990"/>
                    <a:pt x="3379" y="14998"/>
                  </a:cubicBezTo>
                  <a:cubicBezTo>
                    <a:pt x="3404" y="15010"/>
                    <a:pt x="3430" y="15013"/>
                    <a:pt x="3455" y="15005"/>
                  </a:cubicBezTo>
                  <a:cubicBezTo>
                    <a:pt x="3467" y="15001"/>
                    <a:pt x="3478" y="14995"/>
                    <a:pt x="3488" y="14987"/>
                  </a:cubicBezTo>
                  <a:cubicBezTo>
                    <a:pt x="3498" y="14979"/>
                    <a:pt x="3510" y="14968"/>
                    <a:pt x="3524" y="14953"/>
                  </a:cubicBezTo>
                  <a:lnTo>
                    <a:pt x="3556" y="14919"/>
                  </a:lnTo>
                  <a:cubicBezTo>
                    <a:pt x="3593" y="14879"/>
                    <a:pt x="3628" y="14868"/>
                    <a:pt x="3663" y="14885"/>
                  </a:cubicBezTo>
                  <a:cubicBezTo>
                    <a:pt x="3686" y="14896"/>
                    <a:pt x="3700" y="14915"/>
                    <a:pt x="3705" y="14940"/>
                  </a:cubicBezTo>
                  <a:cubicBezTo>
                    <a:pt x="3707" y="14952"/>
                    <a:pt x="3708" y="14963"/>
                    <a:pt x="3706" y="14973"/>
                  </a:cubicBezTo>
                  <a:cubicBezTo>
                    <a:pt x="3704" y="14983"/>
                    <a:pt x="3699" y="14996"/>
                    <a:pt x="3692" y="15011"/>
                  </a:cubicBezTo>
                  <a:cubicBezTo>
                    <a:pt x="3682" y="15031"/>
                    <a:pt x="3670" y="15048"/>
                    <a:pt x="3657" y="15062"/>
                  </a:cubicBezTo>
                  <a:cubicBezTo>
                    <a:pt x="3643" y="15076"/>
                    <a:pt x="3626" y="15089"/>
                    <a:pt x="3606" y="15099"/>
                  </a:cubicBezTo>
                  <a:lnTo>
                    <a:pt x="3633" y="15138"/>
                  </a:lnTo>
                  <a:cubicBezTo>
                    <a:pt x="3654" y="15124"/>
                    <a:pt x="3673" y="15109"/>
                    <a:pt x="3689" y="15091"/>
                  </a:cubicBezTo>
                  <a:cubicBezTo>
                    <a:pt x="3705" y="15074"/>
                    <a:pt x="3718" y="15053"/>
                    <a:pt x="3730" y="15030"/>
                  </a:cubicBezTo>
                  <a:cubicBezTo>
                    <a:pt x="3739" y="15011"/>
                    <a:pt x="3745" y="14994"/>
                    <a:pt x="3748" y="14979"/>
                  </a:cubicBezTo>
                  <a:cubicBezTo>
                    <a:pt x="3751" y="14963"/>
                    <a:pt x="3751" y="14947"/>
                    <a:pt x="3749" y="14930"/>
                  </a:cubicBezTo>
                  <a:cubicBezTo>
                    <a:pt x="3747" y="14907"/>
                    <a:pt x="3739" y="14887"/>
                    <a:pt x="3727" y="14869"/>
                  </a:cubicBezTo>
                  <a:cubicBezTo>
                    <a:pt x="3715" y="14852"/>
                    <a:pt x="3700" y="14839"/>
                    <a:pt x="3682" y="14830"/>
                  </a:cubicBezTo>
                  <a:cubicBezTo>
                    <a:pt x="3669" y="14824"/>
                    <a:pt x="3656" y="14820"/>
                    <a:pt x="3642" y="14818"/>
                  </a:cubicBezTo>
                  <a:close/>
                  <a:moveTo>
                    <a:pt x="3559" y="14372"/>
                  </a:moveTo>
                  <a:lnTo>
                    <a:pt x="3432" y="14630"/>
                  </a:lnTo>
                  <a:lnTo>
                    <a:pt x="3471" y="14650"/>
                  </a:lnTo>
                  <a:lnTo>
                    <a:pt x="3522" y="14545"/>
                  </a:lnTo>
                  <a:lnTo>
                    <a:pt x="3874" y="14718"/>
                  </a:lnTo>
                  <a:lnTo>
                    <a:pt x="3896" y="14673"/>
                  </a:lnTo>
                  <a:lnTo>
                    <a:pt x="3545" y="14500"/>
                  </a:lnTo>
                  <a:lnTo>
                    <a:pt x="3597" y="14394"/>
                  </a:lnTo>
                  <a:lnTo>
                    <a:pt x="3559" y="14372"/>
                  </a:lnTo>
                  <a:close/>
                  <a:moveTo>
                    <a:pt x="4091" y="14277"/>
                  </a:moveTo>
                  <a:lnTo>
                    <a:pt x="4050" y="14258"/>
                  </a:lnTo>
                  <a:lnTo>
                    <a:pt x="3966" y="14430"/>
                  </a:lnTo>
                  <a:lnTo>
                    <a:pt x="3823" y="14359"/>
                  </a:lnTo>
                  <a:lnTo>
                    <a:pt x="3888" y="14225"/>
                  </a:lnTo>
                  <a:lnTo>
                    <a:pt x="3848" y="14205"/>
                  </a:lnTo>
                  <a:lnTo>
                    <a:pt x="3782" y="14339"/>
                  </a:lnTo>
                  <a:lnTo>
                    <a:pt x="3654" y="14276"/>
                  </a:lnTo>
                  <a:lnTo>
                    <a:pt x="3733" y="14116"/>
                  </a:lnTo>
                  <a:lnTo>
                    <a:pt x="3697" y="14091"/>
                  </a:lnTo>
                  <a:lnTo>
                    <a:pt x="3592" y="14304"/>
                  </a:lnTo>
                  <a:lnTo>
                    <a:pt x="3983" y="14497"/>
                  </a:lnTo>
                  <a:lnTo>
                    <a:pt x="4091" y="14277"/>
                  </a:lnTo>
                  <a:close/>
                  <a:moveTo>
                    <a:pt x="4254" y="13946"/>
                  </a:moveTo>
                  <a:lnTo>
                    <a:pt x="4217" y="13951"/>
                  </a:lnTo>
                  <a:cubicBezTo>
                    <a:pt x="4201" y="13953"/>
                    <a:pt x="4183" y="13956"/>
                    <a:pt x="4164" y="13958"/>
                  </a:cubicBezTo>
                  <a:cubicBezTo>
                    <a:pt x="4145" y="13961"/>
                    <a:pt x="4128" y="13963"/>
                    <a:pt x="4111" y="13966"/>
                  </a:cubicBezTo>
                  <a:cubicBezTo>
                    <a:pt x="4095" y="13968"/>
                    <a:pt x="4083" y="13970"/>
                    <a:pt x="4077" y="13971"/>
                  </a:cubicBezTo>
                  <a:cubicBezTo>
                    <a:pt x="4067" y="13973"/>
                    <a:pt x="4056" y="13975"/>
                    <a:pt x="4044" y="13978"/>
                  </a:cubicBezTo>
                  <a:cubicBezTo>
                    <a:pt x="4032" y="13981"/>
                    <a:pt x="4022" y="13985"/>
                    <a:pt x="4013" y="13989"/>
                  </a:cubicBezTo>
                  <a:lnTo>
                    <a:pt x="4016" y="13983"/>
                  </a:lnTo>
                  <a:cubicBezTo>
                    <a:pt x="4024" y="13968"/>
                    <a:pt x="4028" y="13952"/>
                    <a:pt x="4029" y="13937"/>
                  </a:cubicBezTo>
                  <a:cubicBezTo>
                    <a:pt x="4030" y="13922"/>
                    <a:pt x="4029" y="13907"/>
                    <a:pt x="4024" y="13893"/>
                  </a:cubicBezTo>
                  <a:cubicBezTo>
                    <a:pt x="4019" y="13880"/>
                    <a:pt x="4011" y="13867"/>
                    <a:pt x="4000" y="13856"/>
                  </a:cubicBezTo>
                  <a:cubicBezTo>
                    <a:pt x="3989" y="13844"/>
                    <a:pt x="3976" y="13835"/>
                    <a:pt x="3960" y="13827"/>
                  </a:cubicBezTo>
                  <a:cubicBezTo>
                    <a:pt x="3950" y="13822"/>
                    <a:pt x="3940" y="13818"/>
                    <a:pt x="3930" y="13816"/>
                  </a:cubicBezTo>
                  <a:cubicBezTo>
                    <a:pt x="3920" y="13815"/>
                    <a:pt x="3911" y="13814"/>
                    <a:pt x="3902" y="13814"/>
                  </a:cubicBezTo>
                  <a:cubicBezTo>
                    <a:pt x="3894" y="13815"/>
                    <a:pt x="3886" y="13816"/>
                    <a:pt x="3878" y="13818"/>
                  </a:cubicBezTo>
                  <a:cubicBezTo>
                    <a:pt x="3871" y="13820"/>
                    <a:pt x="3865" y="13822"/>
                    <a:pt x="3859" y="13825"/>
                  </a:cubicBezTo>
                  <a:cubicBezTo>
                    <a:pt x="3853" y="13828"/>
                    <a:pt x="3847" y="13831"/>
                    <a:pt x="3841" y="13836"/>
                  </a:cubicBezTo>
                  <a:cubicBezTo>
                    <a:pt x="3835" y="13840"/>
                    <a:pt x="3829" y="13846"/>
                    <a:pt x="3823" y="13852"/>
                  </a:cubicBezTo>
                  <a:cubicBezTo>
                    <a:pt x="3817" y="13859"/>
                    <a:pt x="3811" y="13867"/>
                    <a:pt x="3804" y="13877"/>
                  </a:cubicBezTo>
                  <a:cubicBezTo>
                    <a:pt x="3798" y="13886"/>
                    <a:pt x="3792" y="13898"/>
                    <a:pt x="3785" y="13911"/>
                  </a:cubicBezTo>
                  <a:lnTo>
                    <a:pt x="3740" y="14002"/>
                  </a:lnTo>
                  <a:lnTo>
                    <a:pt x="4131" y="14195"/>
                  </a:lnTo>
                  <a:lnTo>
                    <a:pt x="4154" y="14149"/>
                  </a:lnTo>
                  <a:lnTo>
                    <a:pt x="3977" y="14062"/>
                  </a:lnTo>
                  <a:cubicBezTo>
                    <a:pt x="3982" y="14053"/>
                    <a:pt x="3988" y="14046"/>
                    <a:pt x="3994" y="14041"/>
                  </a:cubicBezTo>
                  <a:cubicBezTo>
                    <a:pt x="4001" y="14037"/>
                    <a:pt x="4010" y="14033"/>
                    <a:pt x="4024" y="14030"/>
                  </a:cubicBezTo>
                  <a:cubicBezTo>
                    <a:pt x="4047" y="14025"/>
                    <a:pt x="4069" y="14021"/>
                    <a:pt x="4090" y="14018"/>
                  </a:cubicBezTo>
                  <a:cubicBezTo>
                    <a:pt x="4111" y="14015"/>
                    <a:pt x="4130" y="14012"/>
                    <a:pt x="4147" y="14010"/>
                  </a:cubicBezTo>
                  <a:cubicBezTo>
                    <a:pt x="4164" y="14008"/>
                    <a:pt x="4180" y="14006"/>
                    <a:pt x="4193" y="14006"/>
                  </a:cubicBezTo>
                  <a:cubicBezTo>
                    <a:pt x="4206" y="14005"/>
                    <a:pt x="4217" y="14005"/>
                    <a:pt x="4225" y="14005"/>
                  </a:cubicBezTo>
                  <a:lnTo>
                    <a:pt x="4254" y="13946"/>
                  </a:lnTo>
                  <a:close/>
                  <a:moveTo>
                    <a:pt x="3967" y="13897"/>
                  </a:moveTo>
                  <a:cubicBezTo>
                    <a:pt x="3976" y="13906"/>
                    <a:pt x="3981" y="13915"/>
                    <a:pt x="3984" y="13924"/>
                  </a:cubicBezTo>
                  <a:cubicBezTo>
                    <a:pt x="3987" y="13935"/>
                    <a:pt x="3988" y="13947"/>
                    <a:pt x="3986" y="13960"/>
                  </a:cubicBezTo>
                  <a:cubicBezTo>
                    <a:pt x="3983" y="13972"/>
                    <a:pt x="3978" y="13987"/>
                    <a:pt x="3969" y="14005"/>
                  </a:cubicBezTo>
                  <a:lnTo>
                    <a:pt x="3948" y="14048"/>
                  </a:lnTo>
                  <a:lnTo>
                    <a:pt x="3802" y="13976"/>
                  </a:lnTo>
                  <a:lnTo>
                    <a:pt x="3825" y="13929"/>
                  </a:lnTo>
                  <a:cubicBezTo>
                    <a:pt x="3830" y="13919"/>
                    <a:pt x="3836" y="13910"/>
                    <a:pt x="3841" y="13903"/>
                  </a:cubicBezTo>
                  <a:cubicBezTo>
                    <a:pt x="3846" y="13896"/>
                    <a:pt x="3851" y="13890"/>
                    <a:pt x="3857" y="13884"/>
                  </a:cubicBezTo>
                  <a:cubicBezTo>
                    <a:pt x="3867" y="13876"/>
                    <a:pt x="3880" y="13870"/>
                    <a:pt x="3894" y="13869"/>
                  </a:cubicBezTo>
                  <a:cubicBezTo>
                    <a:pt x="3909" y="13867"/>
                    <a:pt x="3922" y="13869"/>
                    <a:pt x="3935" y="13875"/>
                  </a:cubicBezTo>
                  <a:cubicBezTo>
                    <a:pt x="3948" y="13882"/>
                    <a:pt x="3959" y="13889"/>
                    <a:pt x="3967" y="13897"/>
                  </a:cubicBezTo>
                  <a:close/>
                  <a:moveTo>
                    <a:pt x="4465" y="13735"/>
                  </a:moveTo>
                  <a:lnTo>
                    <a:pt x="3916" y="13465"/>
                  </a:lnTo>
                  <a:lnTo>
                    <a:pt x="3898" y="13502"/>
                  </a:lnTo>
                  <a:lnTo>
                    <a:pt x="4447" y="13773"/>
                  </a:lnTo>
                  <a:lnTo>
                    <a:pt x="4465" y="13735"/>
                  </a:lnTo>
                  <a:close/>
                  <a:moveTo>
                    <a:pt x="4311" y="12844"/>
                  </a:moveTo>
                  <a:lnTo>
                    <a:pt x="4288" y="12890"/>
                  </a:lnTo>
                  <a:lnTo>
                    <a:pt x="4491" y="13050"/>
                  </a:lnTo>
                  <a:cubicBezTo>
                    <a:pt x="4504" y="13060"/>
                    <a:pt x="4516" y="13070"/>
                    <a:pt x="4529" y="13080"/>
                  </a:cubicBezTo>
                  <a:cubicBezTo>
                    <a:pt x="4542" y="13090"/>
                    <a:pt x="4553" y="13099"/>
                    <a:pt x="4563" y="13106"/>
                  </a:cubicBezTo>
                  <a:cubicBezTo>
                    <a:pt x="4574" y="13113"/>
                    <a:pt x="4582" y="13120"/>
                    <a:pt x="4589" y="13125"/>
                  </a:cubicBezTo>
                  <a:cubicBezTo>
                    <a:pt x="4594" y="13128"/>
                    <a:pt x="4597" y="13131"/>
                    <a:pt x="4599" y="13132"/>
                  </a:cubicBezTo>
                  <a:cubicBezTo>
                    <a:pt x="4597" y="13131"/>
                    <a:pt x="4594" y="13130"/>
                    <a:pt x="4589" y="13129"/>
                  </a:cubicBezTo>
                  <a:cubicBezTo>
                    <a:pt x="4583" y="13127"/>
                    <a:pt x="4575" y="13125"/>
                    <a:pt x="4565" y="13122"/>
                  </a:cubicBezTo>
                  <a:cubicBezTo>
                    <a:pt x="4555" y="13119"/>
                    <a:pt x="4543" y="13116"/>
                    <a:pt x="4530" y="13112"/>
                  </a:cubicBezTo>
                  <a:cubicBezTo>
                    <a:pt x="4516" y="13109"/>
                    <a:pt x="4502" y="13105"/>
                    <a:pt x="4486" y="13101"/>
                  </a:cubicBezTo>
                  <a:lnTo>
                    <a:pt x="4216" y="13036"/>
                  </a:lnTo>
                  <a:lnTo>
                    <a:pt x="4190" y="13089"/>
                  </a:lnTo>
                  <a:lnTo>
                    <a:pt x="4399" y="13256"/>
                  </a:lnTo>
                  <a:cubicBezTo>
                    <a:pt x="4409" y="13263"/>
                    <a:pt x="4420" y="13272"/>
                    <a:pt x="4431" y="13281"/>
                  </a:cubicBezTo>
                  <a:cubicBezTo>
                    <a:pt x="4443" y="13290"/>
                    <a:pt x="4454" y="13298"/>
                    <a:pt x="4463" y="13305"/>
                  </a:cubicBezTo>
                  <a:cubicBezTo>
                    <a:pt x="4473" y="13313"/>
                    <a:pt x="4482" y="13319"/>
                    <a:pt x="4489" y="13325"/>
                  </a:cubicBezTo>
                  <a:cubicBezTo>
                    <a:pt x="4496" y="13330"/>
                    <a:pt x="4500" y="13333"/>
                    <a:pt x="4501" y="13333"/>
                  </a:cubicBezTo>
                  <a:cubicBezTo>
                    <a:pt x="4499" y="13333"/>
                    <a:pt x="4494" y="13331"/>
                    <a:pt x="4485" y="13329"/>
                  </a:cubicBezTo>
                  <a:cubicBezTo>
                    <a:pt x="4477" y="13326"/>
                    <a:pt x="4466" y="13323"/>
                    <a:pt x="4454" y="13319"/>
                  </a:cubicBezTo>
                  <a:cubicBezTo>
                    <a:pt x="4442" y="13315"/>
                    <a:pt x="4428" y="13311"/>
                    <a:pt x="4414" y="13307"/>
                  </a:cubicBezTo>
                  <a:cubicBezTo>
                    <a:pt x="4399" y="13303"/>
                    <a:pt x="4385" y="13299"/>
                    <a:pt x="4372" y="13296"/>
                  </a:cubicBezTo>
                  <a:lnTo>
                    <a:pt x="4119" y="13233"/>
                  </a:lnTo>
                  <a:lnTo>
                    <a:pt x="4094" y="13283"/>
                  </a:lnTo>
                  <a:lnTo>
                    <a:pt x="4531" y="13383"/>
                  </a:lnTo>
                  <a:lnTo>
                    <a:pt x="4560" y="13323"/>
                  </a:lnTo>
                  <a:lnTo>
                    <a:pt x="4363" y="13167"/>
                  </a:lnTo>
                  <a:cubicBezTo>
                    <a:pt x="4352" y="13158"/>
                    <a:pt x="4340" y="13149"/>
                    <a:pt x="4329" y="13140"/>
                  </a:cubicBezTo>
                  <a:cubicBezTo>
                    <a:pt x="4318" y="13132"/>
                    <a:pt x="4308" y="13124"/>
                    <a:pt x="4299" y="13118"/>
                  </a:cubicBezTo>
                  <a:cubicBezTo>
                    <a:pt x="4290" y="13111"/>
                    <a:pt x="4283" y="13106"/>
                    <a:pt x="4277" y="13102"/>
                  </a:cubicBezTo>
                  <a:cubicBezTo>
                    <a:pt x="4271" y="13098"/>
                    <a:pt x="4268" y="13095"/>
                    <a:pt x="4267" y="13094"/>
                  </a:cubicBezTo>
                  <a:cubicBezTo>
                    <a:pt x="4268" y="13095"/>
                    <a:pt x="4272" y="13096"/>
                    <a:pt x="4279" y="13098"/>
                  </a:cubicBezTo>
                  <a:cubicBezTo>
                    <a:pt x="4286" y="13100"/>
                    <a:pt x="4295" y="13103"/>
                    <a:pt x="4305" y="13106"/>
                  </a:cubicBezTo>
                  <a:cubicBezTo>
                    <a:pt x="4316" y="13109"/>
                    <a:pt x="4328" y="13112"/>
                    <a:pt x="4342" y="13116"/>
                  </a:cubicBezTo>
                  <a:cubicBezTo>
                    <a:pt x="4356" y="13120"/>
                    <a:pt x="4371" y="13124"/>
                    <a:pt x="4387" y="13128"/>
                  </a:cubicBezTo>
                  <a:lnTo>
                    <a:pt x="4628" y="13186"/>
                  </a:lnTo>
                  <a:lnTo>
                    <a:pt x="4658" y="13125"/>
                  </a:lnTo>
                  <a:lnTo>
                    <a:pt x="4311" y="12844"/>
                  </a:lnTo>
                  <a:close/>
                  <a:moveTo>
                    <a:pt x="4848" y="12738"/>
                  </a:moveTo>
                  <a:lnTo>
                    <a:pt x="4808" y="12718"/>
                  </a:lnTo>
                  <a:lnTo>
                    <a:pt x="4723" y="12890"/>
                  </a:lnTo>
                  <a:lnTo>
                    <a:pt x="4580" y="12820"/>
                  </a:lnTo>
                  <a:lnTo>
                    <a:pt x="4646" y="12686"/>
                  </a:lnTo>
                  <a:lnTo>
                    <a:pt x="4605" y="12666"/>
                  </a:lnTo>
                  <a:lnTo>
                    <a:pt x="4540" y="12800"/>
                  </a:lnTo>
                  <a:lnTo>
                    <a:pt x="4411" y="12737"/>
                  </a:lnTo>
                  <a:lnTo>
                    <a:pt x="4490" y="12577"/>
                  </a:lnTo>
                  <a:lnTo>
                    <a:pt x="4454" y="12551"/>
                  </a:lnTo>
                  <a:lnTo>
                    <a:pt x="4349" y="12765"/>
                  </a:lnTo>
                  <a:lnTo>
                    <a:pt x="4740" y="12957"/>
                  </a:lnTo>
                  <a:lnTo>
                    <a:pt x="4848" y="12738"/>
                  </a:lnTo>
                  <a:close/>
                  <a:moveTo>
                    <a:pt x="4864" y="12334"/>
                  </a:moveTo>
                  <a:cubicBezTo>
                    <a:pt x="4850" y="12332"/>
                    <a:pt x="4836" y="12333"/>
                    <a:pt x="4823" y="12337"/>
                  </a:cubicBezTo>
                  <a:cubicBezTo>
                    <a:pt x="4810" y="12340"/>
                    <a:pt x="4798" y="12346"/>
                    <a:pt x="4787" y="12353"/>
                  </a:cubicBezTo>
                  <a:cubicBezTo>
                    <a:pt x="4776" y="12360"/>
                    <a:pt x="4763" y="12372"/>
                    <a:pt x="4749" y="12386"/>
                  </a:cubicBezTo>
                  <a:lnTo>
                    <a:pt x="4713" y="12424"/>
                  </a:lnTo>
                  <a:cubicBezTo>
                    <a:pt x="4694" y="12444"/>
                    <a:pt x="4677" y="12456"/>
                    <a:pt x="4663" y="12462"/>
                  </a:cubicBezTo>
                  <a:cubicBezTo>
                    <a:pt x="4648" y="12467"/>
                    <a:pt x="4633" y="12466"/>
                    <a:pt x="4617" y="12458"/>
                  </a:cubicBezTo>
                  <a:cubicBezTo>
                    <a:pt x="4597" y="12448"/>
                    <a:pt x="4585" y="12433"/>
                    <a:pt x="4580" y="12414"/>
                  </a:cubicBezTo>
                  <a:cubicBezTo>
                    <a:pt x="4575" y="12395"/>
                    <a:pt x="4579" y="12373"/>
                    <a:pt x="4591" y="12348"/>
                  </a:cubicBezTo>
                  <a:cubicBezTo>
                    <a:pt x="4595" y="12340"/>
                    <a:pt x="4600" y="12332"/>
                    <a:pt x="4605" y="12325"/>
                  </a:cubicBezTo>
                  <a:cubicBezTo>
                    <a:pt x="4609" y="12319"/>
                    <a:pt x="4615" y="12312"/>
                    <a:pt x="4621" y="12306"/>
                  </a:cubicBezTo>
                  <a:cubicBezTo>
                    <a:pt x="4628" y="12300"/>
                    <a:pt x="4635" y="12294"/>
                    <a:pt x="4643" y="12288"/>
                  </a:cubicBezTo>
                  <a:cubicBezTo>
                    <a:pt x="4651" y="12282"/>
                    <a:pt x="4660" y="12276"/>
                    <a:pt x="4671" y="12269"/>
                  </a:cubicBezTo>
                  <a:lnTo>
                    <a:pt x="4648" y="12232"/>
                  </a:lnTo>
                  <a:cubicBezTo>
                    <a:pt x="4604" y="12257"/>
                    <a:pt x="4572" y="12290"/>
                    <a:pt x="4552" y="12332"/>
                  </a:cubicBezTo>
                  <a:cubicBezTo>
                    <a:pt x="4543" y="12351"/>
                    <a:pt x="4537" y="12369"/>
                    <a:pt x="4535" y="12388"/>
                  </a:cubicBezTo>
                  <a:cubicBezTo>
                    <a:pt x="4533" y="12406"/>
                    <a:pt x="4534" y="12423"/>
                    <a:pt x="4538" y="12439"/>
                  </a:cubicBezTo>
                  <a:cubicBezTo>
                    <a:pt x="4543" y="12455"/>
                    <a:pt x="4550" y="12469"/>
                    <a:pt x="4561" y="12482"/>
                  </a:cubicBezTo>
                  <a:cubicBezTo>
                    <a:pt x="4572" y="12495"/>
                    <a:pt x="4585" y="12505"/>
                    <a:pt x="4602" y="12513"/>
                  </a:cubicBezTo>
                  <a:cubicBezTo>
                    <a:pt x="4627" y="12526"/>
                    <a:pt x="4652" y="12528"/>
                    <a:pt x="4678" y="12520"/>
                  </a:cubicBezTo>
                  <a:cubicBezTo>
                    <a:pt x="4690" y="12517"/>
                    <a:pt x="4700" y="12511"/>
                    <a:pt x="4711" y="12503"/>
                  </a:cubicBezTo>
                  <a:cubicBezTo>
                    <a:pt x="4721" y="12495"/>
                    <a:pt x="4733" y="12483"/>
                    <a:pt x="4747" y="12468"/>
                  </a:cubicBezTo>
                  <a:lnTo>
                    <a:pt x="4778" y="12434"/>
                  </a:lnTo>
                  <a:cubicBezTo>
                    <a:pt x="4815" y="12395"/>
                    <a:pt x="4851" y="12383"/>
                    <a:pt x="4886" y="12400"/>
                  </a:cubicBezTo>
                  <a:cubicBezTo>
                    <a:pt x="4909" y="12412"/>
                    <a:pt x="4923" y="12430"/>
                    <a:pt x="4928" y="12456"/>
                  </a:cubicBezTo>
                  <a:cubicBezTo>
                    <a:pt x="4930" y="12467"/>
                    <a:pt x="4930" y="12478"/>
                    <a:pt x="4928" y="12488"/>
                  </a:cubicBezTo>
                  <a:cubicBezTo>
                    <a:pt x="4926" y="12499"/>
                    <a:pt x="4921" y="12511"/>
                    <a:pt x="4914" y="12526"/>
                  </a:cubicBezTo>
                  <a:cubicBezTo>
                    <a:pt x="4904" y="12546"/>
                    <a:pt x="4893" y="12563"/>
                    <a:pt x="4879" y="12577"/>
                  </a:cubicBezTo>
                  <a:cubicBezTo>
                    <a:pt x="4865" y="12592"/>
                    <a:pt x="4849" y="12604"/>
                    <a:pt x="4829" y="12615"/>
                  </a:cubicBezTo>
                  <a:lnTo>
                    <a:pt x="4855" y="12653"/>
                  </a:lnTo>
                  <a:cubicBezTo>
                    <a:pt x="4877" y="12640"/>
                    <a:pt x="4896" y="12624"/>
                    <a:pt x="4911" y="12607"/>
                  </a:cubicBezTo>
                  <a:cubicBezTo>
                    <a:pt x="4927" y="12589"/>
                    <a:pt x="4941" y="12569"/>
                    <a:pt x="4952" y="12545"/>
                  </a:cubicBezTo>
                  <a:cubicBezTo>
                    <a:pt x="4961" y="12527"/>
                    <a:pt x="4967" y="12510"/>
                    <a:pt x="4970" y="12494"/>
                  </a:cubicBezTo>
                  <a:cubicBezTo>
                    <a:pt x="4973" y="12479"/>
                    <a:pt x="4974" y="12462"/>
                    <a:pt x="4972" y="12445"/>
                  </a:cubicBezTo>
                  <a:cubicBezTo>
                    <a:pt x="4969" y="12423"/>
                    <a:pt x="4962" y="12402"/>
                    <a:pt x="4950" y="12385"/>
                  </a:cubicBezTo>
                  <a:cubicBezTo>
                    <a:pt x="4938" y="12367"/>
                    <a:pt x="4922" y="12354"/>
                    <a:pt x="4904" y="12345"/>
                  </a:cubicBezTo>
                  <a:cubicBezTo>
                    <a:pt x="4892" y="12339"/>
                    <a:pt x="4879" y="12335"/>
                    <a:pt x="4864" y="12334"/>
                  </a:cubicBezTo>
                  <a:close/>
                  <a:moveTo>
                    <a:pt x="4781" y="11887"/>
                  </a:moveTo>
                  <a:lnTo>
                    <a:pt x="4654" y="12146"/>
                  </a:lnTo>
                  <a:lnTo>
                    <a:pt x="4693" y="12165"/>
                  </a:lnTo>
                  <a:lnTo>
                    <a:pt x="4745" y="12060"/>
                  </a:lnTo>
                  <a:lnTo>
                    <a:pt x="5097" y="12233"/>
                  </a:lnTo>
                  <a:lnTo>
                    <a:pt x="5119" y="12188"/>
                  </a:lnTo>
                  <a:lnTo>
                    <a:pt x="4767" y="12015"/>
                  </a:lnTo>
                  <a:lnTo>
                    <a:pt x="4819" y="11909"/>
                  </a:lnTo>
                  <a:lnTo>
                    <a:pt x="4781" y="11887"/>
                  </a:lnTo>
                  <a:close/>
                  <a:moveTo>
                    <a:pt x="4916" y="11614"/>
                  </a:moveTo>
                  <a:lnTo>
                    <a:pt x="4814" y="11820"/>
                  </a:lnTo>
                  <a:lnTo>
                    <a:pt x="5205" y="12012"/>
                  </a:lnTo>
                  <a:lnTo>
                    <a:pt x="5229" y="11965"/>
                  </a:lnTo>
                  <a:lnTo>
                    <a:pt x="5043" y="11874"/>
                  </a:lnTo>
                  <a:lnTo>
                    <a:pt x="5104" y="11748"/>
                  </a:lnTo>
                  <a:lnTo>
                    <a:pt x="5066" y="11729"/>
                  </a:lnTo>
                  <a:lnTo>
                    <a:pt x="5005" y="11855"/>
                  </a:lnTo>
                  <a:lnTo>
                    <a:pt x="4876" y="11792"/>
                  </a:lnTo>
                  <a:lnTo>
                    <a:pt x="4951" y="11641"/>
                  </a:lnTo>
                  <a:lnTo>
                    <a:pt x="4916" y="11614"/>
                  </a:lnTo>
                  <a:close/>
                  <a:moveTo>
                    <a:pt x="5463" y="11489"/>
                  </a:moveTo>
                  <a:lnTo>
                    <a:pt x="5008" y="11426"/>
                  </a:lnTo>
                  <a:lnTo>
                    <a:pt x="4978" y="11487"/>
                  </a:lnTo>
                  <a:lnTo>
                    <a:pt x="5305" y="11810"/>
                  </a:lnTo>
                  <a:lnTo>
                    <a:pt x="5328" y="11762"/>
                  </a:lnTo>
                  <a:lnTo>
                    <a:pt x="5227" y="11666"/>
                  </a:lnTo>
                  <a:lnTo>
                    <a:pt x="5298" y="11520"/>
                  </a:lnTo>
                  <a:lnTo>
                    <a:pt x="5437" y="11542"/>
                  </a:lnTo>
                  <a:lnTo>
                    <a:pt x="5463" y="11489"/>
                  </a:lnTo>
                  <a:close/>
                  <a:moveTo>
                    <a:pt x="5254" y="11513"/>
                  </a:moveTo>
                  <a:lnTo>
                    <a:pt x="5195" y="11634"/>
                  </a:lnTo>
                  <a:lnTo>
                    <a:pt x="5033" y="11479"/>
                  </a:lnTo>
                  <a:lnTo>
                    <a:pt x="5254" y="11513"/>
                  </a:lnTo>
                  <a:close/>
                  <a:moveTo>
                    <a:pt x="4900" y="11457"/>
                  </a:moveTo>
                  <a:cubicBezTo>
                    <a:pt x="4892" y="11460"/>
                    <a:pt x="4885" y="11466"/>
                    <a:pt x="4881" y="11474"/>
                  </a:cubicBezTo>
                  <a:cubicBezTo>
                    <a:pt x="4877" y="11482"/>
                    <a:pt x="4877" y="11490"/>
                    <a:pt x="4880" y="11499"/>
                  </a:cubicBezTo>
                  <a:cubicBezTo>
                    <a:pt x="4883" y="11507"/>
                    <a:pt x="4888" y="11513"/>
                    <a:pt x="4896" y="11517"/>
                  </a:cubicBezTo>
                  <a:cubicBezTo>
                    <a:pt x="4905" y="11521"/>
                    <a:pt x="4913" y="11522"/>
                    <a:pt x="4922" y="11519"/>
                  </a:cubicBezTo>
                  <a:cubicBezTo>
                    <a:pt x="4930" y="11516"/>
                    <a:pt x="4937" y="11511"/>
                    <a:pt x="4941" y="11502"/>
                  </a:cubicBezTo>
                  <a:cubicBezTo>
                    <a:pt x="4945" y="11494"/>
                    <a:pt x="4945" y="11486"/>
                    <a:pt x="4942" y="11477"/>
                  </a:cubicBezTo>
                  <a:cubicBezTo>
                    <a:pt x="4939" y="11469"/>
                    <a:pt x="4933" y="11463"/>
                    <a:pt x="4925" y="11459"/>
                  </a:cubicBezTo>
                  <a:cubicBezTo>
                    <a:pt x="4917" y="11455"/>
                    <a:pt x="4909" y="11454"/>
                    <a:pt x="4900" y="11457"/>
                  </a:cubicBezTo>
                  <a:close/>
                  <a:moveTo>
                    <a:pt x="4958" y="11340"/>
                  </a:moveTo>
                  <a:cubicBezTo>
                    <a:pt x="4950" y="11342"/>
                    <a:pt x="4943" y="11348"/>
                    <a:pt x="4939" y="11356"/>
                  </a:cubicBezTo>
                  <a:cubicBezTo>
                    <a:pt x="4935" y="11364"/>
                    <a:pt x="4935" y="11373"/>
                    <a:pt x="4938" y="11381"/>
                  </a:cubicBezTo>
                  <a:cubicBezTo>
                    <a:pt x="4940" y="11390"/>
                    <a:pt x="4946" y="11396"/>
                    <a:pt x="4954" y="11400"/>
                  </a:cubicBezTo>
                  <a:cubicBezTo>
                    <a:pt x="4962" y="11404"/>
                    <a:pt x="4971" y="11405"/>
                    <a:pt x="4979" y="11402"/>
                  </a:cubicBezTo>
                  <a:cubicBezTo>
                    <a:pt x="4988" y="11399"/>
                    <a:pt x="4995" y="11393"/>
                    <a:pt x="4999" y="11385"/>
                  </a:cubicBezTo>
                  <a:cubicBezTo>
                    <a:pt x="5003" y="11377"/>
                    <a:pt x="5003" y="11368"/>
                    <a:pt x="5000" y="11360"/>
                  </a:cubicBezTo>
                  <a:cubicBezTo>
                    <a:pt x="4997" y="11352"/>
                    <a:pt x="4991" y="11345"/>
                    <a:pt x="4983" y="11341"/>
                  </a:cubicBezTo>
                  <a:cubicBezTo>
                    <a:pt x="4975" y="11337"/>
                    <a:pt x="4967" y="11337"/>
                    <a:pt x="4958" y="11340"/>
                  </a:cubicBezTo>
                  <a:close/>
                  <a:moveTo>
                    <a:pt x="5559" y="11195"/>
                  </a:moveTo>
                  <a:lnTo>
                    <a:pt x="5483" y="11349"/>
                  </a:lnTo>
                  <a:lnTo>
                    <a:pt x="5131" y="11176"/>
                  </a:lnTo>
                  <a:lnTo>
                    <a:pt x="5108" y="11223"/>
                  </a:lnTo>
                  <a:lnTo>
                    <a:pt x="5499" y="11415"/>
                  </a:lnTo>
                  <a:lnTo>
                    <a:pt x="5595" y="11220"/>
                  </a:lnTo>
                  <a:lnTo>
                    <a:pt x="5559" y="11195"/>
                  </a:lnTo>
                  <a:close/>
                  <a:moveTo>
                    <a:pt x="5658" y="11093"/>
                  </a:moveTo>
                  <a:lnTo>
                    <a:pt x="5267" y="10901"/>
                  </a:lnTo>
                  <a:lnTo>
                    <a:pt x="5244" y="10946"/>
                  </a:lnTo>
                  <a:lnTo>
                    <a:pt x="5635" y="11139"/>
                  </a:lnTo>
                  <a:lnTo>
                    <a:pt x="5658" y="11093"/>
                  </a:lnTo>
                  <a:close/>
                  <a:moveTo>
                    <a:pt x="5682" y="10672"/>
                  </a:moveTo>
                  <a:cubicBezTo>
                    <a:pt x="5667" y="10671"/>
                    <a:pt x="5653" y="10672"/>
                    <a:pt x="5640" y="10675"/>
                  </a:cubicBezTo>
                  <a:cubicBezTo>
                    <a:pt x="5627" y="10679"/>
                    <a:pt x="5615" y="10684"/>
                    <a:pt x="5604" y="10691"/>
                  </a:cubicBezTo>
                  <a:cubicBezTo>
                    <a:pt x="5593" y="10699"/>
                    <a:pt x="5581" y="10710"/>
                    <a:pt x="5567" y="10725"/>
                  </a:cubicBezTo>
                  <a:lnTo>
                    <a:pt x="5531" y="10763"/>
                  </a:lnTo>
                  <a:cubicBezTo>
                    <a:pt x="5512" y="10782"/>
                    <a:pt x="5495" y="10795"/>
                    <a:pt x="5480" y="10800"/>
                  </a:cubicBezTo>
                  <a:cubicBezTo>
                    <a:pt x="5466" y="10805"/>
                    <a:pt x="5451" y="10804"/>
                    <a:pt x="5435" y="10796"/>
                  </a:cubicBezTo>
                  <a:cubicBezTo>
                    <a:pt x="5415" y="10786"/>
                    <a:pt x="5402" y="10772"/>
                    <a:pt x="5398" y="10753"/>
                  </a:cubicBezTo>
                  <a:cubicBezTo>
                    <a:pt x="5393" y="10733"/>
                    <a:pt x="5397" y="10711"/>
                    <a:pt x="5409" y="10687"/>
                  </a:cubicBezTo>
                  <a:cubicBezTo>
                    <a:pt x="5413" y="10678"/>
                    <a:pt x="5417" y="10671"/>
                    <a:pt x="5422" y="10664"/>
                  </a:cubicBezTo>
                  <a:cubicBezTo>
                    <a:pt x="5427" y="10657"/>
                    <a:pt x="5433" y="10650"/>
                    <a:pt x="5439" y="10644"/>
                  </a:cubicBezTo>
                  <a:cubicBezTo>
                    <a:pt x="5445" y="10638"/>
                    <a:pt x="5452" y="10632"/>
                    <a:pt x="5461" y="10626"/>
                  </a:cubicBezTo>
                  <a:cubicBezTo>
                    <a:pt x="5469" y="10620"/>
                    <a:pt x="5478" y="10614"/>
                    <a:pt x="5489" y="10608"/>
                  </a:cubicBezTo>
                  <a:lnTo>
                    <a:pt x="5465" y="10571"/>
                  </a:lnTo>
                  <a:cubicBezTo>
                    <a:pt x="5422" y="10595"/>
                    <a:pt x="5390" y="10629"/>
                    <a:pt x="5370" y="10670"/>
                  </a:cubicBezTo>
                  <a:cubicBezTo>
                    <a:pt x="5360" y="10689"/>
                    <a:pt x="5355" y="10708"/>
                    <a:pt x="5352" y="10726"/>
                  </a:cubicBezTo>
                  <a:cubicBezTo>
                    <a:pt x="5350" y="10744"/>
                    <a:pt x="5351" y="10761"/>
                    <a:pt x="5356" y="10777"/>
                  </a:cubicBezTo>
                  <a:cubicBezTo>
                    <a:pt x="5360" y="10793"/>
                    <a:pt x="5368" y="10807"/>
                    <a:pt x="5379" y="10820"/>
                  </a:cubicBezTo>
                  <a:cubicBezTo>
                    <a:pt x="5389" y="10833"/>
                    <a:pt x="5403" y="10844"/>
                    <a:pt x="5420" y="10852"/>
                  </a:cubicBezTo>
                  <a:cubicBezTo>
                    <a:pt x="5445" y="10864"/>
                    <a:pt x="5470" y="10866"/>
                    <a:pt x="5496" y="10859"/>
                  </a:cubicBezTo>
                  <a:cubicBezTo>
                    <a:pt x="5507" y="10855"/>
                    <a:pt x="5518" y="10849"/>
                    <a:pt x="5528" y="10841"/>
                  </a:cubicBezTo>
                  <a:cubicBezTo>
                    <a:pt x="5538" y="10833"/>
                    <a:pt x="5550" y="10821"/>
                    <a:pt x="5564" y="10806"/>
                  </a:cubicBezTo>
                  <a:lnTo>
                    <a:pt x="5596" y="10773"/>
                  </a:lnTo>
                  <a:cubicBezTo>
                    <a:pt x="5633" y="10733"/>
                    <a:pt x="5669" y="10722"/>
                    <a:pt x="5703" y="10739"/>
                  </a:cubicBezTo>
                  <a:cubicBezTo>
                    <a:pt x="5726" y="10750"/>
                    <a:pt x="5740" y="10768"/>
                    <a:pt x="5745" y="10794"/>
                  </a:cubicBezTo>
                  <a:cubicBezTo>
                    <a:pt x="5748" y="10806"/>
                    <a:pt x="5748" y="10816"/>
                    <a:pt x="5746" y="10827"/>
                  </a:cubicBezTo>
                  <a:cubicBezTo>
                    <a:pt x="5744" y="10837"/>
                    <a:pt x="5739" y="10850"/>
                    <a:pt x="5732" y="10865"/>
                  </a:cubicBezTo>
                  <a:cubicBezTo>
                    <a:pt x="5722" y="10884"/>
                    <a:pt x="5710" y="10901"/>
                    <a:pt x="5697" y="10916"/>
                  </a:cubicBezTo>
                  <a:cubicBezTo>
                    <a:pt x="5683" y="10930"/>
                    <a:pt x="5666" y="10942"/>
                    <a:pt x="5647" y="10953"/>
                  </a:cubicBezTo>
                  <a:lnTo>
                    <a:pt x="5673" y="10991"/>
                  </a:lnTo>
                  <a:cubicBezTo>
                    <a:pt x="5695" y="10978"/>
                    <a:pt x="5713" y="10962"/>
                    <a:pt x="5729" y="10945"/>
                  </a:cubicBezTo>
                  <a:cubicBezTo>
                    <a:pt x="5745" y="10927"/>
                    <a:pt x="5758" y="10907"/>
                    <a:pt x="5770" y="10883"/>
                  </a:cubicBezTo>
                  <a:cubicBezTo>
                    <a:pt x="5779" y="10865"/>
                    <a:pt x="5785" y="10848"/>
                    <a:pt x="5788" y="10833"/>
                  </a:cubicBezTo>
                  <a:cubicBezTo>
                    <a:pt x="5791" y="10817"/>
                    <a:pt x="5791" y="10801"/>
                    <a:pt x="5789" y="10784"/>
                  </a:cubicBezTo>
                  <a:cubicBezTo>
                    <a:pt x="5787" y="10761"/>
                    <a:pt x="5780" y="10741"/>
                    <a:pt x="5767" y="10723"/>
                  </a:cubicBezTo>
                  <a:cubicBezTo>
                    <a:pt x="5755" y="10706"/>
                    <a:pt x="5740" y="10692"/>
                    <a:pt x="5722" y="10683"/>
                  </a:cubicBezTo>
                  <a:cubicBezTo>
                    <a:pt x="5710" y="10677"/>
                    <a:pt x="5696" y="10674"/>
                    <a:pt x="5682" y="10672"/>
                  </a:cubicBezTo>
                  <a:close/>
                  <a:moveTo>
                    <a:pt x="5933" y="10390"/>
                  </a:moveTo>
                  <a:cubicBezTo>
                    <a:pt x="5935" y="10407"/>
                    <a:pt x="5936" y="10422"/>
                    <a:pt x="5934" y="10436"/>
                  </a:cubicBezTo>
                  <a:cubicBezTo>
                    <a:pt x="5932" y="10450"/>
                    <a:pt x="5927" y="10464"/>
                    <a:pt x="5920" y="10478"/>
                  </a:cubicBezTo>
                  <a:cubicBezTo>
                    <a:pt x="5909" y="10501"/>
                    <a:pt x="5893" y="10519"/>
                    <a:pt x="5872" y="10531"/>
                  </a:cubicBezTo>
                  <a:cubicBezTo>
                    <a:pt x="5851" y="10544"/>
                    <a:pt x="5825" y="10550"/>
                    <a:pt x="5796" y="10547"/>
                  </a:cubicBezTo>
                  <a:cubicBezTo>
                    <a:pt x="5782" y="10546"/>
                    <a:pt x="5769" y="10544"/>
                    <a:pt x="5755" y="10540"/>
                  </a:cubicBezTo>
                  <a:cubicBezTo>
                    <a:pt x="5742" y="10535"/>
                    <a:pt x="5726" y="10529"/>
                    <a:pt x="5707" y="10519"/>
                  </a:cubicBezTo>
                  <a:cubicBezTo>
                    <a:pt x="5684" y="10508"/>
                    <a:pt x="5665" y="10497"/>
                    <a:pt x="5650" y="10486"/>
                  </a:cubicBezTo>
                  <a:cubicBezTo>
                    <a:pt x="5635" y="10475"/>
                    <a:pt x="5622" y="10464"/>
                    <a:pt x="5612" y="10452"/>
                  </a:cubicBezTo>
                  <a:cubicBezTo>
                    <a:pt x="5594" y="10431"/>
                    <a:pt x="5584" y="10410"/>
                    <a:pt x="5580" y="10389"/>
                  </a:cubicBezTo>
                  <a:cubicBezTo>
                    <a:pt x="5577" y="10367"/>
                    <a:pt x="5580" y="10345"/>
                    <a:pt x="5592" y="10322"/>
                  </a:cubicBezTo>
                  <a:cubicBezTo>
                    <a:pt x="5599" y="10308"/>
                    <a:pt x="5607" y="10296"/>
                    <a:pt x="5617" y="10286"/>
                  </a:cubicBezTo>
                  <a:cubicBezTo>
                    <a:pt x="5626" y="10276"/>
                    <a:pt x="5638" y="10268"/>
                    <a:pt x="5653" y="10260"/>
                  </a:cubicBezTo>
                  <a:lnTo>
                    <a:pt x="5635" y="10220"/>
                  </a:lnTo>
                  <a:cubicBezTo>
                    <a:pt x="5618" y="10229"/>
                    <a:pt x="5603" y="10240"/>
                    <a:pt x="5589" y="10254"/>
                  </a:cubicBezTo>
                  <a:cubicBezTo>
                    <a:pt x="5575" y="10268"/>
                    <a:pt x="5564" y="10284"/>
                    <a:pt x="5554" y="10303"/>
                  </a:cubicBezTo>
                  <a:cubicBezTo>
                    <a:pt x="5543" y="10327"/>
                    <a:pt x="5537" y="10351"/>
                    <a:pt x="5537" y="10376"/>
                  </a:cubicBezTo>
                  <a:cubicBezTo>
                    <a:pt x="5537" y="10401"/>
                    <a:pt x="5543" y="10426"/>
                    <a:pt x="5554" y="10449"/>
                  </a:cubicBezTo>
                  <a:cubicBezTo>
                    <a:pt x="5565" y="10473"/>
                    <a:pt x="5580" y="10495"/>
                    <a:pt x="5601" y="10515"/>
                  </a:cubicBezTo>
                  <a:cubicBezTo>
                    <a:pt x="5622" y="10535"/>
                    <a:pt x="5646" y="10552"/>
                    <a:pt x="5675" y="10567"/>
                  </a:cubicBezTo>
                  <a:cubicBezTo>
                    <a:pt x="5705" y="10581"/>
                    <a:pt x="5734" y="10591"/>
                    <a:pt x="5763" y="10596"/>
                  </a:cubicBezTo>
                  <a:cubicBezTo>
                    <a:pt x="5792" y="10602"/>
                    <a:pt x="5820" y="10600"/>
                    <a:pt x="5847" y="10593"/>
                  </a:cubicBezTo>
                  <a:cubicBezTo>
                    <a:pt x="5872" y="10586"/>
                    <a:pt x="5893" y="10575"/>
                    <a:pt x="5912" y="10560"/>
                  </a:cubicBezTo>
                  <a:cubicBezTo>
                    <a:pt x="5930" y="10544"/>
                    <a:pt x="5944" y="10526"/>
                    <a:pt x="5955" y="10505"/>
                  </a:cubicBezTo>
                  <a:cubicBezTo>
                    <a:pt x="5964" y="10485"/>
                    <a:pt x="5971" y="10465"/>
                    <a:pt x="5975" y="10444"/>
                  </a:cubicBezTo>
                  <a:cubicBezTo>
                    <a:pt x="5978" y="10422"/>
                    <a:pt x="5979" y="10401"/>
                    <a:pt x="5977" y="10380"/>
                  </a:cubicBezTo>
                  <a:lnTo>
                    <a:pt x="5933" y="10390"/>
                  </a:lnTo>
                  <a:close/>
                  <a:moveTo>
                    <a:pt x="6169" y="10055"/>
                  </a:moveTo>
                  <a:lnTo>
                    <a:pt x="5778" y="9862"/>
                  </a:lnTo>
                  <a:lnTo>
                    <a:pt x="5755" y="9909"/>
                  </a:lnTo>
                  <a:lnTo>
                    <a:pt x="5918" y="9989"/>
                  </a:lnTo>
                  <a:lnTo>
                    <a:pt x="5837" y="10154"/>
                  </a:lnTo>
                  <a:lnTo>
                    <a:pt x="5674" y="10074"/>
                  </a:lnTo>
                  <a:lnTo>
                    <a:pt x="5651" y="10119"/>
                  </a:lnTo>
                  <a:lnTo>
                    <a:pt x="6042" y="10311"/>
                  </a:lnTo>
                  <a:lnTo>
                    <a:pt x="6065" y="10266"/>
                  </a:lnTo>
                  <a:lnTo>
                    <a:pt x="5875" y="10173"/>
                  </a:lnTo>
                  <a:lnTo>
                    <a:pt x="5956" y="10008"/>
                  </a:lnTo>
                  <a:lnTo>
                    <a:pt x="6146" y="10101"/>
                  </a:lnTo>
                  <a:lnTo>
                    <a:pt x="6169" y="10055"/>
                  </a:lnTo>
                  <a:close/>
                  <a:moveTo>
                    <a:pt x="6333" y="9721"/>
                  </a:moveTo>
                  <a:lnTo>
                    <a:pt x="6292" y="9701"/>
                  </a:lnTo>
                  <a:lnTo>
                    <a:pt x="6208" y="9873"/>
                  </a:lnTo>
                  <a:lnTo>
                    <a:pt x="6065" y="9803"/>
                  </a:lnTo>
                  <a:lnTo>
                    <a:pt x="6131" y="9669"/>
                  </a:lnTo>
                  <a:lnTo>
                    <a:pt x="6090" y="9649"/>
                  </a:lnTo>
                  <a:lnTo>
                    <a:pt x="6024" y="9783"/>
                  </a:lnTo>
                  <a:lnTo>
                    <a:pt x="5896" y="9720"/>
                  </a:lnTo>
                  <a:lnTo>
                    <a:pt x="5975" y="9559"/>
                  </a:lnTo>
                  <a:lnTo>
                    <a:pt x="5939" y="9534"/>
                  </a:lnTo>
                  <a:lnTo>
                    <a:pt x="5834" y="9748"/>
                  </a:lnTo>
                  <a:lnTo>
                    <a:pt x="6225" y="9940"/>
                  </a:lnTo>
                  <a:lnTo>
                    <a:pt x="6333" y="9721"/>
                  </a:lnTo>
                  <a:close/>
                  <a:moveTo>
                    <a:pt x="6250" y="8903"/>
                  </a:moveTo>
                  <a:lnTo>
                    <a:pt x="6227" y="8950"/>
                  </a:lnTo>
                  <a:lnTo>
                    <a:pt x="6429" y="9110"/>
                  </a:lnTo>
                  <a:cubicBezTo>
                    <a:pt x="6442" y="9120"/>
                    <a:pt x="6455" y="9130"/>
                    <a:pt x="6468" y="9140"/>
                  </a:cubicBezTo>
                  <a:cubicBezTo>
                    <a:pt x="6481" y="9150"/>
                    <a:pt x="6492" y="9158"/>
                    <a:pt x="6502" y="9166"/>
                  </a:cubicBezTo>
                  <a:cubicBezTo>
                    <a:pt x="6513" y="9173"/>
                    <a:pt x="6521" y="9179"/>
                    <a:pt x="6527" y="9184"/>
                  </a:cubicBezTo>
                  <a:cubicBezTo>
                    <a:pt x="6533" y="9188"/>
                    <a:pt x="6536" y="9190"/>
                    <a:pt x="6537" y="9191"/>
                  </a:cubicBezTo>
                  <a:cubicBezTo>
                    <a:pt x="6536" y="9191"/>
                    <a:pt x="6533" y="9190"/>
                    <a:pt x="6528" y="9189"/>
                  </a:cubicBezTo>
                  <a:cubicBezTo>
                    <a:pt x="6522" y="9187"/>
                    <a:pt x="6514" y="9185"/>
                    <a:pt x="6504" y="9182"/>
                  </a:cubicBezTo>
                  <a:cubicBezTo>
                    <a:pt x="6493" y="9179"/>
                    <a:pt x="6482" y="9176"/>
                    <a:pt x="6468" y="9172"/>
                  </a:cubicBezTo>
                  <a:cubicBezTo>
                    <a:pt x="6455" y="9169"/>
                    <a:pt x="6440" y="9165"/>
                    <a:pt x="6424" y="9161"/>
                  </a:cubicBezTo>
                  <a:lnTo>
                    <a:pt x="6155" y="9095"/>
                  </a:lnTo>
                  <a:lnTo>
                    <a:pt x="6129" y="9148"/>
                  </a:lnTo>
                  <a:lnTo>
                    <a:pt x="6338" y="9315"/>
                  </a:lnTo>
                  <a:cubicBezTo>
                    <a:pt x="6348" y="9323"/>
                    <a:pt x="6358" y="9332"/>
                    <a:pt x="6370" y="9341"/>
                  </a:cubicBezTo>
                  <a:cubicBezTo>
                    <a:pt x="6382" y="9350"/>
                    <a:pt x="6392" y="9358"/>
                    <a:pt x="6402" y="9365"/>
                  </a:cubicBezTo>
                  <a:cubicBezTo>
                    <a:pt x="6412" y="9373"/>
                    <a:pt x="6421" y="9379"/>
                    <a:pt x="6428" y="9385"/>
                  </a:cubicBezTo>
                  <a:cubicBezTo>
                    <a:pt x="6435" y="9390"/>
                    <a:pt x="6439" y="9393"/>
                    <a:pt x="6440" y="9393"/>
                  </a:cubicBezTo>
                  <a:cubicBezTo>
                    <a:pt x="6438" y="9393"/>
                    <a:pt x="6433" y="9391"/>
                    <a:pt x="6424" y="9388"/>
                  </a:cubicBezTo>
                  <a:cubicBezTo>
                    <a:pt x="6416" y="9386"/>
                    <a:pt x="6405" y="9382"/>
                    <a:pt x="6393" y="9379"/>
                  </a:cubicBezTo>
                  <a:cubicBezTo>
                    <a:pt x="6381" y="9375"/>
                    <a:pt x="6367" y="9371"/>
                    <a:pt x="6353" y="9367"/>
                  </a:cubicBezTo>
                  <a:cubicBezTo>
                    <a:pt x="6338" y="9363"/>
                    <a:pt x="6324" y="9359"/>
                    <a:pt x="6311" y="9356"/>
                  </a:cubicBezTo>
                  <a:lnTo>
                    <a:pt x="6058" y="9293"/>
                  </a:lnTo>
                  <a:lnTo>
                    <a:pt x="6033" y="9343"/>
                  </a:lnTo>
                  <a:lnTo>
                    <a:pt x="6469" y="9443"/>
                  </a:lnTo>
                  <a:lnTo>
                    <a:pt x="6499" y="9383"/>
                  </a:lnTo>
                  <a:lnTo>
                    <a:pt x="6302" y="9226"/>
                  </a:lnTo>
                  <a:cubicBezTo>
                    <a:pt x="6291" y="9217"/>
                    <a:pt x="6279" y="9209"/>
                    <a:pt x="6268" y="9200"/>
                  </a:cubicBezTo>
                  <a:cubicBezTo>
                    <a:pt x="6257" y="9192"/>
                    <a:pt x="6247" y="9184"/>
                    <a:pt x="6238" y="9177"/>
                  </a:cubicBezTo>
                  <a:cubicBezTo>
                    <a:pt x="6229" y="9171"/>
                    <a:pt x="6221" y="9166"/>
                    <a:pt x="6216" y="9162"/>
                  </a:cubicBezTo>
                  <a:cubicBezTo>
                    <a:pt x="6210" y="9158"/>
                    <a:pt x="6206" y="9155"/>
                    <a:pt x="6205" y="9154"/>
                  </a:cubicBezTo>
                  <a:cubicBezTo>
                    <a:pt x="6207" y="9155"/>
                    <a:pt x="6211" y="9156"/>
                    <a:pt x="6218" y="9158"/>
                  </a:cubicBezTo>
                  <a:cubicBezTo>
                    <a:pt x="6225" y="9160"/>
                    <a:pt x="6233" y="9163"/>
                    <a:pt x="6244" y="9166"/>
                  </a:cubicBezTo>
                  <a:cubicBezTo>
                    <a:pt x="6255" y="9169"/>
                    <a:pt x="6267" y="9172"/>
                    <a:pt x="6281" y="9176"/>
                  </a:cubicBezTo>
                  <a:cubicBezTo>
                    <a:pt x="6295" y="9180"/>
                    <a:pt x="6310" y="9184"/>
                    <a:pt x="6325" y="9188"/>
                  </a:cubicBezTo>
                  <a:lnTo>
                    <a:pt x="6566" y="9246"/>
                  </a:lnTo>
                  <a:lnTo>
                    <a:pt x="6596" y="9185"/>
                  </a:lnTo>
                  <a:lnTo>
                    <a:pt x="6250" y="8903"/>
                  </a:lnTo>
                  <a:close/>
                  <a:moveTo>
                    <a:pt x="6701" y="8972"/>
                  </a:moveTo>
                  <a:lnTo>
                    <a:pt x="6311" y="8779"/>
                  </a:lnTo>
                  <a:lnTo>
                    <a:pt x="6288" y="8825"/>
                  </a:lnTo>
                  <a:lnTo>
                    <a:pt x="6679" y="9017"/>
                  </a:lnTo>
                  <a:lnTo>
                    <a:pt x="6701" y="8972"/>
                  </a:lnTo>
                  <a:close/>
                  <a:moveTo>
                    <a:pt x="6818" y="8637"/>
                  </a:moveTo>
                  <a:lnTo>
                    <a:pt x="6742" y="8791"/>
                  </a:lnTo>
                  <a:lnTo>
                    <a:pt x="6390" y="8618"/>
                  </a:lnTo>
                  <a:lnTo>
                    <a:pt x="6367" y="8665"/>
                  </a:lnTo>
                  <a:lnTo>
                    <a:pt x="6758" y="8857"/>
                  </a:lnTo>
                  <a:lnTo>
                    <a:pt x="6854" y="8662"/>
                  </a:lnTo>
                  <a:lnTo>
                    <a:pt x="6818" y="8637"/>
                  </a:lnTo>
                  <a:close/>
                  <a:moveTo>
                    <a:pt x="7020" y="8324"/>
                  </a:moveTo>
                  <a:lnTo>
                    <a:pt x="6629" y="8131"/>
                  </a:lnTo>
                  <a:lnTo>
                    <a:pt x="6606" y="8178"/>
                  </a:lnTo>
                  <a:lnTo>
                    <a:pt x="6770" y="8258"/>
                  </a:lnTo>
                  <a:lnTo>
                    <a:pt x="6689" y="8423"/>
                  </a:lnTo>
                  <a:lnTo>
                    <a:pt x="6525" y="8343"/>
                  </a:lnTo>
                  <a:lnTo>
                    <a:pt x="6503" y="8388"/>
                  </a:lnTo>
                  <a:lnTo>
                    <a:pt x="6894" y="8581"/>
                  </a:lnTo>
                  <a:lnTo>
                    <a:pt x="6916" y="8535"/>
                  </a:lnTo>
                  <a:lnTo>
                    <a:pt x="6727" y="8442"/>
                  </a:lnTo>
                  <a:lnTo>
                    <a:pt x="6808" y="8277"/>
                  </a:lnTo>
                  <a:lnTo>
                    <a:pt x="6997" y="8370"/>
                  </a:lnTo>
                  <a:lnTo>
                    <a:pt x="7020" y="8324"/>
                  </a:lnTo>
                  <a:close/>
                  <a:moveTo>
                    <a:pt x="7185" y="7990"/>
                  </a:moveTo>
                  <a:lnTo>
                    <a:pt x="7144" y="7970"/>
                  </a:lnTo>
                  <a:lnTo>
                    <a:pt x="7059" y="8142"/>
                  </a:lnTo>
                  <a:lnTo>
                    <a:pt x="6916" y="8072"/>
                  </a:lnTo>
                  <a:lnTo>
                    <a:pt x="6982" y="7938"/>
                  </a:lnTo>
                  <a:lnTo>
                    <a:pt x="6942" y="7918"/>
                  </a:lnTo>
                  <a:lnTo>
                    <a:pt x="6876" y="8052"/>
                  </a:lnTo>
                  <a:lnTo>
                    <a:pt x="6748" y="7989"/>
                  </a:lnTo>
                  <a:lnTo>
                    <a:pt x="6827" y="7828"/>
                  </a:lnTo>
                  <a:lnTo>
                    <a:pt x="6791" y="7803"/>
                  </a:lnTo>
                  <a:lnTo>
                    <a:pt x="6686" y="8017"/>
                  </a:lnTo>
                  <a:lnTo>
                    <a:pt x="7077" y="8209"/>
                  </a:lnTo>
                  <a:lnTo>
                    <a:pt x="7185" y="7990"/>
                  </a:lnTo>
                  <a:close/>
                  <a:moveTo>
                    <a:pt x="7285" y="7687"/>
                  </a:moveTo>
                  <a:lnTo>
                    <a:pt x="7209" y="7841"/>
                  </a:lnTo>
                  <a:lnTo>
                    <a:pt x="6857" y="7668"/>
                  </a:lnTo>
                  <a:lnTo>
                    <a:pt x="6834" y="7715"/>
                  </a:lnTo>
                  <a:lnTo>
                    <a:pt x="7225" y="7907"/>
                  </a:lnTo>
                  <a:lnTo>
                    <a:pt x="7321" y="7712"/>
                  </a:lnTo>
                  <a:lnTo>
                    <a:pt x="7285" y="7687"/>
                  </a:lnTo>
                  <a:close/>
                  <a:moveTo>
                    <a:pt x="7544" y="7259"/>
                  </a:moveTo>
                  <a:lnTo>
                    <a:pt x="7137" y="7101"/>
                  </a:lnTo>
                  <a:lnTo>
                    <a:pt x="7103" y="7170"/>
                  </a:lnTo>
                  <a:lnTo>
                    <a:pt x="7326" y="7371"/>
                  </a:lnTo>
                  <a:cubicBezTo>
                    <a:pt x="7340" y="7383"/>
                    <a:pt x="7352" y="7393"/>
                    <a:pt x="7364" y="7402"/>
                  </a:cubicBezTo>
                  <a:cubicBezTo>
                    <a:pt x="7375" y="7410"/>
                    <a:pt x="7381" y="7415"/>
                    <a:pt x="7383" y="7416"/>
                  </a:cubicBezTo>
                  <a:cubicBezTo>
                    <a:pt x="7380" y="7416"/>
                    <a:pt x="7373" y="7414"/>
                    <a:pt x="7359" y="7410"/>
                  </a:cubicBezTo>
                  <a:cubicBezTo>
                    <a:pt x="7345" y="7406"/>
                    <a:pt x="7328" y="7402"/>
                    <a:pt x="7307" y="7398"/>
                  </a:cubicBezTo>
                  <a:lnTo>
                    <a:pt x="7017" y="7344"/>
                  </a:lnTo>
                  <a:lnTo>
                    <a:pt x="6983" y="7412"/>
                  </a:lnTo>
                  <a:lnTo>
                    <a:pt x="7357" y="7639"/>
                  </a:lnTo>
                  <a:lnTo>
                    <a:pt x="7379" y="7594"/>
                  </a:lnTo>
                  <a:lnTo>
                    <a:pt x="7112" y="7435"/>
                  </a:lnTo>
                  <a:cubicBezTo>
                    <a:pt x="7107" y="7432"/>
                    <a:pt x="7100" y="7428"/>
                    <a:pt x="7093" y="7424"/>
                  </a:cubicBezTo>
                  <a:cubicBezTo>
                    <a:pt x="7085" y="7420"/>
                    <a:pt x="7078" y="7415"/>
                    <a:pt x="7070" y="7411"/>
                  </a:cubicBezTo>
                  <a:cubicBezTo>
                    <a:pt x="7063" y="7407"/>
                    <a:pt x="7056" y="7403"/>
                    <a:pt x="7051" y="7400"/>
                  </a:cubicBezTo>
                  <a:cubicBezTo>
                    <a:pt x="7046" y="7397"/>
                    <a:pt x="7043" y="7396"/>
                    <a:pt x="7041" y="7395"/>
                  </a:cubicBezTo>
                  <a:cubicBezTo>
                    <a:pt x="7046" y="7396"/>
                    <a:pt x="7055" y="7398"/>
                    <a:pt x="7069" y="7401"/>
                  </a:cubicBezTo>
                  <a:cubicBezTo>
                    <a:pt x="7084" y="7404"/>
                    <a:pt x="7102" y="7408"/>
                    <a:pt x="7124" y="7412"/>
                  </a:cubicBezTo>
                  <a:lnTo>
                    <a:pt x="7440" y="7471"/>
                  </a:lnTo>
                  <a:lnTo>
                    <a:pt x="7460" y="7431"/>
                  </a:lnTo>
                  <a:lnTo>
                    <a:pt x="7209" y="7204"/>
                  </a:lnTo>
                  <a:cubicBezTo>
                    <a:pt x="7204" y="7199"/>
                    <a:pt x="7198" y="7194"/>
                    <a:pt x="7192" y="7189"/>
                  </a:cubicBezTo>
                  <a:cubicBezTo>
                    <a:pt x="7187" y="7184"/>
                    <a:pt x="7181" y="7180"/>
                    <a:pt x="7176" y="7175"/>
                  </a:cubicBezTo>
                  <a:cubicBezTo>
                    <a:pt x="7170" y="7171"/>
                    <a:pt x="7166" y="7167"/>
                    <a:pt x="7162" y="7164"/>
                  </a:cubicBezTo>
                  <a:cubicBezTo>
                    <a:pt x="7158" y="7161"/>
                    <a:pt x="7156" y="7159"/>
                    <a:pt x="7156" y="7158"/>
                  </a:cubicBezTo>
                  <a:cubicBezTo>
                    <a:pt x="7156" y="7159"/>
                    <a:pt x="7159" y="7160"/>
                    <a:pt x="7164" y="7162"/>
                  </a:cubicBezTo>
                  <a:cubicBezTo>
                    <a:pt x="7168" y="7164"/>
                    <a:pt x="7174" y="7166"/>
                    <a:pt x="7181" y="7170"/>
                  </a:cubicBezTo>
                  <a:cubicBezTo>
                    <a:pt x="7188" y="7173"/>
                    <a:pt x="7195" y="7176"/>
                    <a:pt x="7202" y="7179"/>
                  </a:cubicBezTo>
                  <a:cubicBezTo>
                    <a:pt x="7210" y="7182"/>
                    <a:pt x="7217" y="7185"/>
                    <a:pt x="7223" y="7188"/>
                  </a:cubicBezTo>
                  <a:lnTo>
                    <a:pt x="7521" y="7306"/>
                  </a:lnTo>
                  <a:lnTo>
                    <a:pt x="7544" y="7259"/>
                  </a:lnTo>
                  <a:close/>
                  <a:moveTo>
                    <a:pt x="7564" y="6848"/>
                  </a:moveTo>
                  <a:cubicBezTo>
                    <a:pt x="7549" y="6846"/>
                    <a:pt x="7535" y="6847"/>
                    <a:pt x="7522" y="6851"/>
                  </a:cubicBezTo>
                  <a:cubicBezTo>
                    <a:pt x="7509" y="6854"/>
                    <a:pt x="7497" y="6859"/>
                    <a:pt x="7486" y="6867"/>
                  </a:cubicBezTo>
                  <a:cubicBezTo>
                    <a:pt x="7475" y="6874"/>
                    <a:pt x="7463" y="6885"/>
                    <a:pt x="7449" y="6900"/>
                  </a:cubicBezTo>
                  <a:lnTo>
                    <a:pt x="7413" y="6938"/>
                  </a:lnTo>
                  <a:cubicBezTo>
                    <a:pt x="7394" y="6958"/>
                    <a:pt x="7377" y="6970"/>
                    <a:pt x="7362" y="6975"/>
                  </a:cubicBezTo>
                  <a:cubicBezTo>
                    <a:pt x="7348" y="6981"/>
                    <a:pt x="7333" y="6980"/>
                    <a:pt x="7317" y="6972"/>
                  </a:cubicBezTo>
                  <a:cubicBezTo>
                    <a:pt x="7297" y="6962"/>
                    <a:pt x="7284" y="6947"/>
                    <a:pt x="7280" y="6928"/>
                  </a:cubicBezTo>
                  <a:cubicBezTo>
                    <a:pt x="7275" y="6909"/>
                    <a:pt x="7279" y="6887"/>
                    <a:pt x="7291" y="6862"/>
                  </a:cubicBezTo>
                  <a:cubicBezTo>
                    <a:pt x="7295" y="6854"/>
                    <a:pt x="7299" y="6846"/>
                    <a:pt x="7304" y="6839"/>
                  </a:cubicBezTo>
                  <a:cubicBezTo>
                    <a:pt x="7309" y="6832"/>
                    <a:pt x="7315" y="6826"/>
                    <a:pt x="7321" y="6820"/>
                  </a:cubicBezTo>
                  <a:cubicBezTo>
                    <a:pt x="7327" y="6814"/>
                    <a:pt x="7334" y="6808"/>
                    <a:pt x="7342" y="6802"/>
                  </a:cubicBezTo>
                  <a:cubicBezTo>
                    <a:pt x="7351" y="6796"/>
                    <a:pt x="7360" y="6790"/>
                    <a:pt x="7371" y="6783"/>
                  </a:cubicBezTo>
                  <a:lnTo>
                    <a:pt x="7347" y="6746"/>
                  </a:lnTo>
                  <a:cubicBezTo>
                    <a:pt x="7304" y="6771"/>
                    <a:pt x="7272" y="6804"/>
                    <a:pt x="7252" y="6845"/>
                  </a:cubicBezTo>
                  <a:cubicBezTo>
                    <a:pt x="7242" y="6864"/>
                    <a:pt x="7236" y="6883"/>
                    <a:pt x="7234" y="6901"/>
                  </a:cubicBezTo>
                  <a:cubicBezTo>
                    <a:pt x="7232" y="6920"/>
                    <a:pt x="7233" y="6937"/>
                    <a:pt x="7238" y="6953"/>
                  </a:cubicBezTo>
                  <a:cubicBezTo>
                    <a:pt x="7242" y="6968"/>
                    <a:pt x="7250" y="6983"/>
                    <a:pt x="7260" y="6996"/>
                  </a:cubicBezTo>
                  <a:cubicBezTo>
                    <a:pt x="7271" y="7008"/>
                    <a:pt x="7285" y="7019"/>
                    <a:pt x="7302" y="7027"/>
                  </a:cubicBezTo>
                  <a:cubicBezTo>
                    <a:pt x="7327" y="7040"/>
                    <a:pt x="7352" y="7042"/>
                    <a:pt x="7377" y="7034"/>
                  </a:cubicBezTo>
                  <a:cubicBezTo>
                    <a:pt x="7389" y="7030"/>
                    <a:pt x="7400" y="7025"/>
                    <a:pt x="7410" y="7017"/>
                  </a:cubicBezTo>
                  <a:cubicBezTo>
                    <a:pt x="7420" y="7009"/>
                    <a:pt x="7432" y="6997"/>
                    <a:pt x="7446" y="6982"/>
                  </a:cubicBezTo>
                  <a:lnTo>
                    <a:pt x="7478" y="6948"/>
                  </a:lnTo>
                  <a:cubicBezTo>
                    <a:pt x="7515" y="6908"/>
                    <a:pt x="7551" y="6897"/>
                    <a:pt x="7585" y="6914"/>
                  </a:cubicBezTo>
                  <a:cubicBezTo>
                    <a:pt x="7608" y="6925"/>
                    <a:pt x="7622" y="6944"/>
                    <a:pt x="7627" y="6969"/>
                  </a:cubicBezTo>
                  <a:cubicBezTo>
                    <a:pt x="7630" y="6981"/>
                    <a:pt x="7630" y="6992"/>
                    <a:pt x="7628" y="7002"/>
                  </a:cubicBezTo>
                  <a:cubicBezTo>
                    <a:pt x="7626" y="7013"/>
                    <a:pt x="7621" y="7025"/>
                    <a:pt x="7614" y="7040"/>
                  </a:cubicBezTo>
                  <a:cubicBezTo>
                    <a:pt x="7604" y="7060"/>
                    <a:pt x="7592" y="7077"/>
                    <a:pt x="7579" y="7091"/>
                  </a:cubicBezTo>
                  <a:cubicBezTo>
                    <a:pt x="7565" y="7105"/>
                    <a:pt x="7548" y="7118"/>
                    <a:pt x="7529" y="7128"/>
                  </a:cubicBezTo>
                  <a:lnTo>
                    <a:pt x="7555" y="7167"/>
                  </a:lnTo>
                  <a:cubicBezTo>
                    <a:pt x="7577" y="7153"/>
                    <a:pt x="7595" y="7138"/>
                    <a:pt x="7611" y="7120"/>
                  </a:cubicBezTo>
                  <a:cubicBezTo>
                    <a:pt x="7627" y="7103"/>
                    <a:pt x="7640" y="7082"/>
                    <a:pt x="7652" y="7059"/>
                  </a:cubicBezTo>
                  <a:cubicBezTo>
                    <a:pt x="7661" y="7041"/>
                    <a:pt x="7667" y="7024"/>
                    <a:pt x="7670" y="7008"/>
                  </a:cubicBezTo>
                  <a:cubicBezTo>
                    <a:pt x="7673" y="6993"/>
                    <a:pt x="7673" y="6976"/>
                    <a:pt x="7671" y="6959"/>
                  </a:cubicBezTo>
                  <a:cubicBezTo>
                    <a:pt x="7669" y="6936"/>
                    <a:pt x="7661" y="6916"/>
                    <a:pt x="7649" y="6899"/>
                  </a:cubicBezTo>
                  <a:cubicBezTo>
                    <a:pt x="7637" y="6881"/>
                    <a:pt x="7622" y="6868"/>
                    <a:pt x="7604" y="6859"/>
                  </a:cubicBezTo>
                  <a:cubicBezTo>
                    <a:pt x="7592" y="6853"/>
                    <a:pt x="7578" y="6849"/>
                    <a:pt x="7564" y="6848"/>
                  </a:cubicBezTo>
                  <a:close/>
                  <a:moveTo>
                    <a:pt x="7678" y="6658"/>
                  </a:moveTo>
                  <a:lnTo>
                    <a:pt x="7635" y="6636"/>
                  </a:lnTo>
                  <a:lnTo>
                    <a:pt x="7581" y="6745"/>
                  </a:lnTo>
                  <a:lnTo>
                    <a:pt x="7624" y="6766"/>
                  </a:lnTo>
                  <a:lnTo>
                    <a:pt x="7678" y="6658"/>
                  </a:lnTo>
                  <a:close/>
                  <a:moveTo>
                    <a:pt x="7594" y="6170"/>
                  </a:moveTo>
                  <a:lnTo>
                    <a:pt x="7572" y="6216"/>
                  </a:lnTo>
                  <a:lnTo>
                    <a:pt x="7844" y="6350"/>
                  </a:lnTo>
                  <a:cubicBezTo>
                    <a:pt x="7857" y="6357"/>
                    <a:pt x="7868" y="6363"/>
                    <a:pt x="7877" y="6370"/>
                  </a:cubicBezTo>
                  <a:cubicBezTo>
                    <a:pt x="7885" y="6376"/>
                    <a:pt x="7892" y="6384"/>
                    <a:pt x="7898" y="6395"/>
                  </a:cubicBezTo>
                  <a:cubicBezTo>
                    <a:pt x="7903" y="6405"/>
                    <a:pt x="7904" y="6417"/>
                    <a:pt x="7903" y="6431"/>
                  </a:cubicBezTo>
                  <a:cubicBezTo>
                    <a:pt x="7901" y="6445"/>
                    <a:pt x="7896" y="6460"/>
                    <a:pt x="7888" y="6476"/>
                  </a:cubicBezTo>
                  <a:cubicBezTo>
                    <a:pt x="7882" y="6488"/>
                    <a:pt x="7876" y="6498"/>
                    <a:pt x="7869" y="6506"/>
                  </a:cubicBezTo>
                  <a:cubicBezTo>
                    <a:pt x="7863" y="6513"/>
                    <a:pt x="7856" y="6519"/>
                    <a:pt x="7849" y="6524"/>
                  </a:cubicBezTo>
                  <a:cubicBezTo>
                    <a:pt x="7843" y="6528"/>
                    <a:pt x="7836" y="6531"/>
                    <a:pt x="7830" y="6532"/>
                  </a:cubicBezTo>
                  <a:cubicBezTo>
                    <a:pt x="7823" y="6533"/>
                    <a:pt x="7818" y="6534"/>
                    <a:pt x="7813" y="6534"/>
                  </a:cubicBezTo>
                  <a:cubicBezTo>
                    <a:pt x="7805" y="6533"/>
                    <a:pt x="7796" y="6531"/>
                    <a:pt x="7785" y="6527"/>
                  </a:cubicBezTo>
                  <a:cubicBezTo>
                    <a:pt x="7773" y="6522"/>
                    <a:pt x="7763" y="6518"/>
                    <a:pt x="7753" y="6513"/>
                  </a:cubicBezTo>
                  <a:lnTo>
                    <a:pt x="7490" y="6383"/>
                  </a:lnTo>
                  <a:lnTo>
                    <a:pt x="7467" y="6429"/>
                  </a:lnTo>
                  <a:lnTo>
                    <a:pt x="7747" y="6567"/>
                  </a:lnTo>
                  <a:cubicBezTo>
                    <a:pt x="7756" y="6572"/>
                    <a:pt x="7766" y="6576"/>
                    <a:pt x="7778" y="6580"/>
                  </a:cubicBezTo>
                  <a:cubicBezTo>
                    <a:pt x="7790" y="6585"/>
                    <a:pt x="7802" y="6587"/>
                    <a:pt x="7814" y="6586"/>
                  </a:cubicBezTo>
                  <a:cubicBezTo>
                    <a:pt x="7838" y="6585"/>
                    <a:pt x="7860" y="6578"/>
                    <a:pt x="7878" y="6564"/>
                  </a:cubicBezTo>
                  <a:cubicBezTo>
                    <a:pt x="7896" y="6550"/>
                    <a:pt x="7912" y="6528"/>
                    <a:pt x="7927" y="6498"/>
                  </a:cubicBezTo>
                  <a:cubicBezTo>
                    <a:pt x="7939" y="6474"/>
                    <a:pt x="7946" y="6453"/>
                    <a:pt x="7949" y="6434"/>
                  </a:cubicBezTo>
                  <a:cubicBezTo>
                    <a:pt x="7952" y="6416"/>
                    <a:pt x="7952" y="6398"/>
                    <a:pt x="7947" y="6381"/>
                  </a:cubicBezTo>
                  <a:cubicBezTo>
                    <a:pt x="7943" y="6364"/>
                    <a:pt x="7936" y="6351"/>
                    <a:pt x="7924" y="6340"/>
                  </a:cubicBezTo>
                  <a:cubicBezTo>
                    <a:pt x="7913" y="6330"/>
                    <a:pt x="7896" y="6319"/>
                    <a:pt x="7872" y="6307"/>
                  </a:cubicBezTo>
                  <a:lnTo>
                    <a:pt x="7594" y="6170"/>
                  </a:lnTo>
                  <a:close/>
                  <a:moveTo>
                    <a:pt x="8169" y="5990"/>
                  </a:moveTo>
                  <a:lnTo>
                    <a:pt x="7778" y="5798"/>
                  </a:lnTo>
                  <a:lnTo>
                    <a:pt x="7755" y="5844"/>
                  </a:lnTo>
                  <a:lnTo>
                    <a:pt x="7968" y="5947"/>
                  </a:lnTo>
                  <a:cubicBezTo>
                    <a:pt x="7982" y="5954"/>
                    <a:pt x="7997" y="5960"/>
                    <a:pt x="8011" y="5967"/>
                  </a:cubicBezTo>
                  <a:cubicBezTo>
                    <a:pt x="8025" y="5973"/>
                    <a:pt x="8038" y="5979"/>
                    <a:pt x="8050" y="5984"/>
                  </a:cubicBezTo>
                  <a:cubicBezTo>
                    <a:pt x="8061" y="5988"/>
                    <a:pt x="8071" y="5992"/>
                    <a:pt x="8078" y="5995"/>
                  </a:cubicBezTo>
                  <a:cubicBezTo>
                    <a:pt x="8086" y="5998"/>
                    <a:pt x="8090" y="6000"/>
                    <a:pt x="8090" y="6000"/>
                  </a:cubicBezTo>
                  <a:cubicBezTo>
                    <a:pt x="8089" y="6000"/>
                    <a:pt x="8085" y="6000"/>
                    <a:pt x="8079" y="5999"/>
                  </a:cubicBezTo>
                  <a:cubicBezTo>
                    <a:pt x="8073" y="5999"/>
                    <a:pt x="8065" y="5998"/>
                    <a:pt x="8056" y="5998"/>
                  </a:cubicBezTo>
                  <a:cubicBezTo>
                    <a:pt x="8047" y="5997"/>
                    <a:pt x="8036" y="5997"/>
                    <a:pt x="8025" y="5996"/>
                  </a:cubicBezTo>
                  <a:cubicBezTo>
                    <a:pt x="8013" y="5996"/>
                    <a:pt x="8002" y="5996"/>
                    <a:pt x="7990" y="5996"/>
                  </a:cubicBezTo>
                  <a:lnTo>
                    <a:pt x="7677" y="6003"/>
                  </a:lnTo>
                  <a:lnTo>
                    <a:pt x="7650" y="6057"/>
                  </a:lnTo>
                  <a:lnTo>
                    <a:pt x="8041" y="6250"/>
                  </a:lnTo>
                  <a:lnTo>
                    <a:pt x="8065" y="6201"/>
                  </a:lnTo>
                  <a:lnTo>
                    <a:pt x="7837" y="6092"/>
                  </a:lnTo>
                  <a:cubicBezTo>
                    <a:pt x="7825" y="6086"/>
                    <a:pt x="7814" y="6081"/>
                    <a:pt x="7802" y="6076"/>
                  </a:cubicBezTo>
                  <a:cubicBezTo>
                    <a:pt x="7790" y="6071"/>
                    <a:pt x="7780" y="6066"/>
                    <a:pt x="7770" y="6062"/>
                  </a:cubicBezTo>
                  <a:cubicBezTo>
                    <a:pt x="7760" y="6058"/>
                    <a:pt x="7751" y="6054"/>
                    <a:pt x="7744" y="6051"/>
                  </a:cubicBezTo>
                  <a:cubicBezTo>
                    <a:pt x="7737" y="6048"/>
                    <a:pt x="7731" y="6046"/>
                    <a:pt x="7728" y="6045"/>
                  </a:cubicBezTo>
                  <a:cubicBezTo>
                    <a:pt x="7732" y="6046"/>
                    <a:pt x="7738" y="6046"/>
                    <a:pt x="7745" y="6046"/>
                  </a:cubicBezTo>
                  <a:cubicBezTo>
                    <a:pt x="7753" y="6047"/>
                    <a:pt x="7761" y="6047"/>
                    <a:pt x="7772" y="6047"/>
                  </a:cubicBezTo>
                  <a:cubicBezTo>
                    <a:pt x="7782" y="6047"/>
                    <a:pt x="7793" y="6047"/>
                    <a:pt x="7805" y="6047"/>
                  </a:cubicBezTo>
                  <a:cubicBezTo>
                    <a:pt x="7817" y="6047"/>
                    <a:pt x="7830" y="6047"/>
                    <a:pt x="7844" y="6047"/>
                  </a:cubicBezTo>
                  <a:lnTo>
                    <a:pt x="8144" y="6039"/>
                  </a:lnTo>
                  <a:lnTo>
                    <a:pt x="8169" y="5990"/>
                  </a:lnTo>
                  <a:close/>
                  <a:moveTo>
                    <a:pt x="8247" y="5830"/>
                  </a:moveTo>
                  <a:lnTo>
                    <a:pt x="7856" y="5638"/>
                  </a:lnTo>
                  <a:lnTo>
                    <a:pt x="7834" y="5683"/>
                  </a:lnTo>
                  <a:lnTo>
                    <a:pt x="8225" y="5876"/>
                  </a:lnTo>
                  <a:lnTo>
                    <a:pt x="8247" y="5830"/>
                  </a:lnTo>
                  <a:close/>
                  <a:moveTo>
                    <a:pt x="8047" y="5250"/>
                  </a:moveTo>
                  <a:lnTo>
                    <a:pt x="8023" y="5298"/>
                  </a:lnTo>
                  <a:lnTo>
                    <a:pt x="8240" y="5509"/>
                  </a:lnTo>
                  <a:cubicBezTo>
                    <a:pt x="8258" y="5526"/>
                    <a:pt x="8273" y="5540"/>
                    <a:pt x="8285" y="5551"/>
                  </a:cubicBezTo>
                  <a:cubicBezTo>
                    <a:pt x="8297" y="5562"/>
                    <a:pt x="8305" y="5569"/>
                    <a:pt x="8309" y="5573"/>
                  </a:cubicBezTo>
                  <a:cubicBezTo>
                    <a:pt x="8307" y="5572"/>
                    <a:pt x="8302" y="5571"/>
                    <a:pt x="8295" y="5569"/>
                  </a:cubicBezTo>
                  <a:cubicBezTo>
                    <a:pt x="8288" y="5567"/>
                    <a:pt x="8280" y="5565"/>
                    <a:pt x="8271" y="5563"/>
                  </a:cubicBezTo>
                  <a:cubicBezTo>
                    <a:pt x="8261" y="5561"/>
                    <a:pt x="8252" y="5559"/>
                    <a:pt x="8242" y="5558"/>
                  </a:cubicBezTo>
                  <a:cubicBezTo>
                    <a:pt x="8231" y="5556"/>
                    <a:pt x="8221" y="5554"/>
                    <a:pt x="8211" y="5553"/>
                  </a:cubicBezTo>
                  <a:lnTo>
                    <a:pt x="7919" y="5511"/>
                  </a:lnTo>
                  <a:lnTo>
                    <a:pt x="7894" y="5562"/>
                  </a:lnTo>
                  <a:lnTo>
                    <a:pt x="8349" y="5623"/>
                  </a:lnTo>
                  <a:lnTo>
                    <a:pt x="8372" y="5577"/>
                  </a:lnTo>
                  <a:lnTo>
                    <a:pt x="8047" y="5250"/>
                  </a:lnTo>
                  <a:close/>
                  <a:moveTo>
                    <a:pt x="8583" y="5148"/>
                  </a:moveTo>
                  <a:lnTo>
                    <a:pt x="8543" y="5128"/>
                  </a:lnTo>
                  <a:lnTo>
                    <a:pt x="8458" y="5300"/>
                  </a:lnTo>
                  <a:lnTo>
                    <a:pt x="8315" y="5230"/>
                  </a:lnTo>
                  <a:lnTo>
                    <a:pt x="8381" y="5096"/>
                  </a:lnTo>
                  <a:lnTo>
                    <a:pt x="8340" y="5076"/>
                  </a:lnTo>
                  <a:lnTo>
                    <a:pt x="8274" y="5210"/>
                  </a:lnTo>
                  <a:lnTo>
                    <a:pt x="8146" y="5147"/>
                  </a:lnTo>
                  <a:lnTo>
                    <a:pt x="8225" y="4986"/>
                  </a:lnTo>
                  <a:lnTo>
                    <a:pt x="8189" y="4961"/>
                  </a:lnTo>
                  <a:lnTo>
                    <a:pt x="8084" y="5175"/>
                  </a:lnTo>
                  <a:lnTo>
                    <a:pt x="8475" y="5367"/>
                  </a:lnTo>
                  <a:lnTo>
                    <a:pt x="8583" y="5148"/>
                  </a:lnTo>
                  <a:close/>
                  <a:moveTo>
                    <a:pt x="8746" y="4817"/>
                  </a:moveTo>
                  <a:lnTo>
                    <a:pt x="8710" y="4821"/>
                  </a:lnTo>
                  <a:cubicBezTo>
                    <a:pt x="8693" y="4824"/>
                    <a:pt x="8675" y="4826"/>
                    <a:pt x="8657" y="4829"/>
                  </a:cubicBezTo>
                  <a:cubicBezTo>
                    <a:pt x="8638" y="4831"/>
                    <a:pt x="8620" y="4834"/>
                    <a:pt x="8604" y="4836"/>
                  </a:cubicBezTo>
                  <a:cubicBezTo>
                    <a:pt x="8587" y="4838"/>
                    <a:pt x="8576" y="4840"/>
                    <a:pt x="8569" y="4841"/>
                  </a:cubicBezTo>
                  <a:cubicBezTo>
                    <a:pt x="8559" y="4843"/>
                    <a:pt x="8548" y="4846"/>
                    <a:pt x="8536" y="4849"/>
                  </a:cubicBezTo>
                  <a:cubicBezTo>
                    <a:pt x="8524" y="4852"/>
                    <a:pt x="8514" y="4855"/>
                    <a:pt x="8506" y="4859"/>
                  </a:cubicBezTo>
                  <a:lnTo>
                    <a:pt x="8508" y="4853"/>
                  </a:lnTo>
                  <a:cubicBezTo>
                    <a:pt x="8516" y="4838"/>
                    <a:pt x="8521" y="4822"/>
                    <a:pt x="8522" y="4807"/>
                  </a:cubicBezTo>
                  <a:cubicBezTo>
                    <a:pt x="8523" y="4792"/>
                    <a:pt x="8521" y="4777"/>
                    <a:pt x="8516" y="4764"/>
                  </a:cubicBezTo>
                  <a:cubicBezTo>
                    <a:pt x="8511" y="4750"/>
                    <a:pt x="8503" y="4738"/>
                    <a:pt x="8493" y="4726"/>
                  </a:cubicBezTo>
                  <a:cubicBezTo>
                    <a:pt x="8482" y="4715"/>
                    <a:pt x="8468" y="4705"/>
                    <a:pt x="8452" y="4697"/>
                  </a:cubicBezTo>
                  <a:cubicBezTo>
                    <a:pt x="8442" y="4692"/>
                    <a:pt x="8432" y="4689"/>
                    <a:pt x="8422" y="4687"/>
                  </a:cubicBezTo>
                  <a:cubicBezTo>
                    <a:pt x="8413" y="4685"/>
                    <a:pt x="8403" y="4684"/>
                    <a:pt x="8395" y="4685"/>
                  </a:cubicBezTo>
                  <a:cubicBezTo>
                    <a:pt x="8386" y="4685"/>
                    <a:pt x="8378" y="4686"/>
                    <a:pt x="8371" y="4688"/>
                  </a:cubicBezTo>
                  <a:cubicBezTo>
                    <a:pt x="8363" y="4690"/>
                    <a:pt x="8357" y="4693"/>
                    <a:pt x="8351" y="4695"/>
                  </a:cubicBezTo>
                  <a:cubicBezTo>
                    <a:pt x="8345" y="4698"/>
                    <a:pt x="8339" y="4702"/>
                    <a:pt x="8333" y="4706"/>
                  </a:cubicBezTo>
                  <a:cubicBezTo>
                    <a:pt x="8327" y="4710"/>
                    <a:pt x="8321" y="4716"/>
                    <a:pt x="8315" y="4723"/>
                  </a:cubicBezTo>
                  <a:cubicBezTo>
                    <a:pt x="8309" y="4729"/>
                    <a:pt x="8303" y="4737"/>
                    <a:pt x="8297" y="4747"/>
                  </a:cubicBezTo>
                  <a:cubicBezTo>
                    <a:pt x="8291" y="4757"/>
                    <a:pt x="8284" y="4768"/>
                    <a:pt x="8278" y="4782"/>
                  </a:cubicBezTo>
                  <a:lnTo>
                    <a:pt x="8233" y="4873"/>
                  </a:lnTo>
                  <a:lnTo>
                    <a:pt x="8624" y="5065"/>
                  </a:lnTo>
                  <a:lnTo>
                    <a:pt x="8646" y="5020"/>
                  </a:lnTo>
                  <a:lnTo>
                    <a:pt x="8469" y="4933"/>
                  </a:lnTo>
                  <a:cubicBezTo>
                    <a:pt x="8475" y="4923"/>
                    <a:pt x="8480" y="4916"/>
                    <a:pt x="8487" y="4911"/>
                  </a:cubicBezTo>
                  <a:cubicBezTo>
                    <a:pt x="8493" y="4907"/>
                    <a:pt x="8503" y="4903"/>
                    <a:pt x="8516" y="4901"/>
                  </a:cubicBezTo>
                  <a:cubicBezTo>
                    <a:pt x="8539" y="4896"/>
                    <a:pt x="8561" y="4892"/>
                    <a:pt x="8582" y="4888"/>
                  </a:cubicBezTo>
                  <a:cubicBezTo>
                    <a:pt x="8603" y="4885"/>
                    <a:pt x="8622" y="4882"/>
                    <a:pt x="8639" y="4880"/>
                  </a:cubicBezTo>
                  <a:cubicBezTo>
                    <a:pt x="8657" y="4878"/>
                    <a:pt x="8672" y="4877"/>
                    <a:pt x="8685" y="4876"/>
                  </a:cubicBezTo>
                  <a:cubicBezTo>
                    <a:pt x="8699" y="4875"/>
                    <a:pt x="8709" y="4875"/>
                    <a:pt x="8717" y="4875"/>
                  </a:cubicBezTo>
                  <a:lnTo>
                    <a:pt x="8746" y="4817"/>
                  </a:lnTo>
                  <a:close/>
                  <a:moveTo>
                    <a:pt x="8460" y="4768"/>
                  </a:moveTo>
                  <a:cubicBezTo>
                    <a:pt x="8468" y="4776"/>
                    <a:pt x="8474" y="4785"/>
                    <a:pt x="8477" y="4795"/>
                  </a:cubicBezTo>
                  <a:cubicBezTo>
                    <a:pt x="8480" y="4806"/>
                    <a:pt x="8480" y="4817"/>
                    <a:pt x="8478" y="4830"/>
                  </a:cubicBezTo>
                  <a:cubicBezTo>
                    <a:pt x="8476" y="4843"/>
                    <a:pt x="8470" y="4858"/>
                    <a:pt x="8462" y="4875"/>
                  </a:cubicBezTo>
                  <a:lnTo>
                    <a:pt x="8440" y="4918"/>
                  </a:lnTo>
                  <a:lnTo>
                    <a:pt x="8295" y="4847"/>
                  </a:lnTo>
                  <a:lnTo>
                    <a:pt x="8318" y="4800"/>
                  </a:lnTo>
                  <a:cubicBezTo>
                    <a:pt x="8323" y="4789"/>
                    <a:pt x="8328" y="4780"/>
                    <a:pt x="8333" y="4773"/>
                  </a:cubicBezTo>
                  <a:cubicBezTo>
                    <a:pt x="8338" y="4766"/>
                    <a:pt x="8344" y="4760"/>
                    <a:pt x="8350" y="4755"/>
                  </a:cubicBezTo>
                  <a:cubicBezTo>
                    <a:pt x="8360" y="4746"/>
                    <a:pt x="8372" y="4741"/>
                    <a:pt x="8386" y="4739"/>
                  </a:cubicBezTo>
                  <a:cubicBezTo>
                    <a:pt x="8401" y="4737"/>
                    <a:pt x="8415" y="4739"/>
                    <a:pt x="8428" y="4746"/>
                  </a:cubicBezTo>
                  <a:cubicBezTo>
                    <a:pt x="8441" y="4752"/>
                    <a:pt x="8451" y="4759"/>
                    <a:pt x="8460" y="4768"/>
                  </a:cubicBezTo>
                  <a:close/>
                  <a:moveTo>
                    <a:pt x="8757" y="4423"/>
                  </a:moveTo>
                  <a:cubicBezTo>
                    <a:pt x="8742" y="4421"/>
                    <a:pt x="8728" y="4422"/>
                    <a:pt x="8715" y="4426"/>
                  </a:cubicBezTo>
                  <a:cubicBezTo>
                    <a:pt x="8702" y="4429"/>
                    <a:pt x="8690" y="4435"/>
                    <a:pt x="8679" y="4442"/>
                  </a:cubicBezTo>
                  <a:cubicBezTo>
                    <a:pt x="8668" y="4449"/>
                    <a:pt x="8656" y="4460"/>
                    <a:pt x="8642" y="4475"/>
                  </a:cubicBezTo>
                  <a:lnTo>
                    <a:pt x="8606" y="4513"/>
                  </a:lnTo>
                  <a:cubicBezTo>
                    <a:pt x="8587" y="4533"/>
                    <a:pt x="8570" y="4545"/>
                    <a:pt x="8556" y="4550"/>
                  </a:cubicBezTo>
                  <a:cubicBezTo>
                    <a:pt x="8541" y="4556"/>
                    <a:pt x="8526" y="4555"/>
                    <a:pt x="8510" y="4547"/>
                  </a:cubicBezTo>
                  <a:cubicBezTo>
                    <a:pt x="8490" y="4537"/>
                    <a:pt x="8477" y="4522"/>
                    <a:pt x="8473" y="4503"/>
                  </a:cubicBezTo>
                  <a:cubicBezTo>
                    <a:pt x="8468" y="4484"/>
                    <a:pt x="8472" y="4462"/>
                    <a:pt x="8484" y="4437"/>
                  </a:cubicBezTo>
                  <a:cubicBezTo>
                    <a:pt x="8488" y="4429"/>
                    <a:pt x="8493" y="4421"/>
                    <a:pt x="8497" y="4414"/>
                  </a:cubicBezTo>
                  <a:cubicBezTo>
                    <a:pt x="8502" y="4407"/>
                    <a:pt x="8508" y="4401"/>
                    <a:pt x="8514" y="4395"/>
                  </a:cubicBezTo>
                  <a:cubicBezTo>
                    <a:pt x="8520" y="4389"/>
                    <a:pt x="8528" y="4383"/>
                    <a:pt x="8536" y="4377"/>
                  </a:cubicBezTo>
                  <a:cubicBezTo>
                    <a:pt x="8544" y="4371"/>
                    <a:pt x="8553" y="4365"/>
                    <a:pt x="8564" y="4358"/>
                  </a:cubicBezTo>
                  <a:lnTo>
                    <a:pt x="8540" y="4321"/>
                  </a:lnTo>
                  <a:cubicBezTo>
                    <a:pt x="8497" y="4346"/>
                    <a:pt x="8465" y="4379"/>
                    <a:pt x="8445" y="4421"/>
                  </a:cubicBezTo>
                  <a:cubicBezTo>
                    <a:pt x="8435" y="4440"/>
                    <a:pt x="8430" y="4458"/>
                    <a:pt x="8427" y="4476"/>
                  </a:cubicBezTo>
                  <a:cubicBezTo>
                    <a:pt x="8425" y="4495"/>
                    <a:pt x="8426" y="4512"/>
                    <a:pt x="8431" y="4528"/>
                  </a:cubicBezTo>
                  <a:cubicBezTo>
                    <a:pt x="8435" y="4544"/>
                    <a:pt x="8443" y="4558"/>
                    <a:pt x="8454" y="4571"/>
                  </a:cubicBezTo>
                  <a:cubicBezTo>
                    <a:pt x="8464" y="4584"/>
                    <a:pt x="8478" y="4594"/>
                    <a:pt x="8495" y="4602"/>
                  </a:cubicBezTo>
                  <a:cubicBezTo>
                    <a:pt x="8520" y="4615"/>
                    <a:pt x="8545" y="4617"/>
                    <a:pt x="8571" y="4609"/>
                  </a:cubicBezTo>
                  <a:cubicBezTo>
                    <a:pt x="8582" y="4606"/>
                    <a:pt x="8593" y="4600"/>
                    <a:pt x="8603" y="4592"/>
                  </a:cubicBezTo>
                  <a:cubicBezTo>
                    <a:pt x="8613" y="4584"/>
                    <a:pt x="8625" y="4572"/>
                    <a:pt x="8640" y="4557"/>
                  </a:cubicBezTo>
                  <a:lnTo>
                    <a:pt x="8671" y="4523"/>
                  </a:lnTo>
                  <a:cubicBezTo>
                    <a:pt x="8708" y="4484"/>
                    <a:pt x="8744" y="4472"/>
                    <a:pt x="8778" y="4489"/>
                  </a:cubicBezTo>
                  <a:cubicBezTo>
                    <a:pt x="8801" y="4501"/>
                    <a:pt x="8816" y="4519"/>
                    <a:pt x="8820" y="4545"/>
                  </a:cubicBezTo>
                  <a:cubicBezTo>
                    <a:pt x="8823" y="4556"/>
                    <a:pt x="8823" y="4567"/>
                    <a:pt x="8821" y="4577"/>
                  </a:cubicBezTo>
                  <a:cubicBezTo>
                    <a:pt x="8819" y="4588"/>
                    <a:pt x="8814" y="4600"/>
                    <a:pt x="8807" y="4615"/>
                  </a:cubicBezTo>
                  <a:cubicBezTo>
                    <a:pt x="8797" y="4635"/>
                    <a:pt x="8786" y="4652"/>
                    <a:pt x="8772" y="4666"/>
                  </a:cubicBezTo>
                  <a:cubicBezTo>
                    <a:pt x="8758" y="4680"/>
                    <a:pt x="8742" y="4693"/>
                    <a:pt x="8722" y="4703"/>
                  </a:cubicBezTo>
                  <a:lnTo>
                    <a:pt x="8748" y="4742"/>
                  </a:lnTo>
                  <a:cubicBezTo>
                    <a:pt x="8770" y="4728"/>
                    <a:pt x="8788" y="4713"/>
                    <a:pt x="8804" y="4695"/>
                  </a:cubicBezTo>
                  <a:cubicBezTo>
                    <a:pt x="8820" y="4678"/>
                    <a:pt x="8833" y="4657"/>
                    <a:pt x="8845" y="4634"/>
                  </a:cubicBezTo>
                  <a:cubicBezTo>
                    <a:pt x="8854" y="4616"/>
                    <a:pt x="8860" y="4599"/>
                    <a:pt x="8863" y="4583"/>
                  </a:cubicBezTo>
                  <a:cubicBezTo>
                    <a:pt x="8866" y="4568"/>
                    <a:pt x="8866" y="4551"/>
                    <a:pt x="8864" y="4534"/>
                  </a:cubicBezTo>
                  <a:cubicBezTo>
                    <a:pt x="8862" y="4511"/>
                    <a:pt x="8855" y="4491"/>
                    <a:pt x="8843" y="4474"/>
                  </a:cubicBezTo>
                  <a:cubicBezTo>
                    <a:pt x="8830" y="4456"/>
                    <a:pt x="8815" y="4443"/>
                    <a:pt x="8797" y="4434"/>
                  </a:cubicBezTo>
                  <a:cubicBezTo>
                    <a:pt x="8785" y="4428"/>
                    <a:pt x="8771" y="4424"/>
                    <a:pt x="8757" y="4423"/>
                  </a:cubicBezTo>
                  <a:close/>
                  <a:moveTo>
                    <a:pt x="8974" y="4352"/>
                  </a:moveTo>
                  <a:lnTo>
                    <a:pt x="8584" y="4160"/>
                  </a:lnTo>
                  <a:lnTo>
                    <a:pt x="8561" y="4206"/>
                  </a:lnTo>
                  <a:lnTo>
                    <a:pt x="8952" y="4398"/>
                  </a:lnTo>
                  <a:lnTo>
                    <a:pt x="8974" y="4352"/>
                  </a:lnTo>
                  <a:close/>
                  <a:moveTo>
                    <a:pt x="8730" y="3674"/>
                  </a:moveTo>
                  <a:cubicBezTo>
                    <a:pt x="8721" y="3677"/>
                    <a:pt x="8715" y="3683"/>
                    <a:pt x="8711" y="3691"/>
                  </a:cubicBezTo>
                  <a:cubicBezTo>
                    <a:pt x="8707" y="3699"/>
                    <a:pt x="8706" y="3707"/>
                    <a:pt x="8709" y="3716"/>
                  </a:cubicBezTo>
                  <a:cubicBezTo>
                    <a:pt x="8712" y="3724"/>
                    <a:pt x="8718" y="3731"/>
                    <a:pt x="8726" y="3735"/>
                  </a:cubicBezTo>
                  <a:cubicBezTo>
                    <a:pt x="8734" y="3739"/>
                    <a:pt x="8743" y="3739"/>
                    <a:pt x="8751" y="3736"/>
                  </a:cubicBezTo>
                  <a:cubicBezTo>
                    <a:pt x="8760" y="3734"/>
                    <a:pt x="8766" y="3728"/>
                    <a:pt x="8770" y="3720"/>
                  </a:cubicBezTo>
                  <a:cubicBezTo>
                    <a:pt x="8775" y="3711"/>
                    <a:pt x="8775" y="3703"/>
                    <a:pt x="8772" y="3695"/>
                  </a:cubicBezTo>
                  <a:cubicBezTo>
                    <a:pt x="8769" y="3686"/>
                    <a:pt x="8763" y="3680"/>
                    <a:pt x="8755" y="3676"/>
                  </a:cubicBezTo>
                  <a:cubicBezTo>
                    <a:pt x="8747" y="3672"/>
                    <a:pt x="8738" y="3671"/>
                    <a:pt x="8730" y="3674"/>
                  </a:cubicBezTo>
                  <a:close/>
                  <a:moveTo>
                    <a:pt x="8788" y="3557"/>
                  </a:moveTo>
                  <a:cubicBezTo>
                    <a:pt x="8779" y="3560"/>
                    <a:pt x="8773" y="3565"/>
                    <a:pt x="8769" y="3574"/>
                  </a:cubicBezTo>
                  <a:cubicBezTo>
                    <a:pt x="8765" y="3582"/>
                    <a:pt x="8764" y="3590"/>
                    <a:pt x="8767" y="3598"/>
                  </a:cubicBezTo>
                  <a:cubicBezTo>
                    <a:pt x="8770" y="3607"/>
                    <a:pt x="8775" y="3613"/>
                    <a:pt x="8783" y="3617"/>
                  </a:cubicBezTo>
                  <a:cubicBezTo>
                    <a:pt x="8792" y="3621"/>
                    <a:pt x="8800" y="3622"/>
                    <a:pt x="8809" y="3619"/>
                  </a:cubicBezTo>
                  <a:cubicBezTo>
                    <a:pt x="8818" y="3616"/>
                    <a:pt x="8824" y="3611"/>
                    <a:pt x="8828" y="3602"/>
                  </a:cubicBezTo>
                  <a:cubicBezTo>
                    <a:pt x="8832" y="3594"/>
                    <a:pt x="8833" y="3586"/>
                    <a:pt x="8830" y="3577"/>
                  </a:cubicBezTo>
                  <a:cubicBezTo>
                    <a:pt x="8826" y="3569"/>
                    <a:pt x="8821" y="3563"/>
                    <a:pt x="8812" y="3558"/>
                  </a:cubicBezTo>
                  <a:cubicBezTo>
                    <a:pt x="8804" y="3555"/>
                    <a:pt x="8796" y="3554"/>
                    <a:pt x="8788" y="3557"/>
                  </a:cubicBezTo>
                  <a:close/>
                  <a:moveTo>
                    <a:pt x="3128" y="17960"/>
                  </a:moveTo>
                  <a:lnTo>
                    <a:pt x="2720" y="17801"/>
                  </a:lnTo>
                  <a:lnTo>
                    <a:pt x="2687" y="17870"/>
                  </a:lnTo>
                  <a:lnTo>
                    <a:pt x="2910" y="18072"/>
                  </a:lnTo>
                  <a:cubicBezTo>
                    <a:pt x="2924" y="18084"/>
                    <a:pt x="2936" y="18094"/>
                    <a:pt x="2947" y="18102"/>
                  </a:cubicBezTo>
                  <a:cubicBezTo>
                    <a:pt x="2959" y="18111"/>
                    <a:pt x="2965" y="18116"/>
                    <a:pt x="2966" y="18117"/>
                  </a:cubicBezTo>
                  <a:cubicBezTo>
                    <a:pt x="2964" y="18116"/>
                    <a:pt x="2956" y="18114"/>
                    <a:pt x="2943" y="18111"/>
                  </a:cubicBezTo>
                  <a:cubicBezTo>
                    <a:pt x="2929" y="18107"/>
                    <a:pt x="2912" y="18103"/>
                    <a:pt x="2891" y="18099"/>
                  </a:cubicBezTo>
                  <a:lnTo>
                    <a:pt x="2601" y="18045"/>
                  </a:lnTo>
                  <a:lnTo>
                    <a:pt x="2567" y="18113"/>
                  </a:lnTo>
                  <a:lnTo>
                    <a:pt x="2800" y="18254"/>
                  </a:lnTo>
                  <a:lnTo>
                    <a:pt x="2895" y="18254"/>
                  </a:lnTo>
                  <a:lnTo>
                    <a:pt x="2696" y="18136"/>
                  </a:lnTo>
                  <a:cubicBezTo>
                    <a:pt x="2690" y="18133"/>
                    <a:pt x="2684" y="18129"/>
                    <a:pt x="2676" y="18125"/>
                  </a:cubicBezTo>
                  <a:cubicBezTo>
                    <a:pt x="2669" y="18120"/>
                    <a:pt x="2661" y="18116"/>
                    <a:pt x="2654" y="18112"/>
                  </a:cubicBezTo>
                  <a:cubicBezTo>
                    <a:pt x="2647" y="18108"/>
                    <a:pt x="2640" y="18104"/>
                    <a:pt x="2635" y="18101"/>
                  </a:cubicBezTo>
                  <a:cubicBezTo>
                    <a:pt x="2630" y="18098"/>
                    <a:pt x="2627" y="18096"/>
                    <a:pt x="2625" y="18096"/>
                  </a:cubicBezTo>
                  <a:cubicBezTo>
                    <a:pt x="2630" y="18097"/>
                    <a:pt x="2639" y="18099"/>
                    <a:pt x="2653" y="18101"/>
                  </a:cubicBezTo>
                  <a:cubicBezTo>
                    <a:pt x="2668" y="18105"/>
                    <a:pt x="2686" y="18108"/>
                    <a:pt x="2708" y="18112"/>
                  </a:cubicBezTo>
                  <a:lnTo>
                    <a:pt x="3024" y="18171"/>
                  </a:lnTo>
                  <a:lnTo>
                    <a:pt x="3043" y="18132"/>
                  </a:lnTo>
                  <a:lnTo>
                    <a:pt x="2793" y="17904"/>
                  </a:lnTo>
                  <a:cubicBezTo>
                    <a:pt x="2788" y="17900"/>
                    <a:pt x="2782" y="17895"/>
                    <a:pt x="2776" y="17890"/>
                  </a:cubicBezTo>
                  <a:cubicBezTo>
                    <a:pt x="2770" y="17885"/>
                    <a:pt x="2765" y="17880"/>
                    <a:pt x="2760" y="17876"/>
                  </a:cubicBezTo>
                  <a:cubicBezTo>
                    <a:pt x="2754" y="17871"/>
                    <a:pt x="2750" y="17868"/>
                    <a:pt x="2746" y="17865"/>
                  </a:cubicBezTo>
                  <a:cubicBezTo>
                    <a:pt x="2742" y="17862"/>
                    <a:pt x="2740" y="17860"/>
                    <a:pt x="2740" y="17859"/>
                  </a:cubicBezTo>
                  <a:cubicBezTo>
                    <a:pt x="2740" y="17859"/>
                    <a:pt x="2743" y="17860"/>
                    <a:pt x="2748" y="17863"/>
                  </a:cubicBezTo>
                  <a:cubicBezTo>
                    <a:pt x="2752" y="17865"/>
                    <a:pt x="2758" y="17867"/>
                    <a:pt x="2765" y="17870"/>
                  </a:cubicBezTo>
                  <a:cubicBezTo>
                    <a:pt x="2772" y="17873"/>
                    <a:pt x="2779" y="17876"/>
                    <a:pt x="2786" y="17880"/>
                  </a:cubicBezTo>
                  <a:cubicBezTo>
                    <a:pt x="2794" y="17883"/>
                    <a:pt x="2801" y="17886"/>
                    <a:pt x="2807" y="17889"/>
                  </a:cubicBezTo>
                  <a:lnTo>
                    <a:pt x="3105" y="18007"/>
                  </a:lnTo>
                  <a:lnTo>
                    <a:pt x="3128" y="17960"/>
                  </a:lnTo>
                  <a:close/>
                  <a:moveTo>
                    <a:pt x="9002" y="6041"/>
                  </a:moveTo>
                  <a:lnTo>
                    <a:pt x="9002" y="5883"/>
                  </a:lnTo>
                  <a:lnTo>
                    <a:pt x="9000" y="5880"/>
                  </a:lnTo>
                  <a:cubicBezTo>
                    <a:pt x="8988" y="5863"/>
                    <a:pt x="8972" y="5849"/>
                    <a:pt x="8954" y="5840"/>
                  </a:cubicBezTo>
                  <a:cubicBezTo>
                    <a:pt x="8942" y="5834"/>
                    <a:pt x="8929" y="5831"/>
                    <a:pt x="8914" y="5829"/>
                  </a:cubicBezTo>
                  <a:cubicBezTo>
                    <a:pt x="8899" y="5828"/>
                    <a:pt x="8886" y="5829"/>
                    <a:pt x="8873" y="5832"/>
                  </a:cubicBezTo>
                  <a:cubicBezTo>
                    <a:pt x="8860" y="5836"/>
                    <a:pt x="8848" y="5841"/>
                    <a:pt x="8837" y="5848"/>
                  </a:cubicBezTo>
                  <a:cubicBezTo>
                    <a:pt x="8826" y="5856"/>
                    <a:pt x="8813" y="5867"/>
                    <a:pt x="8799" y="5882"/>
                  </a:cubicBezTo>
                  <a:lnTo>
                    <a:pt x="8763" y="5920"/>
                  </a:lnTo>
                  <a:cubicBezTo>
                    <a:pt x="8744" y="5939"/>
                    <a:pt x="8727" y="5951"/>
                    <a:pt x="8713" y="5957"/>
                  </a:cubicBezTo>
                  <a:cubicBezTo>
                    <a:pt x="8698" y="5962"/>
                    <a:pt x="8683" y="5961"/>
                    <a:pt x="8667" y="5953"/>
                  </a:cubicBezTo>
                  <a:cubicBezTo>
                    <a:pt x="8647" y="5943"/>
                    <a:pt x="8635" y="5929"/>
                    <a:pt x="8630" y="5909"/>
                  </a:cubicBezTo>
                  <a:cubicBezTo>
                    <a:pt x="8625" y="5890"/>
                    <a:pt x="8629" y="5868"/>
                    <a:pt x="8641" y="5843"/>
                  </a:cubicBezTo>
                  <a:cubicBezTo>
                    <a:pt x="8645" y="5835"/>
                    <a:pt x="8650" y="5827"/>
                    <a:pt x="8655" y="5821"/>
                  </a:cubicBezTo>
                  <a:cubicBezTo>
                    <a:pt x="8659" y="5814"/>
                    <a:pt x="8665" y="5807"/>
                    <a:pt x="8671" y="5801"/>
                  </a:cubicBezTo>
                  <a:cubicBezTo>
                    <a:pt x="8678" y="5795"/>
                    <a:pt x="8685" y="5789"/>
                    <a:pt x="8693" y="5783"/>
                  </a:cubicBezTo>
                  <a:cubicBezTo>
                    <a:pt x="8701" y="5777"/>
                    <a:pt x="8710" y="5771"/>
                    <a:pt x="8721" y="5765"/>
                  </a:cubicBezTo>
                  <a:lnTo>
                    <a:pt x="8698" y="5728"/>
                  </a:lnTo>
                  <a:cubicBezTo>
                    <a:pt x="8654" y="5752"/>
                    <a:pt x="8622" y="5786"/>
                    <a:pt x="8602" y="5827"/>
                  </a:cubicBezTo>
                  <a:cubicBezTo>
                    <a:pt x="8593" y="5846"/>
                    <a:pt x="8587" y="5865"/>
                    <a:pt x="8585" y="5883"/>
                  </a:cubicBezTo>
                  <a:cubicBezTo>
                    <a:pt x="8583" y="5901"/>
                    <a:pt x="8584" y="5918"/>
                    <a:pt x="8588" y="5934"/>
                  </a:cubicBezTo>
                  <a:cubicBezTo>
                    <a:pt x="8593" y="5950"/>
                    <a:pt x="8600" y="5964"/>
                    <a:pt x="8611" y="5977"/>
                  </a:cubicBezTo>
                  <a:cubicBezTo>
                    <a:pt x="8622" y="5990"/>
                    <a:pt x="8635" y="6000"/>
                    <a:pt x="8652" y="6009"/>
                  </a:cubicBezTo>
                  <a:cubicBezTo>
                    <a:pt x="8677" y="6021"/>
                    <a:pt x="8702" y="6023"/>
                    <a:pt x="8728" y="6016"/>
                  </a:cubicBezTo>
                  <a:cubicBezTo>
                    <a:pt x="8740" y="6012"/>
                    <a:pt x="8750" y="6006"/>
                    <a:pt x="8761" y="5998"/>
                  </a:cubicBezTo>
                  <a:cubicBezTo>
                    <a:pt x="8771" y="5990"/>
                    <a:pt x="8783" y="5978"/>
                    <a:pt x="8797" y="5963"/>
                  </a:cubicBezTo>
                  <a:lnTo>
                    <a:pt x="8828" y="5930"/>
                  </a:lnTo>
                  <a:cubicBezTo>
                    <a:pt x="8865" y="5890"/>
                    <a:pt x="8901" y="5879"/>
                    <a:pt x="8936" y="5896"/>
                  </a:cubicBezTo>
                  <a:cubicBezTo>
                    <a:pt x="8959" y="5907"/>
                    <a:pt x="8973" y="5925"/>
                    <a:pt x="8978" y="5951"/>
                  </a:cubicBezTo>
                  <a:cubicBezTo>
                    <a:pt x="8980" y="5962"/>
                    <a:pt x="8980" y="5973"/>
                    <a:pt x="8978" y="5984"/>
                  </a:cubicBezTo>
                  <a:cubicBezTo>
                    <a:pt x="8976" y="5994"/>
                    <a:pt x="8971" y="6007"/>
                    <a:pt x="8964" y="6021"/>
                  </a:cubicBezTo>
                  <a:cubicBezTo>
                    <a:pt x="8954" y="6041"/>
                    <a:pt x="8943" y="6058"/>
                    <a:pt x="8929" y="6072"/>
                  </a:cubicBezTo>
                  <a:cubicBezTo>
                    <a:pt x="8915" y="6087"/>
                    <a:pt x="8899" y="6099"/>
                    <a:pt x="8879" y="6110"/>
                  </a:cubicBezTo>
                  <a:lnTo>
                    <a:pt x="8905" y="6148"/>
                  </a:lnTo>
                  <a:cubicBezTo>
                    <a:pt x="8927" y="6135"/>
                    <a:pt x="8946" y="6119"/>
                    <a:pt x="8961" y="6102"/>
                  </a:cubicBezTo>
                  <a:cubicBezTo>
                    <a:pt x="8977" y="6084"/>
                    <a:pt x="8990" y="6064"/>
                    <a:pt x="9002" y="6041"/>
                  </a:cubicBezTo>
                  <a:close/>
                  <a:moveTo>
                    <a:pt x="9002" y="5754"/>
                  </a:moveTo>
                  <a:lnTo>
                    <a:pt x="9002" y="5700"/>
                  </a:lnTo>
                  <a:cubicBezTo>
                    <a:pt x="8997" y="5699"/>
                    <a:pt x="8993" y="5698"/>
                    <a:pt x="8988" y="5696"/>
                  </a:cubicBezTo>
                  <a:cubicBezTo>
                    <a:pt x="8975" y="5692"/>
                    <a:pt x="8958" y="5686"/>
                    <a:pt x="8939" y="5676"/>
                  </a:cubicBezTo>
                  <a:cubicBezTo>
                    <a:pt x="8916" y="5665"/>
                    <a:pt x="8897" y="5654"/>
                    <a:pt x="8882" y="5643"/>
                  </a:cubicBezTo>
                  <a:cubicBezTo>
                    <a:pt x="8867" y="5632"/>
                    <a:pt x="8854" y="5621"/>
                    <a:pt x="8844" y="5609"/>
                  </a:cubicBezTo>
                  <a:cubicBezTo>
                    <a:pt x="8826" y="5588"/>
                    <a:pt x="8816" y="5567"/>
                    <a:pt x="8813" y="5546"/>
                  </a:cubicBezTo>
                  <a:cubicBezTo>
                    <a:pt x="8809" y="5524"/>
                    <a:pt x="8813" y="5502"/>
                    <a:pt x="8824" y="5479"/>
                  </a:cubicBezTo>
                  <a:cubicBezTo>
                    <a:pt x="8831" y="5465"/>
                    <a:pt x="8839" y="5453"/>
                    <a:pt x="8849" y="5443"/>
                  </a:cubicBezTo>
                  <a:cubicBezTo>
                    <a:pt x="8858" y="5433"/>
                    <a:pt x="8870" y="5425"/>
                    <a:pt x="8885" y="5417"/>
                  </a:cubicBezTo>
                  <a:lnTo>
                    <a:pt x="8867" y="5377"/>
                  </a:lnTo>
                  <a:cubicBezTo>
                    <a:pt x="8850" y="5386"/>
                    <a:pt x="8835" y="5397"/>
                    <a:pt x="8821" y="5411"/>
                  </a:cubicBezTo>
                  <a:cubicBezTo>
                    <a:pt x="8808" y="5425"/>
                    <a:pt x="8796" y="5441"/>
                    <a:pt x="8787" y="5460"/>
                  </a:cubicBezTo>
                  <a:cubicBezTo>
                    <a:pt x="8775" y="5484"/>
                    <a:pt x="8769" y="5508"/>
                    <a:pt x="8770" y="5533"/>
                  </a:cubicBezTo>
                  <a:cubicBezTo>
                    <a:pt x="8770" y="5558"/>
                    <a:pt x="8775" y="5583"/>
                    <a:pt x="8786" y="5606"/>
                  </a:cubicBezTo>
                  <a:cubicBezTo>
                    <a:pt x="8797" y="5630"/>
                    <a:pt x="8813" y="5651"/>
                    <a:pt x="8833" y="5672"/>
                  </a:cubicBezTo>
                  <a:cubicBezTo>
                    <a:pt x="8854" y="5692"/>
                    <a:pt x="8879" y="5709"/>
                    <a:pt x="8908" y="5724"/>
                  </a:cubicBezTo>
                  <a:cubicBezTo>
                    <a:pt x="8937" y="5738"/>
                    <a:pt x="8966" y="5748"/>
                    <a:pt x="8995" y="5753"/>
                  </a:cubicBezTo>
                  <a:cubicBezTo>
                    <a:pt x="8997" y="5754"/>
                    <a:pt x="9000" y="5754"/>
                    <a:pt x="9002" y="5754"/>
                  </a:cubicBezTo>
                  <a:close/>
                  <a:moveTo>
                    <a:pt x="2912" y="17412"/>
                  </a:moveTo>
                  <a:lnTo>
                    <a:pt x="2890" y="17458"/>
                  </a:lnTo>
                  <a:lnTo>
                    <a:pt x="3162" y="17592"/>
                  </a:lnTo>
                  <a:cubicBezTo>
                    <a:pt x="3175" y="17598"/>
                    <a:pt x="3186" y="17605"/>
                    <a:pt x="3195" y="17611"/>
                  </a:cubicBezTo>
                  <a:cubicBezTo>
                    <a:pt x="3203" y="17617"/>
                    <a:pt x="3210" y="17626"/>
                    <a:pt x="3216" y="17637"/>
                  </a:cubicBezTo>
                  <a:cubicBezTo>
                    <a:pt x="3221" y="17647"/>
                    <a:pt x="3222" y="17658"/>
                    <a:pt x="3221" y="17672"/>
                  </a:cubicBezTo>
                  <a:cubicBezTo>
                    <a:pt x="3219" y="17686"/>
                    <a:pt x="3214" y="17701"/>
                    <a:pt x="3206" y="17718"/>
                  </a:cubicBezTo>
                  <a:cubicBezTo>
                    <a:pt x="3200" y="17730"/>
                    <a:pt x="3194" y="17740"/>
                    <a:pt x="3187" y="17747"/>
                  </a:cubicBezTo>
                  <a:cubicBezTo>
                    <a:pt x="3181" y="17755"/>
                    <a:pt x="3174" y="17761"/>
                    <a:pt x="3167" y="17765"/>
                  </a:cubicBezTo>
                  <a:cubicBezTo>
                    <a:pt x="3160" y="17769"/>
                    <a:pt x="3154" y="17772"/>
                    <a:pt x="3148" y="17773"/>
                  </a:cubicBezTo>
                  <a:cubicBezTo>
                    <a:pt x="3141" y="17775"/>
                    <a:pt x="3136" y="17775"/>
                    <a:pt x="3130" y="17775"/>
                  </a:cubicBezTo>
                  <a:cubicBezTo>
                    <a:pt x="3123" y="17775"/>
                    <a:pt x="3114" y="17772"/>
                    <a:pt x="3102" y="17768"/>
                  </a:cubicBezTo>
                  <a:cubicBezTo>
                    <a:pt x="3091" y="17764"/>
                    <a:pt x="3081" y="17759"/>
                    <a:pt x="3071" y="17754"/>
                  </a:cubicBezTo>
                  <a:lnTo>
                    <a:pt x="2807" y="17625"/>
                  </a:lnTo>
                  <a:lnTo>
                    <a:pt x="2785" y="17671"/>
                  </a:lnTo>
                  <a:lnTo>
                    <a:pt x="3065" y="17809"/>
                  </a:lnTo>
                  <a:cubicBezTo>
                    <a:pt x="3074" y="17813"/>
                    <a:pt x="3084" y="17817"/>
                    <a:pt x="3096" y="17822"/>
                  </a:cubicBezTo>
                  <a:cubicBezTo>
                    <a:pt x="3108" y="17826"/>
                    <a:pt x="3119" y="17828"/>
                    <a:pt x="3132" y="17827"/>
                  </a:cubicBezTo>
                  <a:cubicBezTo>
                    <a:pt x="3156" y="17826"/>
                    <a:pt x="3177" y="17819"/>
                    <a:pt x="3196" y="17805"/>
                  </a:cubicBezTo>
                  <a:cubicBezTo>
                    <a:pt x="3213" y="17792"/>
                    <a:pt x="3230" y="17770"/>
                    <a:pt x="3245" y="17739"/>
                  </a:cubicBezTo>
                  <a:cubicBezTo>
                    <a:pt x="3257" y="17715"/>
                    <a:pt x="3264" y="17694"/>
                    <a:pt x="3267" y="17676"/>
                  </a:cubicBezTo>
                  <a:cubicBezTo>
                    <a:pt x="3270" y="17657"/>
                    <a:pt x="3269" y="17639"/>
                    <a:pt x="3265" y="17622"/>
                  </a:cubicBezTo>
                  <a:cubicBezTo>
                    <a:pt x="3261" y="17605"/>
                    <a:pt x="3254" y="17592"/>
                    <a:pt x="3242" y="17581"/>
                  </a:cubicBezTo>
                  <a:cubicBezTo>
                    <a:pt x="3231" y="17571"/>
                    <a:pt x="3214" y="17560"/>
                    <a:pt x="3190" y="17548"/>
                  </a:cubicBezTo>
                  <a:lnTo>
                    <a:pt x="2912" y="17412"/>
                  </a:lnTo>
                  <a:close/>
                  <a:moveTo>
                    <a:pt x="2755" y="17542"/>
                  </a:moveTo>
                  <a:cubicBezTo>
                    <a:pt x="2747" y="17545"/>
                    <a:pt x="2740" y="17551"/>
                    <a:pt x="2736" y="17559"/>
                  </a:cubicBezTo>
                  <a:cubicBezTo>
                    <a:pt x="2732" y="17567"/>
                    <a:pt x="2732" y="17575"/>
                    <a:pt x="2735" y="17584"/>
                  </a:cubicBezTo>
                  <a:cubicBezTo>
                    <a:pt x="2738" y="17592"/>
                    <a:pt x="2743" y="17599"/>
                    <a:pt x="2751" y="17603"/>
                  </a:cubicBezTo>
                  <a:cubicBezTo>
                    <a:pt x="2759" y="17607"/>
                    <a:pt x="2768" y="17607"/>
                    <a:pt x="2777" y="17605"/>
                  </a:cubicBezTo>
                  <a:cubicBezTo>
                    <a:pt x="2785" y="17602"/>
                    <a:pt x="2792" y="17596"/>
                    <a:pt x="2796" y="17588"/>
                  </a:cubicBezTo>
                  <a:cubicBezTo>
                    <a:pt x="2800" y="17579"/>
                    <a:pt x="2800" y="17571"/>
                    <a:pt x="2797" y="17563"/>
                  </a:cubicBezTo>
                  <a:cubicBezTo>
                    <a:pt x="2794" y="17554"/>
                    <a:pt x="2788" y="17548"/>
                    <a:pt x="2780" y="17544"/>
                  </a:cubicBezTo>
                  <a:cubicBezTo>
                    <a:pt x="2772" y="17540"/>
                    <a:pt x="2764" y="17539"/>
                    <a:pt x="2755" y="17542"/>
                  </a:cubicBezTo>
                  <a:close/>
                  <a:moveTo>
                    <a:pt x="2813" y="17426"/>
                  </a:moveTo>
                  <a:cubicBezTo>
                    <a:pt x="2804" y="17428"/>
                    <a:pt x="2798" y="17434"/>
                    <a:pt x="2794" y="17442"/>
                  </a:cubicBezTo>
                  <a:cubicBezTo>
                    <a:pt x="2790" y="17450"/>
                    <a:pt x="2789" y="17459"/>
                    <a:pt x="2792" y="17467"/>
                  </a:cubicBezTo>
                  <a:cubicBezTo>
                    <a:pt x="2795" y="17476"/>
                    <a:pt x="2801" y="17482"/>
                    <a:pt x="2809" y="17486"/>
                  </a:cubicBezTo>
                  <a:cubicBezTo>
                    <a:pt x="2817" y="17490"/>
                    <a:pt x="2825" y="17491"/>
                    <a:pt x="2834" y="17488"/>
                  </a:cubicBezTo>
                  <a:cubicBezTo>
                    <a:pt x="2843" y="17485"/>
                    <a:pt x="2849" y="17479"/>
                    <a:pt x="2853" y="17471"/>
                  </a:cubicBezTo>
                  <a:cubicBezTo>
                    <a:pt x="2857" y="17463"/>
                    <a:pt x="2858" y="17454"/>
                    <a:pt x="2855" y="17446"/>
                  </a:cubicBezTo>
                  <a:cubicBezTo>
                    <a:pt x="2852" y="17437"/>
                    <a:pt x="2846" y="17431"/>
                    <a:pt x="2837" y="17427"/>
                  </a:cubicBezTo>
                  <a:cubicBezTo>
                    <a:pt x="2829" y="17423"/>
                    <a:pt x="2821" y="17423"/>
                    <a:pt x="2813" y="17426"/>
                  </a:cubicBezTo>
                  <a:close/>
                  <a:moveTo>
                    <a:pt x="3486" y="17231"/>
                  </a:moveTo>
                  <a:lnTo>
                    <a:pt x="3096" y="17039"/>
                  </a:lnTo>
                  <a:lnTo>
                    <a:pt x="3073" y="17085"/>
                  </a:lnTo>
                  <a:lnTo>
                    <a:pt x="3286" y="17188"/>
                  </a:lnTo>
                  <a:cubicBezTo>
                    <a:pt x="3300" y="17195"/>
                    <a:pt x="3314" y="17202"/>
                    <a:pt x="3329" y="17208"/>
                  </a:cubicBezTo>
                  <a:cubicBezTo>
                    <a:pt x="3343" y="17214"/>
                    <a:pt x="3356" y="17220"/>
                    <a:pt x="3368" y="17225"/>
                  </a:cubicBezTo>
                  <a:cubicBezTo>
                    <a:pt x="3379" y="17230"/>
                    <a:pt x="3389" y="17234"/>
                    <a:pt x="3396" y="17237"/>
                  </a:cubicBezTo>
                  <a:cubicBezTo>
                    <a:pt x="3404" y="17240"/>
                    <a:pt x="3407" y="17241"/>
                    <a:pt x="3408" y="17241"/>
                  </a:cubicBezTo>
                  <a:cubicBezTo>
                    <a:pt x="3407" y="17241"/>
                    <a:pt x="3403" y="17241"/>
                    <a:pt x="3397" y="17241"/>
                  </a:cubicBezTo>
                  <a:cubicBezTo>
                    <a:pt x="3390" y="17240"/>
                    <a:pt x="3383" y="17240"/>
                    <a:pt x="3374" y="17239"/>
                  </a:cubicBezTo>
                  <a:cubicBezTo>
                    <a:pt x="3364" y="17239"/>
                    <a:pt x="3354" y="17238"/>
                    <a:pt x="3343" y="17238"/>
                  </a:cubicBezTo>
                  <a:cubicBezTo>
                    <a:pt x="3331" y="17237"/>
                    <a:pt x="3319" y="17237"/>
                    <a:pt x="3308" y="17238"/>
                  </a:cubicBezTo>
                  <a:lnTo>
                    <a:pt x="2994" y="17245"/>
                  </a:lnTo>
                  <a:lnTo>
                    <a:pt x="2968" y="17299"/>
                  </a:lnTo>
                  <a:lnTo>
                    <a:pt x="3359" y="17491"/>
                  </a:lnTo>
                  <a:lnTo>
                    <a:pt x="3382" y="17443"/>
                  </a:lnTo>
                  <a:lnTo>
                    <a:pt x="3155" y="17333"/>
                  </a:lnTo>
                  <a:cubicBezTo>
                    <a:pt x="3143" y="17328"/>
                    <a:pt x="3132" y="17322"/>
                    <a:pt x="3120" y="17317"/>
                  </a:cubicBezTo>
                  <a:cubicBezTo>
                    <a:pt x="3108" y="17312"/>
                    <a:pt x="3097" y="17308"/>
                    <a:pt x="3087" y="17304"/>
                  </a:cubicBezTo>
                  <a:cubicBezTo>
                    <a:pt x="3078" y="17299"/>
                    <a:pt x="3069" y="17296"/>
                    <a:pt x="3061" y="17293"/>
                  </a:cubicBezTo>
                  <a:cubicBezTo>
                    <a:pt x="3054" y="17290"/>
                    <a:pt x="3049" y="17288"/>
                    <a:pt x="3046" y="17286"/>
                  </a:cubicBezTo>
                  <a:cubicBezTo>
                    <a:pt x="3050" y="17287"/>
                    <a:pt x="3056" y="17287"/>
                    <a:pt x="3063" y="17288"/>
                  </a:cubicBezTo>
                  <a:cubicBezTo>
                    <a:pt x="3070" y="17288"/>
                    <a:pt x="3079" y="17288"/>
                    <a:pt x="3089" y="17288"/>
                  </a:cubicBezTo>
                  <a:cubicBezTo>
                    <a:pt x="3100" y="17288"/>
                    <a:pt x="3111" y="17288"/>
                    <a:pt x="3123" y="17288"/>
                  </a:cubicBezTo>
                  <a:cubicBezTo>
                    <a:pt x="3135" y="17289"/>
                    <a:pt x="3148" y="17288"/>
                    <a:pt x="3161" y="17288"/>
                  </a:cubicBezTo>
                  <a:lnTo>
                    <a:pt x="3462" y="17280"/>
                  </a:lnTo>
                  <a:lnTo>
                    <a:pt x="3486" y="17231"/>
                  </a:lnTo>
                  <a:close/>
                  <a:moveTo>
                    <a:pt x="3511" y="16810"/>
                  </a:moveTo>
                  <a:cubicBezTo>
                    <a:pt x="3496" y="16809"/>
                    <a:pt x="3482" y="16810"/>
                    <a:pt x="3469" y="16813"/>
                  </a:cubicBezTo>
                  <a:cubicBezTo>
                    <a:pt x="3456" y="16817"/>
                    <a:pt x="3444" y="16822"/>
                    <a:pt x="3433" y="16830"/>
                  </a:cubicBezTo>
                  <a:cubicBezTo>
                    <a:pt x="3422" y="16837"/>
                    <a:pt x="3410" y="16848"/>
                    <a:pt x="3396" y="16863"/>
                  </a:cubicBezTo>
                  <a:lnTo>
                    <a:pt x="3360" y="16901"/>
                  </a:lnTo>
                  <a:cubicBezTo>
                    <a:pt x="3340" y="16920"/>
                    <a:pt x="3324" y="16933"/>
                    <a:pt x="3309" y="16938"/>
                  </a:cubicBezTo>
                  <a:cubicBezTo>
                    <a:pt x="3295" y="16944"/>
                    <a:pt x="3280" y="16942"/>
                    <a:pt x="3264" y="16935"/>
                  </a:cubicBezTo>
                  <a:cubicBezTo>
                    <a:pt x="3244" y="16925"/>
                    <a:pt x="3231" y="16910"/>
                    <a:pt x="3227" y="16891"/>
                  </a:cubicBezTo>
                  <a:cubicBezTo>
                    <a:pt x="3222" y="16872"/>
                    <a:pt x="3226" y="16850"/>
                    <a:pt x="3238" y="16825"/>
                  </a:cubicBezTo>
                  <a:cubicBezTo>
                    <a:pt x="3242" y="16817"/>
                    <a:pt x="3246" y="16809"/>
                    <a:pt x="3251" y="16802"/>
                  </a:cubicBezTo>
                  <a:cubicBezTo>
                    <a:pt x="3256" y="16795"/>
                    <a:pt x="3261" y="16789"/>
                    <a:pt x="3268" y="16783"/>
                  </a:cubicBezTo>
                  <a:cubicBezTo>
                    <a:pt x="3274" y="16777"/>
                    <a:pt x="3281" y="16771"/>
                    <a:pt x="3289" y="16765"/>
                  </a:cubicBezTo>
                  <a:cubicBezTo>
                    <a:pt x="3297" y="16759"/>
                    <a:pt x="3307" y="16752"/>
                    <a:pt x="3318" y="16746"/>
                  </a:cubicBezTo>
                  <a:lnTo>
                    <a:pt x="3294" y="16709"/>
                  </a:lnTo>
                  <a:cubicBezTo>
                    <a:pt x="3251" y="16734"/>
                    <a:pt x="3219" y="16767"/>
                    <a:pt x="3198" y="16808"/>
                  </a:cubicBezTo>
                  <a:cubicBezTo>
                    <a:pt x="3189" y="16827"/>
                    <a:pt x="3183" y="16846"/>
                    <a:pt x="3181" y="16864"/>
                  </a:cubicBezTo>
                  <a:cubicBezTo>
                    <a:pt x="3179" y="16883"/>
                    <a:pt x="3180" y="16900"/>
                    <a:pt x="3185" y="16915"/>
                  </a:cubicBezTo>
                  <a:cubicBezTo>
                    <a:pt x="3189" y="16931"/>
                    <a:pt x="3197" y="16946"/>
                    <a:pt x="3207" y="16959"/>
                  </a:cubicBezTo>
                  <a:cubicBezTo>
                    <a:pt x="3218" y="16971"/>
                    <a:pt x="3232" y="16982"/>
                    <a:pt x="3248" y="16990"/>
                  </a:cubicBezTo>
                  <a:cubicBezTo>
                    <a:pt x="3274" y="17002"/>
                    <a:pt x="3299" y="17005"/>
                    <a:pt x="3324" y="16997"/>
                  </a:cubicBezTo>
                  <a:cubicBezTo>
                    <a:pt x="3336" y="16993"/>
                    <a:pt x="3347" y="16987"/>
                    <a:pt x="3357" y="16979"/>
                  </a:cubicBezTo>
                  <a:cubicBezTo>
                    <a:pt x="3367" y="16971"/>
                    <a:pt x="3379" y="16960"/>
                    <a:pt x="3393" y="16945"/>
                  </a:cubicBezTo>
                  <a:lnTo>
                    <a:pt x="3425" y="16911"/>
                  </a:lnTo>
                  <a:cubicBezTo>
                    <a:pt x="3462" y="16871"/>
                    <a:pt x="3497" y="16860"/>
                    <a:pt x="3532" y="16877"/>
                  </a:cubicBezTo>
                  <a:cubicBezTo>
                    <a:pt x="3555" y="16888"/>
                    <a:pt x="3569" y="16907"/>
                    <a:pt x="3574" y="16932"/>
                  </a:cubicBezTo>
                  <a:cubicBezTo>
                    <a:pt x="3576" y="16944"/>
                    <a:pt x="3577" y="16955"/>
                    <a:pt x="3575" y="16965"/>
                  </a:cubicBezTo>
                  <a:cubicBezTo>
                    <a:pt x="3573" y="16975"/>
                    <a:pt x="3568" y="16988"/>
                    <a:pt x="3561" y="17003"/>
                  </a:cubicBezTo>
                  <a:cubicBezTo>
                    <a:pt x="3551" y="17023"/>
                    <a:pt x="3539" y="17040"/>
                    <a:pt x="3526" y="17054"/>
                  </a:cubicBezTo>
                  <a:cubicBezTo>
                    <a:pt x="3512" y="17068"/>
                    <a:pt x="3495" y="17081"/>
                    <a:pt x="3475" y="17091"/>
                  </a:cubicBezTo>
                  <a:lnTo>
                    <a:pt x="3502" y="17130"/>
                  </a:lnTo>
                  <a:cubicBezTo>
                    <a:pt x="3524" y="17116"/>
                    <a:pt x="3542" y="17101"/>
                    <a:pt x="3558" y="17083"/>
                  </a:cubicBezTo>
                  <a:cubicBezTo>
                    <a:pt x="3574" y="17066"/>
                    <a:pt x="3587" y="17045"/>
                    <a:pt x="3599" y="17022"/>
                  </a:cubicBezTo>
                  <a:cubicBezTo>
                    <a:pt x="3608" y="17003"/>
                    <a:pt x="3614" y="16987"/>
                    <a:pt x="3617" y="16971"/>
                  </a:cubicBezTo>
                  <a:cubicBezTo>
                    <a:pt x="3620" y="16955"/>
                    <a:pt x="3620" y="16939"/>
                    <a:pt x="3618" y="16922"/>
                  </a:cubicBezTo>
                  <a:cubicBezTo>
                    <a:pt x="3616" y="16899"/>
                    <a:pt x="3608" y="16879"/>
                    <a:pt x="3596" y="16861"/>
                  </a:cubicBezTo>
                  <a:cubicBezTo>
                    <a:pt x="3584" y="16844"/>
                    <a:pt x="3569" y="16831"/>
                    <a:pt x="3551" y="16822"/>
                  </a:cubicBezTo>
                  <a:cubicBezTo>
                    <a:pt x="3539" y="16816"/>
                    <a:pt x="3525" y="16812"/>
                    <a:pt x="3511" y="16810"/>
                  </a:cubicBezTo>
                  <a:close/>
                  <a:moveTo>
                    <a:pt x="3428" y="16364"/>
                  </a:moveTo>
                  <a:lnTo>
                    <a:pt x="3301" y="16622"/>
                  </a:lnTo>
                  <a:lnTo>
                    <a:pt x="3340" y="16642"/>
                  </a:lnTo>
                  <a:lnTo>
                    <a:pt x="3391" y="16537"/>
                  </a:lnTo>
                  <a:lnTo>
                    <a:pt x="3743" y="16710"/>
                  </a:lnTo>
                  <a:lnTo>
                    <a:pt x="3765" y="16665"/>
                  </a:lnTo>
                  <a:lnTo>
                    <a:pt x="3414" y="16492"/>
                  </a:lnTo>
                  <a:lnTo>
                    <a:pt x="3466" y="16386"/>
                  </a:lnTo>
                  <a:lnTo>
                    <a:pt x="3428" y="16364"/>
                  </a:lnTo>
                  <a:close/>
                  <a:moveTo>
                    <a:pt x="3960" y="16269"/>
                  </a:moveTo>
                  <a:lnTo>
                    <a:pt x="3919" y="16250"/>
                  </a:lnTo>
                  <a:lnTo>
                    <a:pt x="3835" y="16422"/>
                  </a:lnTo>
                  <a:lnTo>
                    <a:pt x="3692" y="16351"/>
                  </a:lnTo>
                  <a:lnTo>
                    <a:pt x="3757" y="16217"/>
                  </a:lnTo>
                  <a:lnTo>
                    <a:pt x="3717" y="16197"/>
                  </a:lnTo>
                  <a:lnTo>
                    <a:pt x="3651" y="16331"/>
                  </a:lnTo>
                  <a:lnTo>
                    <a:pt x="3523" y="16268"/>
                  </a:lnTo>
                  <a:lnTo>
                    <a:pt x="3602" y="16108"/>
                  </a:lnTo>
                  <a:lnTo>
                    <a:pt x="3566" y="16083"/>
                  </a:lnTo>
                  <a:lnTo>
                    <a:pt x="3461" y="16297"/>
                  </a:lnTo>
                  <a:lnTo>
                    <a:pt x="3852" y="16489"/>
                  </a:lnTo>
                  <a:lnTo>
                    <a:pt x="3960" y="16269"/>
                  </a:lnTo>
                  <a:close/>
                  <a:moveTo>
                    <a:pt x="4123" y="15938"/>
                  </a:moveTo>
                  <a:lnTo>
                    <a:pt x="4086" y="15943"/>
                  </a:lnTo>
                  <a:cubicBezTo>
                    <a:pt x="4070" y="15945"/>
                    <a:pt x="4052" y="15948"/>
                    <a:pt x="4033" y="15950"/>
                  </a:cubicBezTo>
                  <a:cubicBezTo>
                    <a:pt x="4015" y="15953"/>
                    <a:pt x="3997" y="15955"/>
                    <a:pt x="3980" y="15958"/>
                  </a:cubicBezTo>
                  <a:cubicBezTo>
                    <a:pt x="3964" y="15960"/>
                    <a:pt x="3952" y="15962"/>
                    <a:pt x="3946" y="15963"/>
                  </a:cubicBezTo>
                  <a:cubicBezTo>
                    <a:pt x="3936" y="15965"/>
                    <a:pt x="3925" y="15967"/>
                    <a:pt x="3913" y="15970"/>
                  </a:cubicBezTo>
                  <a:cubicBezTo>
                    <a:pt x="3901" y="15974"/>
                    <a:pt x="3891" y="15977"/>
                    <a:pt x="3882" y="15981"/>
                  </a:cubicBezTo>
                  <a:lnTo>
                    <a:pt x="3885" y="15975"/>
                  </a:lnTo>
                  <a:cubicBezTo>
                    <a:pt x="3893" y="15960"/>
                    <a:pt x="3897" y="15944"/>
                    <a:pt x="3898" y="15929"/>
                  </a:cubicBezTo>
                  <a:cubicBezTo>
                    <a:pt x="3899" y="15914"/>
                    <a:pt x="3898" y="15899"/>
                    <a:pt x="3893" y="15885"/>
                  </a:cubicBezTo>
                  <a:cubicBezTo>
                    <a:pt x="3888" y="15872"/>
                    <a:pt x="3880" y="15859"/>
                    <a:pt x="3869" y="15848"/>
                  </a:cubicBezTo>
                  <a:cubicBezTo>
                    <a:pt x="3858" y="15836"/>
                    <a:pt x="3845" y="15827"/>
                    <a:pt x="3829" y="15819"/>
                  </a:cubicBezTo>
                  <a:cubicBezTo>
                    <a:pt x="3819" y="15814"/>
                    <a:pt x="3809" y="15810"/>
                    <a:pt x="3799" y="15809"/>
                  </a:cubicBezTo>
                  <a:cubicBezTo>
                    <a:pt x="3789" y="15807"/>
                    <a:pt x="3780" y="15806"/>
                    <a:pt x="3771" y="15806"/>
                  </a:cubicBezTo>
                  <a:cubicBezTo>
                    <a:pt x="3763" y="15807"/>
                    <a:pt x="3755" y="15808"/>
                    <a:pt x="3747" y="15810"/>
                  </a:cubicBezTo>
                  <a:cubicBezTo>
                    <a:pt x="3740" y="15812"/>
                    <a:pt x="3734" y="15814"/>
                    <a:pt x="3728" y="15817"/>
                  </a:cubicBezTo>
                  <a:cubicBezTo>
                    <a:pt x="3722" y="15820"/>
                    <a:pt x="3716" y="15823"/>
                    <a:pt x="3710" y="15828"/>
                  </a:cubicBezTo>
                  <a:cubicBezTo>
                    <a:pt x="3704" y="15832"/>
                    <a:pt x="3698" y="15838"/>
                    <a:pt x="3692" y="15844"/>
                  </a:cubicBezTo>
                  <a:cubicBezTo>
                    <a:pt x="3686" y="15851"/>
                    <a:pt x="3680" y="15859"/>
                    <a:pt x="3673" y="15869"/>
                  </a:cubicBezTo>
                  <a:cubicBezTo>
                    <a:pt x="3667" y="15879"/>
                    <a:pt x="3661" y="15890"/>
                    <a:pt x="3654" y="15903"/>
                  </a:cubicBezTo>
                  <a:lnTo>
                    <a:pt x="3610" y="15995"/>
                  </a:lnTo>
                  <a:lnTo>
                    <a:pt x="4000" y="16187"/>
                  </a:lnTo>
                  <a:lnTo>
                    <a:pt x="4023" y="16141"/>
                  </a:lnTo>
                  <a:lnTo>
                    <a:pt x="3846" y="16054"/>
                  </a:lnTo>
                  <a:cubicBezTo>
                    <a:pt x="3851" y="16045"/>
                    <a:pt x="3857" y="16038"/>
                    <a:pt x="3863" y="16033"/>
                  </a:cubicBezTo>
                  <a:cubicBezTo>
                    <a:pt x="3870" y="16029"/>
                    <a:pt x="3880" y="16025"/>
                    <a:pt x="3893" y="16022"/>
                  </a:cubicBezTo>
                  <a:cubicBezTo>
                    <a:pt x="3916" y="16018"/>
                    <a:pt x="3938" y="16013"/>
                    <a:pt x="3959" y="16010"/>
                  </a:cubicBezTo>
                  <a:cubicBezTo>
                    <a:pt x="3980" y="16007"/>
                    <a:pt x="3999" y="16004"/>
                    <a:pt x="4016" y="16002"/>
                  </a:cubicBezTo>
                  <a:cubicBezTo>
                    <a:pt x="4033" y="16000"/>
                    <a:pt x="4049" y="15998"/>
                    <a:pt x="4062" y="15998"/>
                  </a:cubicBezTo>
                  <a:cubicBezTo>
                    <a:pt x="4075" y="15997"/>
                    <a:pt x="4086" y="15997"/>
                    <a:pt x="4094" y="15997"/>
                  </a:cubicBezTo>
                  <a:lnTo>
                    <a:pt x="4123" y="15938"/>
                  </a:lnTo>
                  <a:close/>
                  <a:moveTo>
                    <a:pt x="3836" y="15890"/>
                  </a:moveTo>
                  <a:cubicBezTo>
                    <a:pt x="3845" y="15898"/>
                    <a:pt x="3850" y="15907"/>
                    <a:pt x="3853" y="15916"/>
                  </a:cubicBezTo>
                  <a:cubicBezTo>
                    <a:pt x="3856" y="15927"/>
                    <a:pt x="3857" y="15939"/>
                    <a:pt x="3855" y="15952"/>
                  </a:cubicBezTo>
                  <a:cubicBezTo>
                    <a:pt x="3852" y="15964"/>
                    <a:pt x="3847" y="15979"/>
                    <a:pt x="3838" y="15997"/>
                  </a:cubicBezTo>
                  <a:lnTo>
                    <a:pt x="3817" y="16040"/>
                  </a:lnTo>
                  <a:lnTo>
                    <a:pt x="3671" y="15968"/>
                  </a:lnTo>
                  <a:lnTo>
                    <a:pt x="3694" y="15922"/>
                  </a:lnTo>
                  <a:cubicBezTo>
                    <a:pt x="3699" y="15911"/>
                    <a:pt x="3705" y="15902"/>
                    <a:pt x="3710" y="15895"/>
                  </a:cubicBezTo>
                  <a:cubicBezTo>
                    <a:pt x="3715" y="15888"/>
                    <a:pt x="3721" y="15882"/>
                    <a:pt x="3726" y="15876"/>
                  </a:cubicBezTo>
                  <a:cubicBezTo>
                    <a:pt x="3736" y="15868"/>
                    <a:pt x="3749" y="15862"/>
                    <a:pt x="3763" y="15861"/>
                  </a:cubicBezTo>
                  <a:cubicBezTo>
                    <a:pt x="3778" y="15859"/>
                    <a:pt x="3791" y="15861"/>
                    <a:pt x="3804" y="15867"/>
                  </a:cubicBezTo>
                  <a:cubicBezTo>
                    <a:pt x="3817" y="15874"/>
                    <a:pt x="3828" y="15881"/>
                    <a:pt x="3836" y="15890"/>
                  </a:cubicBezTo>
                  <a:close/>
                  <a:moveTo>
                    <a:pt x="4335" y="15727"/>
                  </a:moveTo>
                  <a:lnTo>
                    <a:pt x="3785" y="15457"/>
                  </a:lnTo>
                  <a:lnTo>
                    <a:pt x="3767" y="15494"/>
                  </a:lnTo>
                  <a:lnTo>
                    <a:pt x="4316" y="15765"/>
                  </a:lnTo>
                  <a:lnTo>
                    <a:pt x="4335" y="15727"/>
                  </a:lnTo>
                  <a:close/>
                  <a:moveTo>
                    <a:pt x="4109" y="14979"/>
                  </a:moveTo>
                  <a:lnTo>
                    <a:pt x="4086" y="15025"/>
                  </a:lnTo>
                  <a:lnTo>
                    <a:pt x="4359" y="15159"/>
                  </a:lnTo>
                  <a:cubicBezTo>
                    <a:pt x="4372" y="15166"/>
                    <a:pt x="4383" y="15172"/>
                    <a:pt x="4391" y="15179"/>
                  </a:cubicBezTo>
                  <a:cubicBezTo>
                    <a:pt x="4400" y="15185"/>
                    <a:pt x="4407" y="15193"/>
                    <a:pt x="4412" y="15204"/>
                  </a:cubicBezTo>
                  <a:cubicBezTo>
                    <a:pt x="4417" y="15214"/>
                    <a:pt x="4419" y="15226"/>
                    <a:pt x="4417" y="15240"/>
                  </a:cubicBezTo>
                  <a:cubicBezTo>
                    <a:pt x="4416" y="15254"/>
                    <a:pt x="4411" y="15269"/>
                    <a:pt x="4403" y="15285"/>
                  </a:cubicBezTo>
                  <a:cubicBezTo>
                    <a:pt x="4397" y="15297"/>
                    <a:pt x="4391" y="15307"/>
                    <a:pt x="4384" y="15315"/>
                  </a:cubicBezTo>
                  <a:cubicBezTo>
                    <a:pt x="4378" y="15322"/>
                    <a:pt x="4371" y="15328"/>
                    <a:pt x="4364" y="15333"/>
                  </a:cubicBezTo>
                  <a:cubicBezTo>
                    <a:pt x="4357" y="15337"/>
                    <a:pt x="4351" y="15340"/>
                    <a:pt x="4344" y="15341"/>
                  </a:cubicBezTo>
                  <a:cubicBezTo>
                    <a:pt x="4338" y="15342"/>
                    <a:pt x="4332" y="15343"/>
                    <a:pt x="4327" y="15343"/>
                  </a:cubicBezTo>
                  <a:cubicBezTo>
                    <a:pt x="4320" y="15342"/>
                    <a:pt x="4311" y="15340"/>
                    <a:pt x="4299" y="15336"/>
                  </a:cubicBezTo>
                  <a:cubicBezTo>
                    <a:pt x="4288" y="15331"/>
                    <a:pt x="4277" y="15327"/>
                    <a:pt x="4267" y="15322"/>
                  </a:cubicBezTo>
                  <a:lnTo>
                    <a:pt x="4004" y="15192"/>
                  </a:lnTo>
                  <a:lnTo>
                    <a:pt x="3982" y="15238"/>
                  </a:lnTo>
                  <a:lnTo>
                    <a:pt x="4262" y="15376"/>
                  </a:lnTo>
                  <a:cubicBezTo>
                    <a:pt x="4271" y="15381"/>
                    <a:pt x="4281" y="15385"/>
                    <a:pt x="4293" y="15389"/>
                  </a:cubicBezTo>
                  <a:cubicBezTo>
                    <a:pt x="4304" y="15394"/>
                    <a:pt x="4316" y="15396"/>
                    <a:pt x="4328" y="15395"/>
                  </a:cubicBezTo>
                  <a:cubicBezTo>
                    <a:pt x="4353" y="15394"/>
                    <a:pt x="4374" y="15387"/>
                    <a:pt x="4392" y="15373"/>
                  </a:cubicBezTo>
                  <a:cubicBezTo>
                    <a:pt x="4410" y="15359"/>
                    <a:pt x="4427" y="15337"/>
                    <a:pt x="4442" y="15307"/>
                  </a:cubicBezTo>
                  <a:cubicBezTo>
                    <a:pt x="4454" y="15283"/>
                    <a:pt x="4461" y="15262"/>
                    <a:pt x="4464" y="15243"/>
                  </a:cubicBezTo>
                  <a:cubicBezTo>
                    <a:pt x="4467" y="15225"/>
                    <a:pt x="4466" y="15207"/>
                    <a:pt x="4462" y="15190"/>
                  </a:cubicBezTo>
                  <a:cubicBezTo>
                    <a:pt x="4458" y="15173"/>
                    <a:pt x="4450" y="15160"/>
                    <a:pt x="4439" y="15149"/>
                  </a:cubicBezTo>
                  <a:cubicBezTo>
                    <a:pt x="4428" y="15139"/>
                    <a:pt x="4411" y="15128"/>
                    <a:pt x="4387" y="15116"/>
                  </a:cubicBezTo>
                  <a:lnTo>
                    <a:pt x="4109" y="14979"/>
                  </a:lnTo>
                  <a:close/>
                  <a:moveTo>
                    <a:pt x="4683" y="14799"/>
                  </a:moveTo>
                  <a:lnTo>
                    <a:pt x="4292" y="14607"/>
                  </a:lnTo>
                  <a:lnTo>
                    <a:pt x="4270" y="14653"/>
                  </a:lnTo>
                  <a:lnTo>
                    <a:pt x="4483" y="14756"/>
                  </a:lnTo>
                  <a:cubicBezTo>
                    <a:pt x="4497" y="14763"/>
                    <a:pt x="4511" y="14769"/>
                    <a:pt x="4526" y="14776"/>
                  </a:cubicBezTo>
                  <a:cubicBezTo>
                    <a:pt x="4540" y="14782"/>
                    <a:pt x="4553" y="14788"/>
                    <a:pt x="4564" y="14792"/>
                  </a:cubicBezTo>
                  <a:cubicBezTo>
                    <a:pt x="4576" y="14797"/>
                    <a:pt x="4585" y="14801"/>
                    <a:pt x="4593" y="14804"/>
                  </a:cubicBezTo>
                  <a:cubicBezTo>
                    <a:pt x="4600" y="14807"/>
                    <a:pt x="4604" y="14809"/>
                    <a:pt x="4605" y="14809"/>
                  </a:cubicBezTo>
                  <a:cubicBezTo>
                    <a:pt x="4603" y="14809"/>
                    <a:pt x="4600" y="14809"/>
                    <a:pt x="4593" y="14808"/>
                  </a:cubicBezTo>
                  <a:cubicBezTo>
                    <a:pt x="4587" y="14808"/>
                    <a:pt x="4580" y="14807"/>
                    <a:pt x="4570" y="14807"/>
                  </a:cubicBezTo>
                  <a:cubicBezTo>
                    <a:pt x="4561" y="14806"/>
                    <a:pt x="4551" y="14806"/>
                    <a:pt x="4539" y="14805"/>
                  </a:cubicBezTo>
                  <a:cubicBezTo>
                    <a:pt x="4528" y="14805"/>
                    <a:pt x="4516" y="14805"/>
                    <a:pt x="4505" y="14805"/>
                  </a:cubicBezTo>
                  <a:lnTo>
                    <a:pt x="4191" y="14812"/>
                  </a:lnTo>
                  <a:lnTo>
                    <a:pt x="4165" y="14866"/>
                  </a:lnTo>
                  <a:lnTo>
                    <a:pt x="4555" y="15059"/>
                  </a:lnTo>
                  <a:lnTo>
                    <a:pt x="4579" y="15010"/>
                  </a:lnTo>
                  <a:lnTo>
                    <a:pt x="4351" y="14901"/>
                  </a:lnTo>
                  <a:cubicBezTo>
                    <a:pt x="4340" y="14895"/>
                    <a:pt x="4328" y="14890"/>
                    <a:pt x="4317" y="14885"/>
                  </a:cubicBezTo>
                  <a:cubicBezTo>
                    <a:pt x="4305" y="14880"/>
                    <a:pt x="4294" y="14875"/>
                    <a:pt x="4284" y="14871"/>
                  </a:cubicBezTo>
                  <a:cubicBezTo>
                    <a:pt x="4274" y="14867"/>
                    <a:pt x="4266" y="14863"/>
                    <a:pt x="4258" y="14860"/>
                  </a:cubicBezTo>
                  <a:cubicBezTo>
                    <a:pt x="4251" y="14857"/>
                    <a:pt x="4246" y="14855"/>
                    <a:pt x="4243" y="14854"/>
                  </a:cubicBezTo>
                  <a:cubicBezTo>
                    <a:pt x="4247" y="14855"/>
                    <a:pt x="4253" y="14855"/>
                    <a:pt x="4260" y="14855"/>
                  </a:cubicBezTo>
                  <a:cubicBezTo>
                    <a:pt x="4267" y="14856"/>
                    <a:pt x="4276" y="14856"/>
                    <a:pt x="4286" y="14856"/>
                  </a:cubicBezTo>
                  <a:cubicBezTo>
                    <a:pt x="4296" y="14856"/>
                    <a:pt x="4308" y="14856"/>
                    <a:pt x="4320" y="14856"/>
                  </a:cubicBezTo>
                  <a:cubicBezTo>
                    <a:pt x="4332" y="14856"/>
                    <a:pt x="4345" y="14856"/>
                    <a:pt x="4358" y="14856"/>
                  </a:cubicBezTo>
                  <a:lnTo>
                    <a:pt x="4659" y="14848"/>
                  </a:lnTo>
                  <a:lnTo>
                    <a:pt x="4683" y="14799"/>
                  </a:lnTo>
                  <a:close/>
                  <a:moveTo>
                    <a:pt x="4762" y="14639"/>
                  </a:moveTo>
                  <a:lnTo>
                    <a:pt x="4371" y="14447"/>
                  </a:lnTo>
                  <a:lnTo>
                    <a:pt x="4349" y="14492"/>
                  </a:lnTo>
                  <a:lnTo>
                    <a:pt x="4740" y="14685"/>
                  </a:lnTo>
                  <a:lnTo>
                    <a:pt x="4762" y="14639"/>
                  </a:lnTo>
                  <a:close/>
                  <a:moveTo>
                    <a:pt x="4562" y="14059"/>
                  </a:moveTo>
                  <a:lnTo>
                    <a:pt x="4538" y="14107"/>
                  </a:lnTo>
                  <a:lnTo>
                    <a:pt x="4755" y="14318"/>
                  </a:lnTo>
                  <a:cubicBezTo>
                    <a:pt x="4772" y="14335"/>
                    <a:pt x="4787" y="14349"/>
                    <a:pt x="4799" y="14360"/>
                  </a:cubicBezTo>
                  <a:cubicBezTo>
                    <a:pt x="4812" y="14371"/>
                    <a:pt x="4820" y="14378"/>
                    <a:pt x="4824" y="14382"/>
                  </a:cubicBezTo>
                  <a:cubicBezTo>
                    <a:pt x="4821" y="14381"/>
                    <a:pt x="4816" y="14379"/>
                    <a:pt x="4810" y="14378"/>
                  </a:cubicBezTo>
                  <a:cubicBezTo>
                    <a:pt x="4803" y="14376"/>
                    <a:pt x="4795" y="14374"/>
                    <a:pt x="4785" y="14372"/>
                  </a:cubicBezTo>
                  <a:cubicBezTo>
                    <a:pt x="4776" y="14370"/>
                    <a:pt x="4766" y="14368"/>
                    <a:pt x="4756" y="14367"/>
                  </a:cubicBezTo>
                  <a:cubicBezTo>
                    <a:pt x="4746" y="14365"/>
                    <a:pt x="4736" y="14363"/>
                    <a:pt x="4726" y="14362"/>
                  </a:cubicBezTo>
                  <a:lnTo>
                    <a:pt x="4433" y="14320"/>
                  </a:lnTo>
                  <a:lnTo>
                    <a:pt x="4408" y="14371"/>
                  </a:lnTo>
                  <a:lnTo>
                    <a:pt x="4864" y="14432"/>
                  </a:lnTo>
                  <a:lnTo>
                    <a:pt x="4887" y="14386"/>
                  </a:lnTo>
                  <a:lnTo>
                    <a:pt x="4562" y="14059"/>
                  </a:lnTo>
                  <a:close/>
                  <a:moveTo>
                    <a:pt x="5098" y="13957"/>
                  </a:moveTo>
                  <a:lnTo>
                    <a:pt x="5057" y="13937"/>
                  </a:lnTo>
                  <a:lnTo>
                    <a:pt x="4973" y="14109"/>
                  </a:lnTo>
                  <a:lnTo>
                    <a:pt x="4830" y="14039"/>
                  </a:lnTo>
                  <a:lnTo>
                    <a:pt x="4895" y="13905"/>
                  </a:lnTo>
                  <a:lnTo>
                    <a:pt x="4855" y="13885"/>
                  </a:lnTo>
                  <a:lnTo>
                    <a:pt x="4789" y="14019"/>
                  </a:lnTo>
                  <a:lnTo>
                    <a:pt x="4661" y="13956"/>
                  </a:lnTo>
                  <a:lnTo>
                    <a:pt x="4740" y="13795"/>
                  </a:lnTo>
                  <a:lnTo>
                    <a:pt x="4704" y="13770"/>
                  </a:lnTo>
                  <a:lnTo>
                    <a:pt x="4599" y="13984"/>
                  </a:lnTo>
                  <a:lnTo>
                    <a:pt x="4990" y="14176"/>
                  </a:lnTo>
                  <a:lnTo>
                    <a:pt x="5098" y="13957"/>
                  </a:lnTo>
                  <a:close/>
                  <a:moveTo>
                    <a:pt x="5261" y="13626"/>
                  </a:moveTo>
                  <a:lnTo>
                    <a:pt x="5224" y="13630"/>
                  </a:lnTo>
                  <a:cubicBezTo>
                    <a:pt x="5208" y="13633"/>
                    <a:pt x="5190" y="13635"/>
                    <a:pt x="5171" y="13638"/>
                  </a:cubicBezTo>
                  <a:cubicBezTo>
                    <a:pt x="5153" y="13640"/>
                    <a:pt x="5135" y="13643"/>
                    <a:pt x="5118" y="13645"/>
                  </a:cubicBezTo>
                  <a:cubicBezTo>
                    <a:pt x="5102" y="13647"/>
                    <a:pt x="5090" y="13649"/>
                    <a:pt x="5084" y="13650"/>
                  </a:cubicBezTo>
                  <a:cubicBezTo>
                    <a:pt x="5074" y="13652"/>
                    <a:pt x="5063" y="13655"/>
                    <a:pt x="5051" y="13658"/>
                  </a:cubicBezTo>
                  <a:cubicBezTo>
                    <a:pt x="5039" y="13661"/>
                    <a:pt x="5029" y="13664"/>
                    <a:pt x="5020" y="13668"/>
                  </a:cubicBezTo>
                  <a:lnTo>
                    <a:pt x="5023" y="13662"/>
                  </a:lnTo>
                  <a:cubicBezTo>
                    <a:pt x="5031" y="13647"/>
                    <a:pt x="5035" y="13631"/>
                    <a:pt x="5036" y="13616"/>
                  </a:cubicBezTo>
                  <a:cubicBezTo>
                    <a:pt x="5037" y="13601"/>
                    <a:pt x="5036" y="13586"/>
                    <a:pt x="5031" y="13573"/>
                  </a:cubicBezTo>
                  <a:cubicBezTo>
                    <a:pt x="5026" y="13559"/>
                    <a:pt x="5018" y="13546"/>
                    <a:pt x="5007" y="13535"/>
                  </a:cubicBezTo>
                  <a:cubicBezTo>
                    <a:pt x="4996" y="13524"/>
                    <a:pt x="4983" y="13514"/>
                    <a:pt x="4967" y="13506"/>
                  </a:cubicBezTo>
                  <a:cubicBezTo>
                    <a:pt x="4957" y="13501"/>
                    <a:pt x="4947" y="13498"/>
                    <a:pt x="4937" y="13496"/>
                  </a:cubicBezTo>
                  <a:cubicBezTo>
                    <a:pt x="4927" y="13494"/>
                    <a:pt x="4918" y="13493"/>
                    <a:pt x="4909" y="13494"/>
                  </a:cubicBezTo>
                  <a:cubicBezTo>
                    <a:pt x="4901" y="13494"/>
                    <a:pt x="4893" y="13495"/>
                    <a:pt x="4886" y="13497"/>
                  </a:cubicBezTo>
                  <a:cubicBezTo>
                    <a:pt x="4878" y="13499"/>
                    <a:pt x="4872" y="13501"/>
                    <a:pt x="4866" y="13504"/>
                  </a:cubicBezTo>
                  <a:cubicBezTo>
                    <a:pt x="4860" y="13507"/>
                    <a:pt x="4854" y="13511"/>
                    <a:pt x="4848" y="13515"/>
                  </a:cubicBezTo>
                  <a:cubicBezTo>
                    <a:pt x="4842" y="13519"/>
                    <a:pt x="4836" y="13525"/>
                    <a:pt x="4830" y="13532"/>
                  </a:cubicBezTo>
                  <a:cubicBezTo>
                    <a:pt x="4824" y="13538"/>
                    <a:pt x="4818" y="13546"/>
                    <a:pt x="4811" y="13556"/>
                  </a:cubicBezTo>
                  <a:cubicBezTo>
                    <a:pt x="4805" y="13566"/>
                    <a:pt x="4799" y="13577"/>
                    <a:pt x="4792" y="13591"/>
                  </a:cubicBezTo>
                  <a:lnTo>
                    <a:pt x="4748" y="13682"/>
                  </a:lnTo>
                  <a:lnTo>
                    <a:pt x="5138" y="13874"/>
                  </a:lnTo>
                  <a:lnTo>
                    <a:pt x="5161" y="13829"/>
                  </a:lnTo>
                  <a:lnTo>
                    <a:pt x="4984" y="13742"/>
                  </a:lnTo>
                  <a:cubicBezTo>
                    <a:pt x="4989" y="13732"/>
                    <a:pt x="4995" y="13725"/>
                    <a:pt x="5001" y="13720"/>
                  </a:cubicBezTo>
                  <a:cubicBezTo>
                    <a:pt x="5008" y="13716"/>
                    <a:pt x="5018" y="13712"/>
                    <a:pt x="5031" y="13709"/>
                  </a:cubicBezTo>
                  <a:cubicBezTo>
                    <a:pt x="5054" y="13705"/>
                    <a:pt x="5076" y="13701"/>
                    <a:pt x="5097" y="13697"/>
                  </a:cubicBezTo>
                  <a:cubicBezTo>
                    <a:pt x="5118" y="13694"/>
                    <a:pt x="5137" y="13691"/>
                    <a:pt x="5154" y="13689"/>
                  </a:cubicBezTo>
                  <a:cubicBezTo>
                    <a:pt x="5171" y="13687"/>
                    <a:pt x="5187" y="13686"/>
                    <a:pt x="5200" y="13685"/>
                  </a:cubicBezTo>
                  <a:cubicBezTo>
                    <a:pt x="5213" y="13684"/>
                    <a:pt x="5224" y="13684"/>
                    <a:pt x="5232" y="13684"/>
                  </a:cubicBezTo>
                  <a:lnTo>
                    <a:pt x="5261" y="13626"/>
                  </a:lnTo>
                  <a:close/>
                  <a:moveTo>
                    <a:pt x="4974" y="13577"/>
                  </a:moveTo>
                  <a:cubicBezTo>
                    <a:pt x="4983" y="13585"/>
                    <a:pt x="4988" y="13594"/>
                    <a:pt x="4991" y="13604"/>
                  </a:cubicBezTo>
                  <a:cubicBezTo>
                    <a:pt x="4994" y="13615"/>
                    <a:pt x="4995" y="13626"/>
                    <a:pt x="4993" y="13639"/>
                  </a:cubicBezTo>
                  <a:cubicBezTo>
                    <a:pt x="4990" y="13651"/>
                    <a:pt x="4985" y="13667"/>
                    <a:pt x="4976" y="13684"/>
                  </a:cubicBezTo>
                  <a:lnTo>
                    <a:pt x="4955" y="13727"/>
                  </a:lnTo>
                  <a:lnTo>
                    <a:pt x="4809" y="13656"/>
                  </a:lnTo>
                  <a:lnTo>
                    <a:pt x="4832" y="13609"/>
                  </a:lnTo>
                  <a:cubicBezTo>
                    <a:pt x="4838" y="13598"/>
                    <a:pt x="4843" y="13589"/>
                    <a:pt x="4848" y="13582"/>
                  </a:cubicBezTo>
                  <a:cubicBezTo>
                    <a:pt x="4853" y="13575"/>
                    <a:pt x="4859" y="13569"/>
                    <a:pt x="4864" y="13564"/>
                  </a:cubicBezTo>
                  <a:cubicBezTo>
                    <a:pt x="4874" y="13555"/>
                    <a:pt x="4887" y="13550"/>
                    <a:pt x="4901" y="13548"/>
                  </a:cubicBezTo>
                  <a:cubicBezTo>
                    <a:pt x="4916" y="13546"/>
                    <a:pt x="4929" y="13548"/>
                    <a:pt x="4942" y="13555"/>
                  </a:cubicBezTo>
                  <a:cubicBezTo>
                    <a:pt x="4955" y="13561"/>
                    <a:pt x="4966" y="13568"/>
                    <a:pt x="4974" y="13577"/>
                  </a:cubicBezTo>
                  <a:close/>
                  <a:moveTo>
                    <a:pt x="5272" y="13232"/>
                  </a:moveTo>
                  <a:cubicBezTo>
                    <a:pt x="5257" y="13230"/>
                    <a:pt x="5243" y="13231"/>
                    <a:pt x="5230" y="13235"/>
                  </a:cubicBezTo>
                  <a:cubicBezTo>
                    <a:pt x="5217" y="13238"/>
                    <a:pt x="5205" y="13244"/>
                    <a:pt x="5194" y="13251"/>
                  </a:cubicBezTo>
                  <a:cubicBezTo>
                    <a:pt x="5183" y="13258"/>
                    <a:pt x="5171" y="13269"/>
                    <a:pt x="5157" y="13284"/>
                  </a:cubicBezTo>
                  <a:lnTo>
                    <a:pt x="5120" y="13322"/>
                  </a:lnTo>
                  <a:cubicBezTo>
                    <a:pt x="5101" y="13342"/>
                    <a:pt x="5085" y="13354"/>
                    <a:pt x="5070" y="13359"/>
                  </a:cubicBezTo>
                  <a:cubicBezTo>
                    <a:pt x="5056" y="13365"/>
                    <a:pt x="5041" y="13364"/>
                    <a:pt x="5025" y="13356"/>
                  </a:cubicBezTo>
                  <a:cubicBezTo>
                    <a:pt x="5005" y="13346"/>
                    <a:pt x="4992" y="13331"/>
                    <a:pt x="4988" y="13312"/>
                  </a:cubicBezTo>
                  <a:cubicBezTo>
                    <a:pt x="4983" y="13293"/>
                    <a:pt x="4987" y="13271"/>
                    <a:pt x="4999" y="13246"/>
                  </a:cubicBezTo>
                  <a:cubicBezTo>
                    <a:pt x="5003" y="13238"/>
                    <a:pt x="5007" y="13230"/>
                    <a:pt x="5012" y="13223"/>
                  </a:cubicBezTo>
                  <a:cubicBezTo>
                    <a:pt x="5017" y="13216"/>
                    <a:pt x="5022" y="13210"/>
                    <a:pt x="5029" y="13204"/>
                  </a:cubicBezTo>
                  <a:cubicBezTo>
                    <a:pt x="5035" y="13198"/>
                    <a:pt x="5042" y="13192"/>
                    <a:pt x="5050" y="13186"/>
                  </a:cubicBezTo>
                  <a:cubicBezTo>
                    <a:pt x="5058" y="13180"/>
                    <a:pt x="5068" y="13174"/>
                    <a:pt x="5079" y="13167"/>
                  </a:cubicBezTo>
                  <a:lnTo>
                    <a:pt x="5055" y="13130"/>
                  </a:lnTo>
                  <a:cubicBezTo>
                    <a:pt x="5012" y="13155"/>
                    <a:pt x="4980" y="13188"/>
                    <a:pt x="4959" y="13230"/>
                  </a:cubicBezTo>
                  <a:cubicBezTo>
                    <a:pt x="4950" y="13249"/>
                    <a:pt x="4944" y="13267"/>
                    <a:pt x="4942" y="13285"/>
                  </a:cubicBezTo>
                  <a:cubicBezTo>
                    <a:pt x="4940" y="13304"/>
                    <a:pt x="4941" y="13321"/>
                    <a:pt x="4946" y="13337"/>
                  </a:cubicBezTo>
                  <a:cubicBezTo>
                    <a:pt x="4950" y="13353"/>
                    <a:pt x="4958" y="13367"/>
                    <a:pt x="4968" y="13380"/>
                  </a:cubicBezTo>
                  <a:cubicBezTo>
                    <a:pt x="4979" y="13393"/>
                    <a:pt x="4993" y="13403"/>
                    <a:pt x="5009" y="13411"/>
                  </a:cubicBezTo>
                  <a:cubicBezTo>
                    <a:pt x="5035" y="13424"/>
                    <a:pt x="5060" y="13426"/>
                    <a:pt x="5085" y="13418"/>
                  </a:cubicBezTo>
                  <a:cubicBezTo>
                    <a:pt x="5097" y="13415"/>
                    <a:pt x="5108" y="13409"/>
                    <a:pt x="5118" y="13401"/>
                  </a:cubicBezTo>
                  <a:cubicBezTo>
                    <a:pt x="5128" y="13393"/>
                    <a:pt x="5140" y="13381"/>
                    <a:pt x="5154" y="13366"/>
                  </a:cubicBezTo>
                  <a:lnTo>
                    <a:pt x="5186" y="13332"/>
                  </a:lnTo>
                  <a:cubicBezTo>
                    <a:pt x="5223" y="13293"/>
                    <a:pt x="5258" y="13281"/>
                    <a:pt x="5293" y="13298"/>
                  </a:cubicBezTo>
                  <a:cubicBezTo>
                    <a:pt x="5316" y="13310"/>
                    <a:pt x="5330" y="13328"/>
                    <a:pt x="5335" y="13354"/>
                  </a:cubicBezTo>
                  <a:cubicBezTo>
                    <a:pt x="5337" y="13365"/>
                    <a:pt x="5338" y="13376"/>
                    <a:pt x="5336" y="13386"/>
                  </a:cubicBezTo>
                  <a:cubicBezTo>
                    <a:pt x="5334" y="13397"/>
                    <a:pt x="5329" y="13409"/>
                    <a:pt x="5322" y="13424"/>
                  </a:cubicBezTo>
                  <a:cubicBezTo>
                    <a:pt x="5312" y="13444"/>
                    <a:pt x="5300" y="13461"/>
                    <a:pt x="5287" y="13475"/>
                  </a:cubicBezTo>
                  <a:cubicBezTo>
                    <a:pt x="5273" y="13489"/>
                    <a:pt x="5256" y="13502"/>
                    <a:pt x="5236" y="13512"/>
                  </a:cubicBezTo>
                  <a:lnTo>
                    <a:pt x="5263" y="13551"/>
                  </a:lnTo>
                  <a:cubicBezTo>
                    <a:pt x="5284" y="13537"/>
                    <a:pt x="5303" y="13522"/>
                    <a:pt x="5319" y="13504"/>
                  </a:cubicBezTo>
                  <a:cubicBezTo>
                    <a:pt x="5335" y="13487"/>
                    <a:pt x="5348" y="13466"/>
                    <a:pt x="5360" y="13443"/>
                  </a:cubicBezTo>
                  <a:cubicBezTo>
                    <a:pt x="5369" y="13425"/>
                    <a:pt x="5375" y="13408"/>
                    <a:pt x="5378" y="13392"/>
                  </a:cubicBezTo>
                  <a:cubicBezTo>
                    <a:pt x="5381" y="13377"/>
                    <a:pt x="5381" y="13360"/>
                    <a:pt x="5379" y="13343"/>
                  </a:cubicBezTo>
                  <a:cubicBezTo>
                    <a:pt x="5377" y="13320"/>
                    <a:pt x="5369" y="13300"/>
                    <a:pt x="5357" y="13283"/>
                  </a:cubicBezTo>
                  <a:cubicBezTo>
                    <a:pt x="5345" y="13265"/>
                    <a:pt x="5330" y="13252"/>
                    <a:pt x="5312" y="13243"/>
                  </a:cubicBezTo>
                  <a:cubicBezTo>
                    <a:pt x="5300" y="13237"/>
                    <a:pt x="5286" y="13233"/>
                    <a:pt x="5272" y="13232"/>
                  </a:cubicBezTo>
                  <a:close/>
                  <a:moveTo>
                    <a:pt x="5489" y="13161"/>
                  </a:moveTo>
                  <a:lnTo>
                    <a:pt x="5098" y="12969"/>
                  </a:lnTo>
                  <a:lnTo>
                    <a:pt x="5076" y="13015"/>
                  </a:lnTo>
                  <a:lnTo>
                    <a:pt x="5467" y="13207"/>
                  </a:lnTo>
                  <a:lnTo>
                    <a:pt x="5489" y="13161"/>
                  </a:lnTo>
                  <a:close/>
                  <a:moveTo>
                    <a:pt x="5264" y="12632"/>
                  </a:moveTo>
                  <a:lnTo>
                    <a:pt x="5137" y="12891"/>
                  </a:lnTo>
                  <a:lnTo>
                    <a:pt x="5176" y="12910"/>
                  </a:lnTo>
                  <a:lnTo>
                    <a:pt x="5228" y="12805"/>
                  </a:lnTo>
                  <a:lnTo>
                    <a:pt x="5579" y="12978"/>
                  </a:lnTo>
                  <a:lnTo>
                    <a:pt x="5601" y="12933"/>
                  </a:lnTo>
                  <a:lnTo>
                    <a:pt x="5250" y="12760"/>
                  </a:lnTo>
                  <a:lnTo>
                    <a:pt x="5302" y="12654"/>
                  </a:lnTo>
                  <a:lnTo>
                    <a:pt x="5264" y="12632"/>
                  </a:lnTo>
                  <a:close/>
                  <a:moveTo>
                    <a:pt x="5432" y="12291"/>
                  </a:moveTo>
                  <a:lnTo>
                    <a:pt x="5405" y="12345"/>
                  </a:lnTo>
                  <a:lnTo>
                    <a:pt x="5518" y="12494"/>
                  </a:lnTo>
                  <a:cubicBezTo>
                    <a:pt x="5525" y="12504"/>
                    <a:pt x="5532" y="12513"/>
                    <a:pt x="5538" y="12521"/>
                  </a:cubicBezTo>
                  <a:cubicBezTo>
                    <a:pt x="5545" y="12529"/>
                    <a:pt x="5549" y="12534"/>
                    <a:pt x="5551" y="12536"/>
                  </a:cubicBezTo>
                  <a:cubicBezTo>
                    <a:pt x="5542" y="12536"/>
                    <a:pt x="5533" y="12536"/>
                    <a:pt x="5524" y="12535"/>
                  </a:cubicBezTo>
                  <a:cubicBezTo>
                    <a:pt x="5516" y="12535"/>
                    <a:pt x="5507" y="12535"/>
                    <a:pt x="5497" y="12535"/>
                  </a:cubicBezTo>
                  <a:lnTo>
                    <a:pt x="5312" y="12535"/>
                  </a:lnTo>
                  <a:lnTo>
                    <a:pt x="5283" y="12593"/>
                  </a:lnTo>
                  <a:lnTo>
                    <a:pt x="5581" y="12583"/>
                  </a:lnTo>
                  <a:lnTo>
                    <a:pt x="5736" y="12659"/>
                  </a:lnTo>
                  <a:lnTo>
                    <a:pt x="5760" y="12611"/>
                  </a:lnTo>
                  <a:lnTo>
                    <a:pt x="5608" y="12536"/>
                  </a:lnTo>
                  <a:lnTo>
                    <a:pt x="5432" y="12291"/>
                  </a:lnTo>
                  <a:close/>
                  <a:moveTo>
                    <a:pt x="5791" y="11862"/>
                  </a:moveTo>
                  <a:cubicBezTo>
                    <a:pt x="5765" y="11857"/>
                    <a:pt x="5740" y="11855"/>
                    <a:pt x="5715" y="11859"/>
                  </a:cubicBezTo>
                  <a:cubicBezTo>
                    <a:pt x="5706" y="11860"/>
                    <a:pt x="5696" y="11862"/>
                    <a:pt x="5685" y="11866"/>
                  </a:cubicBezTo>
                  <a:cubicBezTo>
                    <a:pt x="5674" y="11869"/>
                    <a:pt x="5663" y="11874"/>
                    <a:pt x="5652" y="11881"/>
                  </a:cubicBezTo>
                  <a:cubicBezTo>
                    <a:pt x="5641" y="11888"/>
                    <a:pt x="5630" y="11897"/>
                    <a:pt x="5619" y="11908"/>
                  </a:cubicBezTo>
                  <a:cubicBezTo>
                    <a:pt x="5609" y="11919"/>
                    <a:pt x="5599" y="11933"/>
                    <a:pt x="5591" y="11950"/>
                  </a:cubicBezTo>
                  <a:cubicBezTo>
                    <a:pt x="5579" y="11974"/>
                    <a:pt x="5573" y="11998"/>
                    <a:pt x="5573" y="12022"/>
                  </a:cubicBezTo>
                  <a:cubicBezTo>
                    <a:pt x="5573" y="12046"/>
                    <a:pt x="5578" y="12069"/>
                    <a:pt x="5589" y="12091"/>
                  </a:cubicBezTo>
                  <a:cubicBezTo>
                    <a:pt x="5600" y="12112"/>
                    <a:pt x="5616" y="12133"/>
                    <a:pt x="5637" y="12152"/>
                  </a:cubicBezTo>
                  <a:cubicBezTo>
                    <a:pt x="5658" y="12172"/>
                    <a:pt x="5684" y="12189"/>
                    <a:pt x="5715" y="12204"/>
                  </a:cubicBezTo>
                  <a:cubicBezTo>
                    <a:pt x="5783" y="12238"/>
                    <a:pt x="5842" y="12248"/>
                    <a:pt x="5893" y="12234"/>
                  </a:cubicBezTo>
                  <a:cubicBezTo>
                    <a:pt x="5915" y="12228"/>
                    <a:pt x="5935" y="12218"/>
                    <a:pt x="5953" y="12204"/>
                  </a:cubicBezTo>
                  <a:cubicBezTo>
                    <a:pt x="5971" y="12190"/>
                    <a:pt x="5986" y="12171"/>
                    <a:pt x="5997" y="12147"/>
                  </a:cubicBezTo>
                  <a:cubicBezTo>
                    <a:pt x="6007" y="12127"/>
                    <a:pt x="6013" y="12107"/>
                    <a:pt x="6015" y="12089"/>
                  </a:cubicBezTo>
                  <a:cubicBezTo>
                    <a:pt x="6017" y="12070"/>
                    <a:pt x="6015" y="12051"/>
                    <a:pt x="6008" y="12030"/>
                  </a:cubicBezTo>
                  <a:cubicBezTo>
                    <a:pt x="6000" y="12001"/>
                    <a:pt x="5985" y="11976"/>
                    <a:pt x="5965" y="11954"/>
                  </a:cubicBezTo>
                  <a:cubicBezTo>
                    <a:pt x="5944" y="11933"/>
                    <a:pt x="5915" y="11913"/>
                    <a:pt x="5878" y="11894"/>
                  </a:cubicBezTo>
                  <a:cubicBezTo>
                    <a:pt x="5846" y="11879"/>
                    <a:pt x="5817" y="11868"/>
                    <a:pt x="5791" y="11862"/>
                  </a:cubicBezTo>
                  <a:close/>
                  <a:moveTo>
                    <a:pt x="5900" y="11973"/>
                  </a:moveTo>
                  <a:cubicBezTo>
                    <a:pt x="5912" y="11980"/>
                    <a:pt x="5922" y="11987"/>
                    <a:pt x="5930" y="11994"/>
                  </a:cubicBezTo>
                  <a:cubicBezTo>
                    <a:pt x="5939" y="12001"/>
                    <a:pt x="5946" y="12008"/>
                    <a:pt x="5951" y="12015"/>
                  </a:cubicBezTo>
                  <a:cubicBezTo>
                    <a:pt x="5957" y="12022"/>
                    <a:pt x="5961" y="12030"/>
                    <a:pt x="5965" y="12038"/>
                  </a:cubicBezTo>
                  <a:cubicBezTo>
                    <a:pt x="5972" y="12052"/>
                    <a:pt x="5975" y="12066"/>
                    <a:pt x="5975" y="12081"/>
                  </a:cubicBezTo>
                  <a:cubicBezTo>
                    <a:pt x="5974" y="12096"/>
                    <a:pt x="5970" y="12111"/>
                    <a:pt x="5963" y="12127"/>
                  </a:cubicBezTo>
                  <a:cubicBezTo>
                    <a:pt x="5959" y="12135"/>
                    <a:pt x="5954" y="12143"/>
                    <a:pt x="5947" y="12150"/>
                  </a:cubicBezTo>
                  <a:cubicBezTo>
                    <a:pt x="5941" y="12158"/>
                    <a:pt x="5934" y="12164"/>
                    <a:pt x="5927" y="12170"/>
                  </a:cubicBezTo>
                  <a:cubicBezTo>
                    <a:pt x="5920" y="12175"/>
                    <a:pt x="5912" y="12180"/>
                    <a:pt x="5904" y="12184"/>
                  </a:cubicBezTo>
                  <a:cubicBezTo>
                    <a:pt x="5896" y="12187"/>
                    <a:pt x="5888" y="12189"/>
                    <a:pt x="5879" y="12190"/>
                  </a:cubicBezTo>
                  <a:cubicBezTo>
                    <a:pt x="5862" y="12191"/>
                    <a:pt x="5841" y="12188"/>
                    <a:pt x="5815" y="12181"/>
                  </a:cubicBezTo>
                  <a:cubicBezTo>
                    <a:pt x="5788" y="12173"/>
                    <a:pt x="5761" y="12162"/>
                    <a:pt x="5731" y="12148"/>
                  </a:cubicBezTo>
                  <a:cubicBezTo>
                    <a:pt x="5707" y="12136"/>
                    <a:pt x="5687" y="12124"/>
                    <a:pt x="5671" y="12112"/>
                  </a:cubicBezTo>
                  <a:cubicBezTo>
                    <a:pt x="5655" y="12101"/>
                    <a:pt x="5643" y="12088"/>
                    <a:pt x="5633" y="12075"/>
                  </a:cubicBezTo>
                  <a:cubicBezTo>
                    <a:pt x="5623" y="12060"/>
                    <a:pt x="5617" y="12044"/>
                    <a:pt x="5616" y="12025"/>
                  </a:cubicBezTo>
                  <a:cubicBezTo>
                    <a:pt x="5616" y="12006"/>
                    <a:pt x="5620" y="11987"/>
                    <a:pt x="5629" y="11969"/>
                  </a:cubicBezTo>
                  <a:cubicBezTo>
                    <a:pt x="5640" y="11946"/>
                    <a:pt x="5654" y="11930"/>
                    <a:pt x="5672" y="11921"/>
                  </a:cubicBezTo>
                  <a:cubicBezTo>
                    <a:pt x="5690" y="11912"/>
                    <a:pt x="5707" y="11908"/>
                    <a:pt x="5725" y="11908"/>
                  </a:cubicBezTo>
                  <a:cubicBezTo>
                    <a:pt x="5742" y="11908"/>
                    <a:pt x="5761" y="11912"/>
                    <a:pt x="5783" y="11919"/>
                  </a:cubicBezTo>
                  <a:cubicBezTo>
                    <a:pt x="5804" y="11925"/>
                    <a:pt x="5830" y="11936"/>
                    <a:pt x="5859" y="11950"/>
                  </a:cubicBezTo>
                  <a:cubicBezTo>
                    <a:pt x="5875" y="11958"/>
                    <a:pt x="5888" y="11966"/>
                    <a:pt x="5900" y="11973"/>
                  </a:cubicBezTo>
                  <a:close/>
                  <a:moveTo>
                    <a:pt x="5825" y="11492"/>
                  </a:moveTo>
                  <a:lnTo>
                    <a:pt x="5724" y="11697"/>
                  </a:lnTo>
                  <a:lnTo>
                    <a:pt x="6115" y="11890"/>
                  </a:lnTo>
                  <a:lnTo>
                    <a:pt x="6138" y="11842"/>
                  </a:lnTo>
                  <a:lnTo>
                    <a:pt x="5952" y="11751"/>
                  </a:lnTo>
                  <a:lnTo>
                    <a:pt x="6014" y="11625"/>
                  </a:lnTo>
                  <a:lnTo>
                    <a:pt x="5976" y="11607"/>
                  </a:lnTo>
                  <a:lnTo>
                    <a:pt x="5914" y="11732"/>
                  </a:lnTo>
                  <a:lnTo>
                    <a:pt x="5786" y="11669"/>
                  </a:lnTo>
                  <a:lnTo>
                    <a:pt x="5860" y="11518"/>
                  </a:lnTo>
                  <a:lnTo>
                    <a:pt x="5825" y="11492"/>
                  </a:lnTo>
                  <a:close/>
                  <a:moveTo>
                    <a:pt x="6491" y="11125"/>
                  </a:moveTo>
                  <a:lnTo>
                    <a:pt x="6084" y="10966"/>
                  </a:lnTo>
                  <a:lnTo>
                    <a:pt x="6050" y="11035"/>
                  </a:lnTo>
                  <a:lnTo>
                    <a:pt x="6273" y="11236"/>
                  </a:lnTo>
                  <a:cubicBezTo>
                    <a:pt x="6287" y="11248"/>
                    <a:pt x="6299" y="11259"/>
                    <a:pt x="6311" y="11267"/>
                  </a:cubicBezTo>
                  <a:cubicBezTo>
                    <a:pt x="6322" y="11276"/>
                    <a:pt x="6328" y="11281"/>
                    <a:pt x="6330" y="11282"/>
                  </a:cubicBezTo>
                  <a:cubicBezTo>
                    <a:pt x="6328" y="11281"/>
                    <a:pt x="6320" y="11279"/>
                    <a:pt x="6306" y="11275"/>
                  </a:cubicBezTo>
                  <a:cubicBezTo>
                    <a:pt x="6292" y="11272"/>
                    <a:pt x="6275" y="11268"/>
                    <a:pt x="6254" y="11264"/>
                  </a:cubicBezTo>
                  <a:lnTo>
                    <a:pt x="5964" y="11209"/>
                  </a:lnTo>
                  <a:lnTo>
                    <a:pt x="5930" y="11278"/>
                  </a:lnTo>
                  <a:lnTo>
                    <a:pt x="6304" y="11504"/>
                  </a:lnTo>
                  <a:lnTo>
                    <a:pt x="6327" y="11459"/>
                  </a:lnTo>
                  <a:lnTo>
                    <a:pt x="6059" y="11301"/>
                  </a:lnTo>
                  <a:cubicBezTo>
                    <a:pt x="6054" y="11298"/>
                    <a:pt x="6047" y="11294"/>
                    <a:pt x="6040" y="11290"/>
                  </a:cubicBezTo>
                  <a:cubicBezTo>
                    <a:pt x="6032" y="11285"/>
                    <a:pt x="6025" y="11281"/>
                    <a:pt x="6017" y="11277"/>
                  </a:cubicBezTo>
                  <a:cubicBezTo>
                    <a:pt x="6010" y="11273"/>
                    <a:pt x="6003" y="11269"/>
                    <a:pt x="5998" y="11266"/>
                  </a:cubicBezTo>
                  <a:cubicBezTo>
                    <a:pt x="5993" y="11263"/>
                    <a:pt x="5990" y="11261"/>
                    <a:pt x="5989" y="11260"/>
                  </a:cubicBezTo>
                  <a:cubicBezTo>
                    <a:pt x="5993" y="11262"/>
                    <a:pt x="6002" y="11264"/>
                    <a:pt x="6016" y="11266"/>
                  </a:cubicBezTo>
                  <a:cubicBezTo>
                    <a:pt x="6031" y="11269"/>
                    <a:pt x="6050" y="11273"/>
                    <a:pt x="6072" y="11277"/>
                  </a:cubicBezTo>
                  <a:lnTo>
                    <a:pt x="6387" y="11336"/>
                  </a:lnTo>
                  <a:lnTo>
                    <a:pt x="6407" y="11296"/>
                  </a:lnTo>
                  <a:lnTo>
                    <a:pt x="6156" y="11069"/>
                  </a:lnTo>
                  <a:cubicBezTo>
                    <a:pt x="6151" y="11065"/>
                    <a:pt x="6145" y="11060"/>
                    <a:pt x="6140" y="11055"/>
                  </a:cubicBezTo>
                  <a:cubicBezTo>
                    <a:pt x="6134" y="11050"/>
                    <a:pt x="6128" y="11045"/>
                    <a:pt x="6123" y="11041"/>
                  </a:cubicBezTo>
                  <a:cubicBezTo>
                    <a:pt x="6118" y="11036"/>
                    <a:pt x="6113" y="11032"/>
                    <a:pt x="6109" y="11029"/>
                  </a:cubicBezTo>
                  <a:cubicBezTo>
                    <a:pt x="6106" y="11026"/>
                    <a:pt x="6103" y="11024"/>
                    <a:pt x="6103" y="11024"/>
                  </a:cubicBezTo>
                  <a:cubicBezTo>
                    <a:pt x="6104" y="11024"/>
                    <a:pt x="6106" y="11025"/>
                    <a:pt x="6111" y="11027"/>
                  </a:cubicBezTo>
                  <a:cubicBezTo>
                    <a:pt x="6116" y="11029"/>
                    <a:pt x="6121" y="11032"/>
                    <a:pt x="6128" y="11035"/>
                  </a:cubicBezTo>
                  <a:cubicBezTo>
                    <a:pt x="6135" y="11038"/>
                    <a:pt x="6142" y="11041"/>
                    <a:pt x="6150" y="11045"/>
                  </a:cubicBezTo>
                  <a:cubicBezTo>
                    <a:pt x="6157" y="11048"/>
                    <a:pt x="6164" y="11051"/>
                    <a:pt x="6170" y="11053"/>
                  </a:cubicBezTo>
                  <a:lnTo>
                    <a:pt x="6468" y="11172"/>
                  </a:lnTo>
                  <a:lnTo>
                    <a:pt x="6491" y="11125"/>
                  </a:lnTo>
                  <a:close/>
                  <a:moveTo>
                    <a:pt x="6276" y="10576"/>
                  </a:moveTo>
                  <a:lnTo>
                    <a:pt x="6253" y="10623"/>
                  </a:lnTo>
                  <a:lnTo>
                    <a:pt x="6525" y="10757"/>
                  </a:lnTo>
                  <a:cubicBezTo>
                    <a:pt x="6538" y="10763"/>
                    <a:pt x="6549" y="10770"/>
                    <a:pt x="6558" y="10776"/>
                  </a:cubicBezTo>
                  <a:cubicBezTo>
                    <a:pt x="6566" y="10782"/>
                    <a:pt x="6573" y="10791"/>
                    <a:pt x="6579" y="10801"/>
                  </a:cubicBezTo>
                  <a:cubicBezTo>
                    <a:pt x="6584" y="10811"/>
                    <a:pt x="6586" y="10823"/>
                    <a:pt x="6584" y="10837"/>
                  </a:cubicBezTo>
                  <a:cubicBezTo>
                    <a:pt x="6582" y="10851"/>
                    <a:pt x="6577" y="10866"/>
                    <a:pt x="6569" y="10882"/>
                  </a:cubicBezTo>
                  <a:cubicBezTo>
                    <a:pt x="6563" y="10894"/>
                    <a:pt x="6557" y="10904"/>
                    <a:pt x="6551" y="10912"/>
                  </a:cubicBezTo>
                  <a:cubicBezTo>
                    <a:pt x="6544" y="10920"/>
                    <a:pt x="6537" y="10926"/>
                    <a:pt x="6531" y="10930"/>
                  </a:cubicBezTo>
                  <a:cubicBezTo>
                    <a:pt x="6524" y="10934"/>
                    <a:pt x="6517" y="10937"/>
                    <a:pt x="6511" y="10938"/>
                  </a:cubicBezTo>
                  <a:cubicBezTo>
                    <a:pt x="6505" y="10939"/>
                    <a:pt x="6499" y="10940"/>
                    <a:pt x="6494" y="10940"/>
                  </a:cubicBezTo>
                  <a:cubicBezTo>
                    <a:pt x="6486" y="10940"/>
                    <a:pt x="6477" y="10937"/>
                    <a:pt x="6466" y="10933"/>
                  </a:cubicBezTo>
                  <a:cubicBezTo>
                    <a:pt x="6454" y="10928"/>
                    <a:pt x="6444" y="10924"/>
                    <a:pt x="6434" y="10919"/>
                  </a:cubicBezTo>
                  <a:lnTo>
                    <a:pt x="6171" y="10789"/>
                  </a:lnTo>
                  <a:lnTo>
                    <a:pt x="6148" y="10836"/>
                  </a:lnTo>
                  <a:lnTo>
                    <a:pt x="6428" y="10974"/>
                  </a:lnTo>
                  <a:cubicBezTo>
                    <a:pt x="6437" y="10978"/>
                    <a:pt x="6447" y="10982"/>
                    <a:pt x="6459" y="10987"/>
                  </a:cubicBezTo>
                  <a:cubicBezTo>
                    <a:pt x="6471" y="10991"/>
                    <a:pt x="6483" y="10993"/>
                    <a:pt x="6495" y="10992"/>
                  </a:cubicBezTo>
                  <a:cubicBezTo>
                    <a:pt x="6520" y="10991"/>
                    <a:pt x="6541" y="10984"/>
                    <a:pt x="6559" y="10970"/>
                  </a:cubicBezTo>
                  <a:cubicBezTo>
                    <a:pt x="6577" y="10957"/>
                    <a:pt x="6593" y="10935"/>
                    <a:pt x="6608" y="10904"/>
                  </a:cubicBezTo>
                  <a:cubicBezTo>
                    <a:pt x="6620" y="10880"/>
                    <a:pt x="6627" y="10859"/>
                    <a:pt x="6630" y="10840"/>
                  </a:cubicBezTo>
                  <a:cubicBezTo>
                    <a:pt x="6633" y="10822"/>
                    <a:pt x="6633" y="10804"/>
                    <a:pt x="6628" y="10787"/>
                  </a:cubicBezTo>
                  <a:cubicBezTo>
                    <a:pt x="6624" y="10770"/>
                    <a:pt x="6617" y="10757"/>
                    <a:pt x="6606" y="10746"/>
                  </a:cubicBezTo>
                  <a:cubicBezTo>
                    <a:pt x="6595" y="10736"/>
                    <a:pt x="6577" y="10725"/>
                    <a:pt x="6554" y="10713"/>
                  </a:cubicBezTo>
                  <a:lnTo>
                    <a:pt x="6276" y="10576"/>
                  </a:lnTo>
                  <a:close/>
                  <a:moveTo>
                    <a:pt x="6119" y="10707"/>
                  </a:moveTo>
                  <a:cubicBezTo>
                    <a:pt x="6110" y="10710"/>
                    <a:pt x="6104" y="10716"/>
                    <a:pt x="6100" y="10724"/>
                  </a:cubicBezTo>
                  <a:cubicBezTo>
                    <a:pt x="6096" y="10732"/>
                    <a:pt x="6095" y="10740"/>
                    <a:pt x="6098" y="10749"/>
                  </a:cubicBezTo>
                  <a:cubicBezTo>
                    <a:pt x="6101" y="10757"/>
                    <a:pt x="6106" y="10763"/>
                    <a:pt x="6114" y="10767"/>
                  </a:cubicBezTo>
                  <a:cubicBezTo>
                    <a:pt x="6123" y="10772"/>
                    <a:pt x="6131" y="10772"/>
                    <a:pt x="6140" y="10769"/>
                  </a:cubicBezTo>
                  <a:cubicBezTo>
                    <a:pt x="6149" y="10767"/>
                    <a:pt x="6155" y="10761"/>
                    <a:pt x="6159" y="10753"/>
                  </a:cubicBezTo>
                  <a:cubicBezTo>
                    <a:pt x="6163" y="10744"/>
                    <a:pt x="6164" y="10736"/>
                    <a:pt x="6161" y="10727"/>
                  </a:cubicBezTo>
                  <a:cubicBezTo>
                    <a:pt x="6157" y="10719"/>
                    <a:pt x="6152" y="10713"/>
                    <a:pt x="6143" y="10709"/>
                  </a:cubicBezTo>
                  <a:cubicBezTo>
                    <a:pt x="6135" y="10705"/>
                    <a:pt x="6127" y="10704"/>
                    <a:pt x="6119" y="10707"/>
                  </a:cubicBezTo>
                  <a:close/>
                  <a:moveTo>
                    <a:pt x="6176" y="10590"/>
                  </a:moveTo>
                  <a:cubicBezTo>
                    <a:pt x="6167" y="10593"/>
                    <a:pt x="6161" y="10599"/>
                    <a:pt x="6157" y="10607"/>
                  </a:cubicBezTo>
                  <a:cubicBezTo>
                    <a:pt x="6153" y="10615"/>
                    <a:pt x="6153" y="10623"/>
                    <a:pt x="6156" y="10632"/>
                  </a:cubicBezTo>
                  <a:cubicBezTo>
                    <a:pt x="6158" y="10640"/>
                    <a:pt x="6164" y="10647"/>
                    <a:pt x="6172" y="10651"/>
                  </a:cubicBezTo>
                  <a:cubicBezTo>
                    <a:pt x="6180" y="10655"/>
                    <a:pt x="6189" y="10655"/>
                    <a:pt x="6197" y="10653"/>
                  </a:cubicBezTo>
                  <a:cubicBezTo>
                    <a:pt x="6206" y="10650"/>
                    <a:pt x="6212" y="10644"/>
                    <a:pt x="6217" y="10636"/>
                  </a:cubicBezTo>
                  <a:cubicBezTo>
                    <a:pt x="6221" y="10627"/>
                    <a:pt x="6221" y="10619"/>
                    <a:pt x="6218" y="10611"/>
                  </a:cubicBezTo>
                  <a:cubicBezTo>
                    <a:pt x="6215" y="10602"/>
                    <a:pt x="6209" y="10596"/>
                    <a:pt x="6201" y="10592"/>
                  </a:cubicBezTo>
                  <a:cubicBezTo>
                    <a:pt x="6193" y="10588"/>
                    <a:pt x="6184" y="10587"/>
                    <a:pt x="6176" y="10590"/>
                  </a:cubicBezTo>
                  <a:close/>
                  <a:moveTo>
                    <a:pt x="6850" y="10396"/>
                  </a:moveTo>
                  <a:lnTo>
                    <a:pt x="6459" y="10204"/>
                  </a:lnTo>
                  <a:lnTo>
                    <a:pt x="6436" y="10250"/>
                  </a:lnTo>
                  <a:lnTo>
                    <a:pt x="6650" y="10353"/>
                  </a:lnTo>
                  <a:cubicBezTo>
                    <a:pt x="6664" y="10360"/>
                    <a:pt x="6678" y="10366"/>
                    <a:pt x="6692" y="10373"/>
                  </a:cubicBezTo>
                  <a:cubicBezTo>
                    <a:pt x="6706" y="10379"/>
                    <a:pt x="6719" y="10385"/>
                    <a:pt x="6731" y="10390"/>
                  </a:cubicBezTo>
                  <a:cubicBezTo>
                    <a:pt x="6742" y="10395"/>
                    <a:pt x="6752" y="10399"/>
                    <a:pt x="6759" y="10402"/>
                  </a:cubicBezTo>
                  <a:cubicBezTo>
                    <a:pt x="6767" y="10405"/>
                    <a:pt x="6771" y="10406"/>
                    <a:pt x="6771" y="10406"/>
                  </a:cubicBezTo>
                  <a:cubicBezTo>
                    <a:pt x="6770" y="10406"/>
                    <a:pt x="6766" y="10406"/>
                    <a:pt x="6760" y="10405"/>
                  </a:cubicBezTo>
                  <a:cubicBezTo>
                    <a:pt x="6754" y="10405"/>
                    <a:pt x="6746" y="10404"/>
                    <a:pt x="6737" y="10404"/>
                  </a:cubicBezTo>
                  <a:cubicBezTo>
                    <a:pt x="6728" y="10403"/>
                    <a:pt x="6717" y="10403"/>
                    <a:pt x="6706" y="10402"/>
                  </a:cubicBezTo>
                  <a:cubicBezTo>
                    <a:pt x="6694" y="10402"/>
                    <a:pt x="6683" y="10402"/>
                    <a:pt x="6671" y="10402"/>
                  </a:cubicBezTo>
                  <a:lnTo>
                    <a:pt x="6358" y="10409"/>
                  </a:lnTo>
                  <a:lnTo>
                    <a:pt x="6331" y="10464"/>
                  </a:lnTo>
                  <a:lnTo>
                    <a:pt x="6722" y="10656"/>
                  </a:lnTo>
                  <a:lnTo>
                    <a:pt x="6746" y="10608"/>
                  </a:lnTo>
                  <a:lnTo>
                    <a:pt x="6518" y="10498"/>
                  </a:lnTo>
                  <a:cubicBezTo>
                    <a:pt x="6506" y="10493"/>
                    <a:pt x="6495" y="10487"/>
                    <a:pt x="6483" y="10482"/>
                  </a:cubicBezTo>
                  <a:cubicBezTo>
                    <a:pt x="6472" y="10477"/>
                    <a:pt x="6461" y="10473"/>
                    <a:pt x="6451" y="10468"/>
                  </a:cubicBezTo>
                  <a:cubicBezTo>
                    <a:pt x="6441" y="10464"/>
                    <a:pt x="6432" y="10461"/>
                    <a:pt x="6425" y="10457"/>
                  </a:cubicBezTo>
                  <a:cubicBezTo>
                    <a:pt x="6418" y="10454"/>
                    <a:pt x="6413" y="10452"/>
                    <a:pt x="6409" y="10451"/>
                  </a:cubicBezTo>
                  <a:cubicBezTo>
                    <a:pt x="6413" y="10452"/>
                    <a:pt x="6419" y="10452"/>
                    <a:pt x="6426" y="10453"/>
                  </a:cubicBezTo>
                  <a:cubicBezTo>
                    <a:pt x="6434" y="10453"/>
                    <a:pt x="6443" y="10453"/>
                    <a:pt x="6453" y="10453"/>
                  </a:cubicBezTo>
                  <a:cubicBezTo>
                    <a:pt x="6463" y="10453"/>
                    <a:pt x="6474" y="10453"/>
                    <a:pt x="6486" y="10453"/>
                  </a:cubicBezTo>
                  <a:cubicBezTo>
                    <a:pt x="6498" y="10453"/>
                    <a:pt x="6511" y="10453"/>
                    <a:pt x="6525" y="10453"/>
                  </a:cubicBezTo>
                  <a:lnTo>
                    <a:pt x="6826" y="10445"/>
                  </a:lnTo>
                  <a:lnTo>
                    <a:pt x="6850" y="10396"/>
                  </a:lnTo>
                  <a:close/>
                  <a:moveTo>
                    <a:pt x="6874" y="9975"/>
                  </a:moveTo>
                  <a:cubicBezTo>
                    <a:pt x="6859" y="9974"/>
                    <a:pt x="6845" y="9975"/>
                    <a:pt x="6832" y="9978"/>
                  </a:cubicBezTo>
                  <a:cubicBezTo>
                    <a:pt x="6819" y="9982"/>
                    <a:pt x="6807" y="9987"/>
                    <a:pt x="6796" y="9995"/>
                  </a:cubicBezTo>
                  <a:cubicBezTo>
                    <a:pt x="6786" y="10002"/>
                    <a:pt x="6773" y="10013"/>
                    <a:pt x="6759" y="10028"/>
                  </a:cubicBezTo>
                  <a:lnTo>
                    <a:pt x="6723" y="10066"/>
                  </a:lnTo>
                  <a:cubicBezTo>
                    <a:pt x="6704" y="10085"/>
                    <a:pt x="6687" y="10098"/>
                    <a:pt x="6673" y="10103"/>
                  </a:cubicBezTo>
                  <a:cubicBezTo>
                    <a:pt x="6658" y="10109"/>
                    <a:pt x="6643" y="10107"/>
                    <a:pt x="6627" y="10099"/>
                  </a:cubicBezTo>
                  <a:cubicBezTo>
                    <a:pt x="6607" y="10090"/>
                    <a:pt x="6595" y="10075"/>
                    <a:pt x="6590" y="10056"/>
                  </a:cubicBezTo>
                  <a:cubicBezTo>
                    <a:pt x="6585" y="10036"/>
                    <a:pt x="6589" y="10014"/>
                    <a:pt x="6601" y="9990"/>
                  </a:cubicBezTo>
                  <a:cubicBezTo>
                    <a:pt x="6605" y="9981"/>
                    <a:pt x="6610" y="9974"/>
                    <a:pt x="6614" y="9967"/>
                  </a:cubicBezTo>
                  <a:cubicBezTo>
                    <a:pt x="6619" y="9960"/>
                    <a:pt x="6625" y="9954"/>
                    <a:pt x="6631" y="9947"/>
                  </a:cubicBezTo>
                  <a:cubicBezTo>
                    <a:pt x="6637" y="9941"/>
                    <a:pt x="6645" y="9935"/>
                    <a:pt x="6653" y="9929"/>
                  </a:cubicBezTo>
                  <a:cubicBezTo>
                    <a:pt x="6661" y="9924"/>
                    <a:pt x="6670" y="9917"/>
                    <a:pt x="6681" y="9911"/>
                  </a:cubicBezTo>
                  <a:lnTo>
                    <a:pt x="6657" y="9874"/>
                  </a:lnTo>
                  <a:cubicBezTo>
                    <a:pt x="6614" y="9899"/>
                    <a:pt x="6582" y="9932"/>
                    <a:pt x="6562" y="9973"/>
                  </a:cubicBezTo>
                  <a:cubicBezTo>
                    <a:pt x="6552" y="9992"/>
                    <a:pt x="6547" y="10011"/>
                    <a:pt x="6545" y="10029"/>
                  </a:cubicBezTo>
                  <a:cubicBezTo>
                    <a:pt x="6542" y="10047"/>
                    <a:pt x="6544" y="10064"/>
                    <a:pt x="6548" y="10080"/>
                  </a:cubicBezTo>
                  <a:cubicBezTo>
                    <a:pt x="6552" y="10096"/>
                    <a:pt x="6560" y="10111"/>
                    <a:pt x="6571" y="10123"/>
                  </a:cubicBezTo>
                  <a:cubicBezTo>
                    <a:pt x="6581" y="10136"/>
                    <a:pt x="6595" y="10147"/>
                    <a:pt x="6612" y="10155"/>
                  </a:cubicBezTo>
                  <a:cubicBezTo>
                    <a:pt x="6637" y="10167"/>
                    <a:pt x="6662" y="10170"/>
                    <a:pt x="6688" y="10162"/>
                  </a:cubicBezTo>
                  <a:cubicBezTo>
                    <a:pt x="6699" y="10158"/>
                    <a:pt x="6710" y="10152"/>
                    <a:pt x="6720" y="10144"/>
                  </a:cubicBezTo>
                  <a:cubicBezTo>
                    <a:pt x="6730" y="10136"/>
                    <a:pt x="6743" y="10125"/>
                    <a:pt x="6757" y="10109"/>
                  </a:cubicBezTo>
                  <a:lnTo>
                    <a:pt x="6788" y="10076"/>
                  </a:lnTo>
                  <a:cubicBezTo>
                    <a:pt x="6825" y="10036"/>
                    <a:pt x="6861" y="10025"/>
                    <a:pt x="6895" y="10042"/>
                  </a:cubicBezTo>
                  <a:cubicBezTo>
                    <a:pt x="6918" y="10053"/>
                    <a:pt x="6933" y="10072"/>
                    <a:pt x="6937" y="10097"/>
                  </a:cubicBezTo>
                  <a:cubicBezTo>
                    <a:pt x="6940" y="10109"/>
                    <a:pt x="6940" y="10120"/>
                    <a:pt x="6938" y="10130"/>
                  </a:cubicBezTo>
                  <a:cubicBezTo>
                    <a:pt x="6936" y="10140"/>
                    <a:pt x="6931" y="10153"/>
                    <a:pt x="6924" y="10168"/>
                  </a:cubicBezTo>
                  <a:cubicBezTo>
                    <a:pt x="6914" y="10187"/>
                    <a:pt x="6903" y="10204"/>
                    <a:pt x="6889" y="10219"/>
                  </a:cubicBezTo>
                  <a:cubicBezTo>
                    <a:pt x="6875" y="10233"/>
                    <a:pt x="6859" y="10245"/>
                    <a:pt x="6839" y="10256"/>
                  </a:cubicBezTo>
                  <a:lnTo>
                    <a:pt x="6865" y="10294"/>
                  </a:lnTo>
                  <a:cubicBezTo>
                    <a:pt x="6887" y="10281"/>
                    <a:pt x="6905" y="10266"/>
                    <a:pt x="6921" y="10248"/>
                  </a:cubicBezTo>
                  <a:cubicBezTo>
                    <a:pt x="6937" y="10231"/>
                    <a:pt x="6951" y="10210"/>
                    <a:pt x="6962" y="10186"/>
                  </a:cubicBezTo>
                  <a:cubicBezTo>
                    <a:pt x="6971" y="10168"/>
                    <a:pt x="6977" y="10151"/>
                    <a:pt x="6980" y="10136"/>
                  </a:cubicBezTo>
                  <a:cubicBezTo>
                    <a:pt x="6983" y="10120"/>
                    <a:pt x="6983" y="10104"/>
                    <a:pt x="6981" y="10087"/>
                  </a:cubicBezTo>
                  <a:cubicBezTo>
                    <a:pt x="6979" y="10064"/>
                    <a:pt x="6972" y="10044"/>
                    <a:pt x="6960" y="10026"/>
                  </a:cubicBezTo>
                  <a:cubicBezTo>
                    <a:pt x="6947" y="10009"/>
                    <a:pt x="6932" y="9996"/>
                    <a:pt x="6914" y="9987"/>
                  </a:cubicBezTo>
                  <a:cubicBezTo>
                    <a:pt x="6902" y="9981"/>
                    <a:pt x="6888" y="9977"/>
                    <a:pt x="6874" y="9975"/>
                  </a:cubicBezTo>
                  <a:close/>
                  <a:moveTo>
                    <a:pt x="6791" y="9529"/>
                  </a:moveTo>
                  <a:lnTo>
                    <a:pt x="6664" y="9787"/>
                  </a:lnTo>
                  <a:lnTo>
                    <a:pt x="6703" y="9807"/>
                  </a:lnTo>
                  <a:lnTo>
                    <a:pt x="6755" y="9702"/>
                  </a:lnTo>
                  <a:lnTo>
                    <a:pt x="7106" y="9875"/>
                  </a:lnTo>
                  <a:lnTo>
                    <a:pt x="7128" y="9830"/>
                  </a:lnTo>
                  <a:lnTo>
                    <a:pt x="6777" y="9657"/>
                  </a:lnTo>
                  <a:lnTo>
                    <a:pt x="6829" y="9551"/>
                  </a:lnTo>
                  <a:lnTo>
                    <a:pt x="6791" y="9529"/>
                  </a:lnTo>
                  <a:close/>
                  <a:moveTo>
                    <a:pt x="7323" y="9434"/>
                  </a:moveTo>
                  <a:lnTo>
                    <a:pt x="7283" y="9414"/>
                  </a:lnTo>
                  <a:lnTo>
                    <a:pt x="7198" y="9587"/>
                  </a:lnTo>
                  <a:lnTo>
                    <a:pt x="7055" y="9516"/>
                  </a:lnTo>
                  <a:lnTo>
                    <a:pt x="7121" y="9382"/>
                  </a:lnTo>
                  <a:lnTo>
                    <a:pt x="7080" y="9362"/>
                  </a:lnTo>
                  <a:lnTo>
                    <a:pt x="7014" y="9496"/>
                  </a:lnTo>
                  <a:lnTo>
                    <a:pt x="6886" y="9433"/>
                  </a:lnTo>
                  <a:lnTo>
                    <a:pt x="6965" y="9273"/>
                  </a:lnTo>
                  <a:lnTo>
                    <a:pt x="6929" y="9248"/>
                  </a:lnTo>
                  <a:lnTo>
                    <a:pt x="6824" y="9461"/>
                  </a:lnTo>
                  <a:lnTo>
                    <a:pt x="7215" y="9654"/>
                  </a:lnTo>
                  <a:lnTo>
                    <a:pt x="7323" y="9434"/>
                  </a:lnTo>
                  <a:close/>
                  <a:moveTo>
                    <a:pt x="7486" y="9103"/>
                  </a:moveTo>
                  <a:lnTo>
                    <a:pt x="7450" y="9108"/>
                  </a:lnTo>
                  <a:cubicBezTo>
                    <a:pt x="7433" y="9110"/>
                    <a:pt x="7415" y="9113"/>
                    <a:pt x="7397" y="9115"/>
                  </a:cubicBezTo>
                  <a:cubicBezTo>
                    <a:pt x="7378" y="9118"/>
                    <a:pt x="7360" y="9120"/>
                    <a:pt x="7344" y="9122"/>
                  </a:cubicBezTo>
                  <a:cubicBezTo>
                    <a:pt x="7327" y="9125"/>
                    <a:pt x="7316" y="9127"/>
                    <a:pt x="7309" y="9128"/>
                  </a:cubicBezTo>
                  <a:cubicBezTo>
                    <a:pt x="7299" y="9130"/>
                    <a:pt x="7288" y="9132"/>
                    <a:pt x="7276" y="9135"/>
                  </a:cubicBezTo>
                  <a:cubicBezTo>
                    <a:pt x="7264" y="9138"/>
                    <a:pt x="7254" y="9142"/>
                    <a:pt x="7246" y="9146"/>
                  </a:cubicBezTo>
                  <a:lnTo>
                    <a:pt x="7248" y="9140"/>
                  </a:lnTo>
                  <a:cubicBezTo>
                    <a:pt x="7256" y="9124"/>
                    <a:pt x="7261" y="9109"/>
                    <a:pt x="7262" y="9094"/>
                  </a:cubicBezTo>
                  <a:cubicBezTo>
                    <a:pt x="7263" y="9079"/>
                    <a:pt x="7261" y="9064"/>
                    <a:pt x="7256" y="9050"/>
                  </a:cubicBezTo>
                  <a:cubicBezTo>
                    <a:pt x="7251" y="9037"/>
                    <a:pt x="7243" y="9024"/>
                    <a:pt x="7233" y="9013"/>
                  </a:cubicBezTo>
                  <a:cubicBezTo>
                    <a:pt x="7222" y="9001"/>
                    <a:pt x="7208" y="8991"/>
                    <a:pt x="7192" y="8984"/>
                  </a:cubicBezTo>
                  <a:cubicBezTo>
                    <a:pt x="7182" y="8979"/>
                    <a:pt x="7172" y="8975"/>
                    <a:pt x="7162" y="8973"/>
                  </a:cubicBezTo>
                  <a:cubicBezTo>
                    <a:pt x="7153" y="8972"/>
                    <a:pt x="7143" y="8971"/>
                    <a:pt x="7135" y="8971"/>
                  </a:cubicBezTo>
                  <a:cubicBezTo>
                    <a:pt x="7126" y="8971"/>
                    <a:pt x="7118" y="8973"/>
                    <a:pt x="7111" y="8975"/>
                  </a:cubicBezTo>
                  <a:cubicBezTo>
                    <a:pt x="7103" y="8977"/>
                    <a:pt x="7097" y="8979"/>
                    <a:pt x="7091" y="8982"/>
                  </a:cubicBezTo>
                  <a:cubicBezTo>
                    <a:pt x="7085" y="8985"/>
                    <a:pt x="7079" y="8988"/>
                    <a:pt x="7073" y="8993"/>
                  </a:cubicBezTo>
                  <a:cubicBezTo>
                    <a:pt x="7067" y="8997"/>
                    <a:pt x="7061" y="9003"/>
                    <a:pt x="7055" y="9009"/>
                  </a:cubicBezTo>
                  <a:cubicBezTo>
                    <a:pt x="7049" y="9016"/>
                    <a:pt x="7043" y="9024"/>
                    <a:pt x="7037" y="9034"/>
                  </a:cubicBezTo>
                  <a:cubicBezTo>
                    <a:pt x="7031" y="9043"/>
                    <a:pt x="7024" y="9055"/>
                    <a:pt x="7018" y="9068"/>
                  </a:cubicBezTo>
                  <a:lnTo>
                    <a:pt x="6973" y="9159"/>
                  </a:lnTo>
                  <a:lnTo>
                    <a:pt x="7364" y="9352"/>
                  </a:lnTo>
                  <a:lnTo>
                    <a:pt x="7386" y="9306"/>
                  </a:lnTo>
                  <a:lnTo>
                    <a:pt x="7209" y="9219"/>
                  </a:lnTo>
                  <a:cubicBezTo>
                    <a:pt x="7215" y="9209"/>
                    <a:pt x="7220" y="9202"/>
                    <a:pt x="7227" y="9198"/>
                  </a:cubicBezTo>
                  <a:cubicBezTo>
                    <a:pt x="7233" y="9193"/>
                    <a:pt x="7243" y="9190"/>
                    <a:pt x="7256" y="9187"/>
                  </a:cubicBezTo>
                  <a:cubicBezTo>
                    <a:pt x="7280" y="9182"/>
                    <a:pt x="7301" y="9178"/>
                    <a:pt x="7322" y="9175"/>
                  </a:cubicBezTo>
                  <a:cubicBezTo>
                    <a:pt x="7343" y="9171"/>
                    <a:pt x="7362" y="9169"/>
                    <a:pt x="7379" y="9167"/>
                  </a:cubicBezTo>
                  <a:cubicBezTo>
                    <a:pt x="7397" y="9164"/>
                    <a:pt x="7412" y="9163"/>
                    <a:pt x="7425" y="9163"/>
                  </a:cubicBezTo>
                  <a:cubicBezTo>
                    <a:pt x="7439" y="9162"/>
                    <a:pt x="7449" y="9162"/>
                    <a:pt x="7457" y="9162"/>
                  </a:cubicBezTo>
                  <a:lnTo>
                    <a:pt x="7486" y="9103"/>
                  </a:lnTo>
                  <a:close/>
                  <a:moveTo>
                    <a:pt x="7200" y="9054"/>
                  </a:moveTo>
                  <a:cubicBezTo>
                    <a:pt x="7208" y="9063"/>
                    <a:pt x="7214" y="9072"/>
                    <a:pt x="7217" y="9081"/>
                  </a:cubicBezTo>
                  <a:cubicBezTo>
                    <a:pt x="7220" y="9092"/>
                    <a:pt x="7220" y="9104"/>
                    <a:pt x="7218" y="9116"/>
                  </a:cubicBezTo>
                  <a:cubicBezTo>
                    <a:pt x="7216" y="9129"/>
                    <a:pt x="7210" y="9144"/>
                    <a:pt x="7202" y="9162"/>
                  </a:cubicBezTo>
                  <a:lnTo>
                    <a:pt x="7180" y="9205"/>
                  </a:lnTo>
                  <a:lnTo>
                    <a:pt x="7035" y="9133"/>
                  </a:lnTo>
                  <a:lnTo>
                    <a:pt x="7058" y="9086"/>
                  </a:lnTo>
                  <a:cubicBezTo>
                    <a:pt x="7063" y="9076"/>
                    <a:pt x="7068" y="9067"/>
                    <a:pt x="7073" y="9060"/>
                  </a:cubicBezTo>
                  <a:cubicBezTo>
                    <a:pt x="7078" y="9053"/>
                    <a:pt x="7084" y="9046"/>
                    <a:pt x="7090" y="9041"/>
                  </a:cubicBezTo>
                  <a:cubicBezTo>
                    <a:pt x="7100" y="9033"/>
                    <a:pt x="7112" y="9027"/>
                    <a:pt x="7126" y="9025"/>
                  </a:cubicBezTo>
                  <a:cubicBezTo>
                    <a:pt x="7141" y="9024"/>
                    <a:pt x="7155" y="9026"/>
                    <a:pt x="7168" y="9032"/>
                  </a:cubicBezTo>
                  <a:cubicBezTo>
                    <a:pt x="7181" y="9039"/>
                    <a:pt x="7191" y="9046"/>
                    <a:pt x="7200" y="9054"/>
                  </a:cubicBezTo>
                  <a:close/>
                  <a:moveTo>
                    <a:pt x="7698" y="8892"/>
                  </a:moveTo>
                  <a:lnTo>
                    <a:pt x="7149" y="8622"/>
                  </a:lnTo>
                  <a:lnTo>
                    <a:pt x="7130" y="8659"/>
                  </a:lnTo>
                  <a:lnTo>
                    <a:pt x="7679" y="8929"/>
                  </a:lnTo>
                  <a:lnTo>
                    <a:pt x="7698" y="8892"/>
                  </a:lnTo>
                  <a:close/>
                  <a:moveTo>
                    <a:pt x="7543" y="8000"/>
                  </a:moveTo>
                  <a:lnTo>
                    <a:pt x="7520" y="8047"/>
                  </a:lnTo>
                  <a:lnTo>
                    <a:pt x="7723" y="8207"/>
                  </a:lnTo>
                  <a:cubicBezTo>
                    <a:pt x="7736" y="8217"/>
                    <a:pt x="7749" y="8227"/>
                    <a:pt x="7761" y="8237"/>
                  </a:cubicBezTo>
                  <a:cubicBezTo>
                    <a:pt x="7774" y="8247"/>
                    <a:pt x="7786" y="8255"/>
                    <a:pt x="7796" y="8263"/>
                  </a:cubicBezTo>
                  <a:cubicBezTo>
                    <a:pt x="7806" y="8270"/>
                    <a:pt x="7814" y="8276"/>
                    <a:pt x="7821" y="8282"/>
                  </a:cubicBezTo>
                  <a:cubicBezTo>
                    <a:pt x="7826" y="8285"/>
                    <a:pt x="7830" y="8287"/>
                    <a:pt x="7831" y="8289"/>
                  </a:cubicBezTo>
                  <a:cubicBezTo>
                    <a:pt x="7829" y="8288"/>
                    <a:pt x="7826" y="8287"/>
                    <a:pt x="7822" y="8286"/>
                  </a:cubicBezTo>
                  <a:cubicBezTo>
                    <a:pt x="7815" y="8284"/>
                    <a:pt x="7807" y="8282"/>
                    <a:pt x="7797" y="8279"/>
                  </a:cubicBezTo>
                  <a:cubicBezTo>
                    <a:pt x="7787" y="8276"/>
                    <a:pt x="7775" y="8273"/>
                    <a:pt x="7762" y="8269"/>
                  </a:cubicBezTo>
                  <a:cubicBezTo>
                    <a:pt x="7749" y="8266"/>
                    <a:pt x="7734" y="8262"/>
                    <a:pt x="7718" y="8258"/>
                  </a:cubicBezTo>
                  <a:lnTo>
                    <a:pt x="7449" y="8192"/>
                  </a:lnTo>
                  <a:lnTo>
                    <a:pt x="7423" y="8245"/>
                  </a:lnTo>
                  <a:lnTo>
                    <a:pt x="7631" y="8413"/>
                  </a:lnTo>
                  <a:cubicBezTo>
                    <a:pt x="7641" y="8420"/>
                    <a:pt x="7652" y="8429"/>
                    <a:pt x="7663" y="8438"/>
                  </a:cubicBezTo>
                  <a:cubicBezTo>
                    <a:pt x="7675" y="8447"/>
                    <a:pt x="7686" y="8455"/>
                    <a:pt x="7696" y="8462"/>
                  </a:cubicBezTo>
                  <a:cubicBezTo>
                    <a:pt x="7706" y="8470"/>
                    <a:pt x="7714" y="8476"/>
                    <a:pt x="7721" y="8482"/>
                  </a:cubicBezTo>
                  <a:cubicBezTo>
                    <a:pt x="7728" y="8487"/>
                    <a:pt x="7732" y="8490"/>
                    <a:pt x="7733" y="8490"/>
                  </a:cubicBezTo>
                  <a:cubicBezTo>
                    <a:pt x="7731" y="8490"/>
                    <a:pt x="7726" y="8488"/>
                    <a:pt x="7718" y="8486"/>
                  </a:cubicBezTo>
                  <a:cubicBezTo>
                    <a:pt x="7709" y="8483"/>
                    <a:pt x="7699" y="8480"/>
                    <a:pt x="7686" y="8476"/>
                  </a:cubicBezTo>
                  <a:cubicBezTo>
                    <a:pt x="7674" y="8472"/>
                    <a:pt x="7661" y="8468"/>
                    <a:pt x="7646" y="8464"/>
                  </a:cubicBezTo>
                  <a:cubicBezTo>
                    <a:pt x="7632" y="8460"/>
                    <a:pt x="7618" y="8456"/>
                    <a:pt x="7604" y="8453"/>
                  </a:cubicBezTo>
                  <a:lnTo>
                    <a:pt x="7351" y="8390"/>
                  </a:lnTo>
                  <a:lnTo>
                    <a:pt x="7327" y="8440"/>
                  </a:lnTo>
                  <a:lnTo>
                    <a:pt x="7763" y="8540"/>
                  </a:lnTo>
                  <a:lnTo>
                    <a:pt x="7793" y="8480"/>
                  </a:lnTo>
                  <a:lnTo>
                    <a:pt x="7596" y="8324"/>
                  </a:lnTo>
                  <a:cubicBezTo>
                    <a:pt x="7584" y="8315"/>
                    <a:pt x="7573" y="8306"/>
                    <a:pt x="7562" y="8297"/>
                  </a:cubicBezTo>
                  <a:cubicBezTo>
                    <a:pt x="7550" y="8289"/>
                    <a:pt x="7540" y="8281"/>
                    <a:pt x="7531" y="8275"/>
                  </a:cubicBezTo>
                  <a:cubicBezTo>
                    <a:pt x="7522" y="8268"/>
                    <a:pt x="7515" y="8263"/>
                    <a:pt x="7509" y="8259"/>
                  </a:cubicBezTo>
                  <a:cubicBezTo>
                    <a:pt x="7503" y="8255"/>
                    <a:pt x="7500" y="8252"/>
                    <a:pt x="7499" y="8251"/>
                  </a:cubicBezTo>
                  <a:cubicBezTo>
                    <a:pt x="7500" y="8252"/>
                    <a:pt x="7505" y="8253"/>
                    <a:pt x="7511" y="8255"/>
                  </a:cubicBezTo>
                  <a:cubicBezTo>
                    <a:pt x="7518" y="8257"/>
                    <a:pt x="7527" y="8260"/>
                    <a:pt x="7537" y="8263"/>
                  </a:cubicBezTo>
                  <a:cubicBezTo>
                    <a:pt x="7548" y="8266"/>
                    <a:pt x="7560" y="8269"/>
                    <a:pt x="7574" y="8273"/>
                  </a:cubicBezTo>
                  <a:cubicBezTo>
                    <a:pt x="7588" y="8277"/>
                    <a:pt x="7603" y="8281"/>
                    <a:pt x="7619" y="8285"/>
                  </a:cubicBezTo>
                  <a:lnTo>
                    <a:pt x="7860" y="8343"/>
                  </a:lnTo>
                  <a:lnTo>
                    <a:pt x="7890" y="8282"/>
                  </a:lnTo>
                  <a:lnTo>
                    <a:pt x="7543" y="8000"/>
                  </a:lnTo>
                  <a:close/>
                  <a:moveTo>
                    <a:pt x="8080" y="7895"/>
                  </a:moveTo>
                  <a:lnTo>
                    <a:pt x="8040" y="7875"/>
                  </a:lnTo>
                  <a:lnTo>
                    <a:pt x="7955" y="8047"/>
                  </a:lnTo>
                  <a:lnTo>
                    <a:pt x="7812" y="7977"/>
                  </a:lnTo>
                  <a:lnTo>
                    <a:pt x="7878" y="7843"/>
                  </a:lnTo>
                  <a:lnTo>
                    <a:pt x="7838" y="7823"/>
                  </a:lnTo>
                  <a:lnTo>
                    <a:pt x="7772" y="7957"/>
                  </a:lnTo>
                  <a:lnTo>
                    <a:pt x="7644" y="7894"/>
                  </a:lnTo>
                  <a:lnTo>
                    <a:pt x="7722" y="7734"/>
                  </a:lnTo>
                  <a:lnTo>
                    <a:pt x="7687" y="7708"/>
                  </a:lnTo>
                  <a:lnTo>
                    <a:pt x="7582" y="7922"/>
                  </a:lnTo>
                  <a:lnTo>
                    <a:pt x="7973" y="8114"/>
                  </a:lnTo>
                  <a:lnTo>
                    <a:pt x="8080" y="7895"/>
                  </a:lnTo>
                  <a:close/>
                  <a:moveTo>
                    <a:pt x="8096" y="7491"/>
                  </a:moveTo>
                  <a:cubicBezTo>
                    <a:pt x="8082" y="7489"/>
                    <a:pt x="8068" y="7490"/>
                    <a:pt x="8055" y="7494"/>
                  </a:cubicBezTo>
                  <a:cubicBezTo>
                    <a:pt x="8042" y="7497"/>
                    <a:pt x="8030" y="7503"/>
                    <a:pt x="8019" y="7510"/>
                  </a:cubicBezTo>
                  <a:cubicBezTo>
                    <a:pt x="8008" y="7517"/>
                    <a:pt x="7996" y="7528"/>
                    <a:pt x="7982" y="7543"/>
                  </a:cubicBezTo>
                  <a:lnTo>
                    <a:pt x="7945" y="7581"/>
                  </a:lnTo>
                  <a:cubicBezTo>
                    <a:pt x="7926" y="7601"/>
                    <a:pt x="7910" y="7613"/>
                    <a:pt x="7895" y="7619"/>
                  </a:cubicBezTo>
                  <a:cubicBezTo>
                    <a:pt x="7881" y="7624"/>
                    <a:pt x="7866" y="7623"/>
                    <a:pt x="7850" y="7615"/>
                  </a:cubicBezTo>
                  <a:cubicBezTo>
                    <a:pt x="7829" y="7605"/>
                    <a:pt x="7817" y="7590"/>
                    <a:pt x="7812" y="7571"/>
                  </a:cubicBezTo>
                  <a:cubicBezTo>
                    <a:pt x="7808" y="7552"/>
                    <a:pt x="7811" y="7530"/>
                    <a:pt x="7824" y="7505"/>
                  </a:cubicBezTo>
                  <a:cubicBezTo>
                    <a:pt x="7828" y="7497"/>
                    <a:pt x="7832" y="7489"/>
                    <a:pt x="7837" y="7482"/>
                  </a:cubicBezTo>
                  <a:cubicBezTo>
                    <a:pt x="7842" y="7475"/>
                    <a:pt x="7847" y="7469"/>
                    <a:pt x="7854" y="7463"/>
                  </a:cubicBezTo>
                  <a:cubicBezTo>
                    <a:pt x="7860" y="7457"/>
                    <a:pt x="7867" y="7451"/>
                    <a:pt x="7875" y="7445"/>
                  </a:cubicBezTo>
                  <a:cubicBezTo>
                    <a:pt x="7883" y="7439"/>
                    <a:pt x="7893" y="7433"/>
                    <a:pt x="7904" y="7426"/>
                  </a:cubicBezTo>
                  <a:lnTo>
                    <a:pt x="7880" y="7389"/>
                  </a:lnTo>
                  <a:cubicBezTo>
                    <a:pt x="7837" y="7414"/>
                    <a:pt x="7805" y="7447"/>
                    <a:pt x="7784" y="7489"/>
                  </a:cubicBezTo>
                  <a:cubicBezTo>
                    <a:pt x="7775" y="7508"/>
                    <a:pt x="7769" y="7526"/>
                    <a:pt x="7767" y="7545"/>
                  </a:cubicBezTo>
                  <a:cubicBezTo>
                    <a:pt x="7765" y="7563"/>
                    <a:pt x="7766" y="7580"/>
                    <a:pt x="7771" y="7596"/>
                  </a:cubicBezTo>
                  <a:cubicBezTo>
                    <a:pt x="7775" y="7612"/>
                    <a:pt x="7783" y="7626"/>
                    <a:pt x="7793" y="7639"/>
                  </a:cubicBezTo>
                  <a:cubicBezTo>
                    <a:pt x="7804" y="7652"/>
                    <a:pt x="7818" y="7662"/>
                    <a:pt x="7834" y="7670"/>
                  </a:cubicBezTo>
                  <a:cubicBezTo>
                    <a:pt x="7859" y="7683"/>
                    <a:pt x="7885" y="7685"/>
                    <a:pt x="7910" y="7677"/>
                  </a:cubicBezTo>
                  <a:cubicBezTo>
                    <a:pt x="7922" y="7674"/>
                    <a:pt x="7933" y="7668"/>
                    <a:pt x="7943" y="7660"/>
                  </a:cubicBezTo>
                  <a:cubicBezTo>
                    <a:pt x="7953" y="7652"/>
                    <a:pt x="7965" y="7640"/>
                    <a:pt x="7979" y="7625"/>
                  </a:cubicBezTo>
                  <a:lnTo>
                    <a:pt x="8010" y="7591"/>
                  </a:lnTo>
                  <a:cubicBezTo>
                    <a:pt x="8048" y="7552"/>
                    <a:pt x="8083" y="7540"/>
                    <a:pt x="8118" y="7557"/>
                  </a:cubicBezTo>
                  <a:cubicBezTo>
                    <a:pt x="8141" y="7569"/>
                    <a:pt x="8155" y="7587"/>
                    <a:pt x="8160" y="7613"/>
                  </a:cubicBezTo>
                  <a:cubicBezTo>
                    <a:pt x="8162" y="7624"/>
                    <a:pt x="8162" y="7635"/>
                    <a:pt x="8160" y="7645"/>
                  </a:cubicBezTo>
                  <a:cubicBezTo>
                    <a:pt x="8158" y="7656"/>
                    <a:pt x="8154" y="7668"/>
                    <a:pt x="8146" y="7683"/>
                  </a:cubicBezTo>
                  <a:cubicBezTo>
                    <a:pt x="8137" y="7703"/>
                    <a:pt x="8125" y="7720"/>
                    <a:pt x="8111" y="7734"/>
                  </a:cubicBezTo>
                  <a:cubicBezTo>
                    <a:pt x="8098" y="7748"/>
                    <a:pt x="8081" y="7761"/>
                    <a:pt x="8061" y="7771"/>
                  </a:cubicBezTo>
                  <a:lnTo>
                    <a:pt x="8088" y="7810"/>
                  </a:lnTo>
                  <a:cubicBezTo>
                    <a:pt x="8109" y="7796"/>
                    <a:pt x="8128" y="7781"/>
                    <a:pt x="8144" y="7763"/>
                  </a:cubicBezTo>
                  <a:cubicBezTo>
                    <a:pt x="8159" y="7746"/>
                    <a:pt x="8173" y="7725"/>
                    <a:pt x="8185" y="7702"/>
                  </a:cubicBezTo>
                  <a:cubicBezTo>
                    <a:pt x="8194" y="7684"/>
                    <a:pt x="8200" y="7667"/>
                    <a:pt x="8203" y="7651"/>
                  </a:cubicBezTo>
                  <a:cubicBezTo>
                    <a:pt x="8205" y="7636"/>
                    <a:pt x="8206" y="7619"/>
                    <a:pt x="8204" y="7602"/>
                  </a:cubicBezTo>
                  <a:cubicBezTo>
                    <a:pt x="8202" y="7580"/>
                    <a:pt x="8194" y="7559"/>
                    <a:pt x="8182" y="7542"/>
                  </a:cubicBezTo>
                  <a:cubicBezTo>
                    <a:pt x="8170" y="7524"/>
                    <a:pt x="8155" y="7511"/>
                    <a:pt x="8137" y="7502"/>
                  </a:cubicBezTo>
                  <a:cubicBezTo>
                    <a:pt x="8124" y="7496"/>
                    <a:pt x="8111" y="7492"/>
                    <a:pt x="8096" y="7491"/>
                  </a:cubicBezTo>
                  <a:close/>
                  <a:moveTo>
                    <a:pt x="8014" y="7044"/>
                  </a:moveTo>
                  <a:lnTo>
                    <a:pt x="7886" y="7303"/>
                  </a:lnTo>
                  <a:lnTo>
                    <a:pt x="7926" y="7322"/>
                  </a:lnTo>
                  <a:lnTo>
                    <a:pt x="7977" y="7217"/>
                  </a:lnTo>
                  <a:lnTo>
                    <a:pt x="8329" y="7390"/>
                  </a:lnTo>
                  <a:lnTo>
                    <a:pt x="8351" y="7345"/>
                  </a:lnTo>
                  <a:lnTo>
                    <a:pt x="7999" y="7172"/>
                  </a:lnTo>
                  <a:lnTo>
                    <a:pt x="8052" y="7066"/>
                  </a:lnTo>
                  <a:lnTo>
                    <a:pt x="8014" y="7044"/>
                  </a:lnTo>
                  <a:close/>
                  <a:moveTo>
                    <a:pt x="8148" y="6771"/>
                  </a:moveTo>
                  <a:lnTo>
                    <a:pt x="8047" y="6977"/>
                  </a:lnTo>
                  <a:lnTo>
                    <a:pt x="8438" y="7169"/>
                  </a:lnTo>
                  <a:lnTo>
                    <a:pt x="8461" y="7122"/>
                  </a:lnTo>
                  <a:lnTo>
                    <a:pt x="8275" y="7030"/>
                  </a:lnTo>
                  <a:lnTo>
                    <a:pt x="8337" y="6905"/>
                  </a:lnTo>
                  <a:lnTo>
                    <a:pt x="8299" y="6886"/>
                  </a:lnTo>
                  <a:lnTo>
                    <a:pt x="8237" y="7012"/>
                  </a:lnTo>
                  <a:lnTo>
                    <a:pt x="8109" y="6949"/>
                  </a:lnTo>
                  <a:lnTo>
                    <a:pt x="8183" y="6798"/>
                  </a:lnTo>
                  <a:lnTo>
                    <a:pt x="8148" y="6771"/>
                  </a:lnTo>
                  <a:close/>
                  <a:moveTo>
                    <a:pt x="8695" y="6646"/>
                  </a:moveTo>
                  <a:lnTo>
                    <a:pt x="8241" y="6583"/>
                  </a:lnTo>
                  <a:lnTo>
                    <a:pt x="8211" y="6644"/>
                  </a:lnTo>
                  <a:lnTo>
                    <a:pt x="8537" y="6967"/>
                  </a:lnTo>
                  <a:lnTo>
                    <a:pt x="8561" y="6919"/>
                  </a:lnTo>
                  <a:lnTo>
                    <a:pt x="8459" y="6823"/>
                  </a:lnTo>
                  <a:lnTo>
                    <a:pt x="8531" y="6677"/>
                  </a:lnTo>
                  <a:lnTo>
                    <a:pt x="8669" y="6699"/>
                  </a:lnTo>
                  <a:lnTo>
                    <a:pt x="8695" y="6646"/>
                  </a:lnTo>
                  <a:close/>
                  <a:moveTo>
                    <a:pt x="8487" y="6670"/>
                  </a:moveTo>
                  <a:lnTo>
                    <a:pt x="8427" y="6791"/>
                  </a:lnTo>
                  <a:lnTo>
                    <a:pt x="8266" y="6635"/>
                  </a:lnTo>
                  <a:lnTo>
                    <a:pt x="8487" y="6670"/>
                  </a:lnTo>
                  <a:close/>
                  <a:moveTo>
                    <a:pt x="8133" y="6614"/>
                  </a:moveTo>
                  <a:cubicBezTo>
                    <a:pt x="8124" y="6617"/>
                    <a:pt x="8118" y="6622"/>
                    <a:pt x="8114" y="6631"/>
                  </a:cubicBezTo>
                  <a:cubicBezTo>
                    <a:pt x="8110" y="6639"/>
                    <a:pt x="8109" y="6647"/>
                    <a:pt x="8112" y="6655"/>
                  </a:cubicBezTo>
                  <a:cubicBezTo>
                    <a:pt x="8115" y="6664"/>
                    <a:pt x="8121" y="6670"/>
                    <a:pt x="8129" y="6674"/>
                  </a:cubicBezTo>
                  <a:cubicBezTo>
                    <a:pt x="8137" y="6678"/>
                    <a:pt x="8145" y="6679"/>
                    <a:pt x="8154" y="6676"/>
                  </a:cubicBezTo>
                  <a:cubicBezTo>
                    <a:pt x="8163" y="6673"/>
                    <a:pt x="8169" y="6668"/>
                    <a:pt x="8173" y="6659"/>
                  </a:cubicBezTo>
                  <a:cubicBezTo>
                    <a:pt x="8177" y="6651"/>
                    <a:pt x="8178" y="6643"/>
                    <a:pt x="8175" y="6634"/>
                  </a:cubicBezTo>
                  <a:cubicBezTo>
                    <a:pt x="8172" y="6626"/>
                    <a:pt x="8166" y="6620"/>
                    <a:pt x="8157" y="6615"/>
                  </a:cubicBezTo>
                  <a:cubicBezTo>
                    <a:pt x="8149" y="6612"/>
                    <a:pt x="8141" y="6611"/>
                    <a:pt x="8133" y="6614"/>
                  </a:cubicBezTo>
                  <a:close/>
                  <a:moveTo>
                    <a:pt x="8190" y="6497"/>
                  </a:moveTo>
                  <a:cubicBezTo>
                    <a:pt x="8182" y="6499"/>
                    <a:pt x="8176" y="6505"/>
                    <a:pt x="8171" y="6513"/>
                  </a:cubicBezTo>
                  <a:cubicBezTo>
                    <a:pt x="8168" y="6521"/>
                    <a:pt x="8167" y="6530"/>
                    <a:pt x="8170" y="6538"/>
                  </a:cubicBezTo>
                  <a:cubicBezTo>
                    <a:pt x="8173" y="6547"/>
                    <a:pt x="8178" y="6553"/>
                    <a:pt x="8186" y="6557"/>
                  </a:cubicBezTo>
                  <a:cubicBezTo>
                    <a:pt x="8195" y="6561"/>
                    <a:pt x="8203" y="6562"/>
                    <a:pt x="8212" y="6559"/>
                  </a:cubicBezTo>
                  <a:cubicBezTo>
                    <a:pt x="8221" y="6556"/>
                    <a:pt x="8227" y="6550"/>
                    <a:pt x="8231" y="6542"/>
                  </a:cubicBezTo>
                  <a:cubicBezTo>
                    <a:pt x="8235" y="6534"/>
                    <a:pt x="8236" y="6525"/>
                    <a:pt x="8232" y="6517"/>
                  </a:cubicBezTo>
                  <a:cubicBezTo>
                    <a:pt x="8229" y="6508"/>
                    <a:pt x="8223" y="6502"/>
                    <a:pt x="8215" y="6498"/>
                  </a:cubicBezTo>
                  <a:cubicBezTo>
                    <a:pt x="8207" y="6494"/>
                    <a:pt x="8199" y="6494"/>
                    <a:pt x="8190" y="6497"/>
                  </a:cubicBezTo>
                  <a:close/>
                  <a:moveTo>
                    <a:pt x="8791" y="6351"/>
                  </a:moveTo>
                  <a:lnTo>
                    <a:pt x="8715" y="6506"/>
                  </a:lnTo>
                  <a:lnTo>
                    <a:pt x="8364" y="6333"/>
                  </a:lnTo>
                  <a:lnTo>
                    <a:pt x="8341" y="6380"/>
                  </a:lnTo>
                  <a:lnTo>
                    <a:pt x="8732" y="6572"/>
                  </a:lnTo>
                  <a:lnTo>
                    <a:pt x="8827" y="6377"/>
                  </a:lnTo>
                  <a:lnTo>
                    <a:pt x="8791" y="6351"/>
                  </a:lnTo>
                  <a:close/>
                  <a:moveTo>
                    <a:pt x="8890" y="6250"/>
                  </a:moveTo>
                  <a:lnTo>
                    <a:pt x="8499" y="6058"/>
                  </a:lnTo>
                  <a:lnTo>
                    <a:pt x="8477" y="6103"/>
                  </a:lnTo>
                  <a:lnTo>
                    <a:pt x="8868" y="6295"/>
                  </a:lnTo>
                  <a:lnTo>
                    <a:pt x="8890" y="6250"/>
                  </a:lnTo>
                  <a:close/>
                  <a:moveTo>
                    <a:pt x="3914" y="18089"/>
                  </a:moveTo>
                  <a:lnTo>
                    <a:pt x="3523" y="17896"/>
                  </a:lnTo>
                  <a:lnTo>
                    <a:pt x="3500" y="17943"/>
                  </a:lnTo>
                  <a:lnTo>
                    <a:pt x="3664" y="18023"/>
                  </a:lnTo>
                  <a:lnTo>
                    <a:pt x="3583" y="18188"/>
                  </a:lnTo>
                  <a:lnTo>
                    <a:pt x="3419" y="18108"/>
                  </a:lnTo>
                  <a:lnTo>
                    <a:pt x="3397" y="18153"/>
                  </a:lnTo>
                  <a:lnTo>
                    <a:pt x="3601" y="18254"/>
                  </a:lnTo>
                  <a:lnTo>
                    <a:pt x="3717" y="18254"/>
                  </a:lnTo>
                  <a:lnTo>
                    <a:pt x="3621" y="18207"/>
                  </a:lnTo>
                  <a:lnTo>
                    <a:pt x="3702" y="18042"/>
                  </a:lnTo>
                  <a:lnTo>
                    <a:pt x="3891" y="18135"/>
                  </a:lnTo>
                  <a:lnTo>
                    <a:pt x="3914" y="18089"/>
                  </a:lnTo>
                  <a:close/>
                  <a:moveTo>
                    <a:pt x="9002" y="7621"/>
                  </a:moveTo>
                  <a:lnTo>
                    <a:pt x="9002" y="7564"/>
                  </a:lnTo>
                  <a:lnTo>
                    <a:pt x="8684" y="7408"/>
                  </a:lnTo>
                  <a:lnTo>
                    <a:pt x="8661" y="7454"/>
                  </a:lnTo>
                  <a:lnTo>
                    <a:pt x="9002" y="7621"/>
                  </a:lnTo>
                  <a:close/>
                  <a:moveTo>
                    <a:pt x="9002" y="7370"/>
                  </a:moveTo>
                  <a:lnTo>
                    <a:pt x="9002" y="7318"/>
                  </a:lnTo>
                  <a:lnTo>
                    <a:pt x="8746" y="7282"/>
                  </a:lnTo>
                  <a:lnTo>
                    <a:pt x="8721" y="7332"/>
                  </a:lnTo>
                  <a:lnTo>
                    <a:pt x="9002" y="7370"/>
                  </a:lnTo>
                  <a:close/>
                  <a:moveTo>
                    <a:pt x="9002" y="7216"/>
                  </a:moveTo>
                  <a:lnTo>
                    <a:pt x="9002" y="7149"/>
                  </a:lnTo>
                  <a:lnTo>
                    <a:pt x="8874" y="7021"/>
                  </a:lnTo>
                  <a:lnTo>
                    <a:pt x="8851" y="7069"/>
                  </a:lnTo>
                  <a:lnTo>
                    <a:pt x="9002" y="7216"/>
                  </a:lnTo>
                  <a:close/>
                  <a:moveTo>
                    <a:pt x="9002" y="6990"/>
                  </a:moveTo>
                  <a:lnTo>
                    <a:pt x="9002" y="6931"/>
                  </a:lnTo>
                  <a:lnTo>
                    <a:pt x="8974" y="6917"/>
                  </a:lnTo>
                  <a:lnTo>
                    <a:pt x="9002" y="6859"/>
                  </a:lnTo>
                  <a:lnTo>
                    <a:pt x="9002" y="6761"/>
                  </a:lnTo>
                  <a:lnTo>
                    <a:pt x="8912" y="6945"/>
                  </a:lnTo>
                  <a:lnTo>
                    <a:pt x="9002" y="6990"/>
                  </a:lnTo>
                  <a:close/>
                  <a:moveTo>
                    <a:pt x="4078" y="17755"/>
                  </a:moveTo>
                  <a:lnTo>
                    <a:pt x="4038" y="17735"/>
                  </a:lnTo>
                  <a:lnTo>
                    <a:pt x="3953" y="17907"/>
                  </a:lnTo>
                  <a:lnTo>
                    <a:pt x="3810" y="17837"/>
                  </a:lnTo>
                  <a:lnTo>
                    <a:pt x="3876" y="17703"/>
                  </a:lnTo>
                  <a:lnTo>
                    <a:pt x="3835" y="17683"/>
                  </a:lnTo>
                  <a:lnTo>
                    <a:pt x="3770" y="17817"/>
                  </a:lnTo>
                  <a:lnTo>
                    <a:pt x="3641" y="17754"/>
                  </a:lnTo>
                  <a:lnTo>
                    <a:pt x="3720" y="17593"/>
                  </a:lnTo>
                  <a:lnTo>
                    <a:pt x="3684" y="17568"/>
                  </a:lnTo>
                  <a:lnTo>
                    <a:pt x="3579" y="17782"/>
                  </a:lnTo>
                  <a:lnTo>
                    <a:pt x="3970" y="17974"/>
                  </a:lnTo>
                  <a:lnTo>
                    <a:pt x="4078" y="17755"/>
                  </a:lnTo>
                  <a:close/>
                  <a:moveTo>
                    <a:pt x="3995" y="16937"/>
                  </a:moveTo>
                  <a:lnTo>
                    <a:pt x="3972" y="16984"/>
                  </a:lnTo>
                  <a:lnTo>
                    <a:pt x="4175" y="17144"/>
                  </a:lnTo>
                  <a:cubicBezTo>
                    <a:pt x="4188" y="17154"/>
                    <a:pt x="4200" y="17164"/>
                    <a:pt x="4213" y="17174"/>
                  </a:cubicBezTo>
                  <a:cubicBezTo>
                    <a:pt x="4226" y="17184"/>
                    <a:pt x="4237" y="17192"/>
                    <a:pt x="4248" y="17200"/>
                  </a:cubicBezTo>
                  <a:cubicBezTo>
                    <a:pt x="4258" y="17207"/>
                    <a:pt x="4266" y="17213"/>
                    <a:pt x="4273" y="17218"/>
                  </a:cubicBezTo>
                  <a:cubicBezTo>
                    <a:pt x="4278" y="17222"/>
                    <a:pt x="4281" y="17224"/>
                    <a:pt x="4283" y="17226"/>
                  </a:cubicBezTo>
                  <a:cubicBezTo>
                    <a:pt x="4281" y="17225"/>
                    <a:pt x="4278" y="17224"/>
                    <a:pt x="4273" y="17223"/>
                  </a:cubicBezTo>
                  <a:cubicBezTo>
                    <a:pt x="4267" y="17221"/>
                    <a:pt x="4259" y="17218"/>
                    <a:pt x="4249" y="17216"/>
                  </a:cubicBezTo>
                  <a:cubicBezTo>
                    <a:pt x="4239" y="17213"/>
                    <a:pt x="4227" y="17210"/>
                    <a:pt x="4214" y="17206"/>
                  </a:cubicBezTo>
                  <a:cubicBezTo>
                    <a:pt x="4200" y="17203"/>
                    <a:pt x="4186" y="17199"/>
                    <a:pt x="4170" y="17195"/>
                  </a:cubicBezTo>
                  <a:lnTo>
                    <a:pt x="3900" y="17129"/>
                  </a:lnTo>
                  <a:lnTo>
                    <a:pt x="3874" y="17182"/>
                  </a:lnTo>
                  <a:lnTo>
                    <a:pt x="4083" y="17349"/>
                  </a:lnTo>
                  <a:cubicBezTo>
                    <a:pt x="4093" y="17357"/>
                    <a:pt x="4104" y="17366"/>
                    <a:pt x="4115" y="17375"/>
                  </a:cubicBezTo>
                  <a:cubicBezTo>
                    <a:pt x="4127" y="17384"/>
                    <a:pt x="4138" y="17392"/>
                    <a:pt x="4148" y="17399"/>
                  </a:cubicBezTo>
                  <a:cubicBezTo>
                    <a:pt x="4158" y="17407"/>
                    <a:pt x="4166" y="17413"/>
                    <a:pt x="4173" y="17419"/>
                  </a:cubicBezTo>
                  <a:cubicBezTo>
                    <a:pt x="4180" y="17424"/>
                    <a:pt x="4184" y="17427"/>
                    <a:pt x="4185" y="17427"/>
                  </a:cubicBezTo>
                  <a:cubicBezTo>
                    <a:pt x="4183" y="17427"/>
                    <a:pt x="4178" y="17425"/>
                    <a:pt x="4169" y="17422"/>
                  </a:cubicBezTo>
                  <a:cubicBezTo>
                    <a:pt x="4161" y="17420"/>
                    <a:pt x="4150" y="17416"/>
                    <a:pt x="4138" y="17413"/>
                  </a:cubicBezTo>
                  <a:cubicBezTo>
                    <a:pt x="4126" y="17409"/>
                    <a:pt x="4112" y="17405"/>
                    <a:pt x="4098" y="17401"/>
                  </a:cubicBezTo>
                  <a:cubicBezTo>
                    <a:pt x="4083" y="17397"/>
                    <a:pt x="4069" y="17393"/>
                    <a:pt x="4056" y="17390"/>
                  </a:cubicBezTo>
                  <a:lnTo>
                    <a:pt x="3803" y="17327"/>
                  </a:lnTo>
                  <a:lnTo>
                    <a:pt x="3778" y="17377"/>
                  </a:lnTo>
                  <a:lnTo>
                    <a:pt x="4215" y="17477"/>
                  </a:lnTo>
                  <a:lnTo>
                    <a:pt x="4244" y="17417"/>
                  </a:lnTo>
                  <a:lnTo>
                    <a:pt x="4047" y="17261"/>
                  </a:lnTo>
                  <a:cubicBezTo>
                    <a:pt x="4036" y="17252"/>
                    <a:pt x="4024" y="17243"/>
                    <a:pt x="4013" y="17234"/>
                  </a:cubicBezTo>
                  <a:cubicBezTo>
                    <a:pt x="4002" y="17226"/>
                    <a:pt x="3992" y="17218"/>
                    <a:pt x="3983" y="17212"/>
                  </a:cubicBezTo>
                  <a:cubicBezTo>
                    <a:pt x="3974" y="17205"/>
                    <a:pt x="3967" y="17200"/>
                    <a:pt x="3961" y="17196"/>
                  </a:cubicBezTo>
                  <a:cubicBezTo>
                    <a:pt x="3955" y="17192"/>
                    <a:pt x="3952" y="17189"/>
                    <a:pt x="3951" y="17188"/>
                  </a:cubicBezTo>
                  <a:cubicBezTo>
                    <a:pt x="3952" y="17189"/>
                    <a:pt x="3956" y="17190"/>
                    <a:pt x="3963" y="17192"/>
                  </a:cubicBezTo>
                  <a:cubicBezTo>
                    <a:pt x="3970" y="17194"/>
                    <a:pt x="3979" y="17197"/>
                    <a:pt x="3989" y="17200"/>
                  </a:cubicBezTo>
                  <a:cubicBezTo>
                    <a:pt x="4000" y="17203"/>
                    <a:pt x="4012" y="17206"/>
                    <a:pt x="4026" y="17210"/>
                  </a:cubicBezTo>
                  <a:cubicBezTo>
                    <a:pt x="4040" y="17214"/>
                    <a:pt x="4055" y="17218"/>
                    <a:pt x="4071" y="17222"/>
                  </a:cubicBezTo>
                  <a:lnTo>
                    <a:pt x="4312" y="17280"/>
                  </a:lnTo>
                  <a:lnTo>
                    <a:pt x="4342" y="17219"/>
                  </a:lnTo>
                  <a:lnTo>
                    <a:pt x="3995" y="16937"/>
                  </a:lnTo>
                  <a:close/>
                  <a:moveTo>
                    <a:pt x="4447" y="17006"/>
                  </a:moveTo>
                  <a:lnTo>
                    <a:pt x="4056" y="16813"/>
                  </a:lnTo>
                  <a:lnTo>
                    <a:pt x="4033" y="16859"/>
                  </a:lnTo>
                  <a:lnTo>
                    <a:pt x="4424" y="17051"/>
                  </a:lnTo>
                  <a:lnTo>
                    <a:pt x="4447" y="17006"/>
                  </a:lnTo>
                  <a:close/>
                  <a:moveTo>
                    <a:pt x="4563" y="16671"/>
                  </a:moveTo>
                  <a:lnTo>
                    <a:pt x="4487" y="16825"/>
                  </a:lnTo>
                  <a:lnTo>
                    <a:pt x="4135" y="16652"/>
                  </a:lnTo>
                  <a:lnTo>
                    <a:pt x="4112" y="16699"/>
                  </a:lnTo>
                  <a:lnTo>
                    <a:pt x="4503" y="16891"/>
                  </a:lnTo>
                  <a:lnTo>
                    <a:pt x="4599" y="16696"/>
                  </a:lnTo>
                  <a:lnTo>
                    <a:pt x="4563" y="16671"/>
                  </a:lnTo>
                  <a:close/>
                  <a:moveTo>
                    <a:pt x="4766" y="16358"/>
                  </a:moveTo>
                  <a:lnTo>
                    <a:pt x="4375" y="16165"/>
                  </a:lnTo>
                  <a:lnTo>
                    <a:pt x="4352" y="16212"/>
                  </a:lnTo>
                  <a:lnTo>
                    <a:pt x="4515" y="16292"/>
                  </a:lnTo>
                  <a:lnTo>
                    <a:pt x="4434" y="16457"/>
                  </a:lnTo>
                  <a:lnTo>
                    <a:pt x="4271" y="16377"/>
                  </a:lnTo>
                  <a:lnTo>
                    <a:pt x="4248" y="16422"/>
                  </a:lnTo>
                  <a:lnTo>
                    <a:pt x="4639" y="16615"/>
                  </a:lnTo>
                  <a:lnTo>
                    <a:pt x="4662" y="16569"/>
                  </a:lnTo>
                  <a:lnTo>
                    <a:pt x="4472" y="16476"/>
                  </a:lnTo>
                  <a:lnTo>
                    <a:pt x="4553" y="16311"/>
                  </a:lnTo>
                  <a:lnTo>
                    <a:pt x="4743" y="16404"/>
                  </a:lnTo>
                  <a:lnTo>
                    <a:pt x="4766" y="16358"/>
                  </a:lnTo>
                  <a:close/>
                  <a:moveTo>
                    <a:pt x="4930" y="16024"/>
                  </a:moveTo>
                  <a:lnTo>
                    <a:pt x="4889" y="16004"/>
                  </a:lnTo>
                  <a:lnTo>
                    <a:pt x="4805" y="16176"/>
                  </a:lnTo>
                  <a:lnTo>
                    <a:pt x="4662" y="16106"/>
                  </a:lnTo>
                  <a:lnTo>
                    <a:pt x="4728" y="15972"/>
                  </a:lnTo>
                  <a:lnTo>
                    <a:pt x="4687" y="15952"/>
                  </a:lnTo>
                  <a:lnTo>
                    <a:pt x="4621" y="16086"/>
                  </a:lnTo>
                  <a:lnTo>
                    <a:pt x="4493" y="16023"/>
                  </a:lnTo>
                  <a:lnTo>
                    <a:pt x="4572" y="15862"/>
                  </a:lnTo>
                  <a:lnTo>
                    <a:pt x="4536" y="15837"/>
                  </a:lnTo>
                  <a:lnTo>
                    <a:pt x="4431" y="16051"/>
                  </a:lnTo>
                  <a:lnTo>
                    <a:pt x="4822" y="16243"/>
                  </a:lnTo>
                  <a:lnTo>
                    <a:pt x="4930" y="16024"/>
                  </a:lnTo>
                  <a:close/>
                  <a:moveTo>
                    <a:pt x="5030" y="15721"/>
                  </a:moveTo>
                  <a:lnTo>
                    <a:pt x="4954" y="15875"/>
                  </a:lnTo>
                  <a:lnTo>
                    <a:pt x="4603" y="15702"/>
                  </a:lnTo>
                  <a:lnTo>
                    <a:pt x="4580" y="15749"/>
                  </a:lnTo>
                  <a:lnTo>
                    <a:pt x="4971" y="15941"/>
                  </a:lnTo>
                  <a:lnTo>
                    <a:pt x="5066" y="15746"/>
                  </a:lnTo>
                  <a:lnTo>
                    <a:pt x="5030" y="15721"/>
                  </a:lnTo>
                  <a:close/>
                  <a:moveTo>
                    <a:pt x="5289" y="15293"/>
                  </a:moveTo>
                  <a:lnTo>
                    <a:pt x="4882" y="15135"/>
                  </a:lnTo>
                  <a:lnTo>
                    <a:pt x="4848" y="15204"/>
                  </a:lnTo>
                  <a:lnTo>
                    <a:pt x="5072" y="15405"/>
                  </a:lnTo>
                  <a:cubicBezTo>
                    <a:pt x="5085" y="15417"/>
                    <a:pt x="5098" y="15427"/>
                    <a:pt x="5109" y="15436"/>
                  </a:cubicBezTo>
                  <a:cubicBezTo>
                    <a:pt x="5120" y="15444"/>
                    <a:pt x="5127" y="15449"/>
                    <a:pt x="5128" y="15450"/>
                  </a:cubicBezTo>
                  <a:cubicBezTo>
                    <a:pt x="5126" y="15450"/>
                    <a:pt x="5118" y="15448"/>
                    <a:pt x="5104" y="15444"/>
                  </a:cubicBezTo>
                  <a:cubicBezTo>
                    <a:pt x="5090" y="15440"/>
                    <a:pt x="5073" y="15436"/>
                    <a:pt x="5052" y="15432"/>
                  </a:cubicBezTo>
                  <a:lnTo>
                    <a:pt x="4762" y="15378"/>
                  </a:lnTo>
                  <a:lnTo>
                    <a:pt x="4729" y="15446"/>
                  </a:lnTo>
                  <a:lnTo>
                    <a:pt x="5103" y="15673"/>
                  </a:lnTo>
                  <a:lnTo>
                    <a:pt x="5125" y="15628"/>
                  </a:lnTo>
                  <a:lnTo>
                    <a:pt x="4857" y="15469"/>
                  </a:lnTo>
                  <a:cubicBezTo>
                    <a:pt x="4852" y="15466"/>
                    <a:pt x="4845" y="15462"/>
                    <a:pt x="4838" y="15458"/>
                  </a:cubicBezTo>
                  <a:cubicBezTo>
                    <a:pt x="4830" y="15454"/>
                    <a:pt x="4823" y="15449"/>
                    <a:pt x="4815" y="15445"/>
                  </a:cubicBezTo>
                  <a:cubicBezTo>
                    <a:pt x="4808" y="15441"/>
                    <a:pt x="4802" y="15437"/>
                    <a:pt x="4796" y="15434"/>
                  </a:cubicBezTo>
                  <a:cubicBezTo>
                    <a:pt x="4791" y="15431"/>
                    <a:pt x="4788" y="15430"/>
                    <a:pt x="4787" y="15429"/>
                  </a:cubicBezTo>
                  <a:cubicBezTo>
                    <a:pt x="4791" y="15430"/>
                    <a:pt x="4800" y="15432"/>
                    <a:pt x="4814" y="15435"/>
                  </a:cubicBezTo>
                  <a:cubicBezTo>
                    <a:pt x="4829" y="15438"/>
                    <a:pt x="4848" y="15442"/>
                    <a:pt x="4870" y="15446"/>
                  </a:cubicBezTo>
                  <a:lnTo>
                    <a:pt x="5185" y="15505"/>
                  </a:lnTo>
                  <a:lnTo>
                    <a:pt x="5205" y="15465"/>
                  </a:lnTo>
                  <a:lnTo>
                    <a:pt x="4954" y="15238"/>
                  </a:lnTo>
                  <a:cubicBezTo>
                    <a:pt x="4949" y="15233"/>
                    <a:pt x="4943" y="15228"/>
                    <a:pt x="4938" y="15223"/>
                  </a:cubicBezTo>
                  <a:cubicBezTo>
                    <a:pt x="4932" y="15218"/>
                    <a:pt x="4926" y="15214"/>
                    <a:pt x="4921" y="15209"/>
                  </a:cubicBezTo>
                  <a:cubicBezTo>
                    <a:pt x="4916" y="15205"/>
                    <a:pt x="4911" y="15201"/>
                    <a:pt x="4907" y="15198"/>
                  </a:cubicBezTo>
                  <a:cubicBezTo>
                    <a:pt x="4904" y="15195"/>
                    <a:pt x="4902" y="15193"/>
                    <a:pt x="4901" y="15192"/>
                  </a:cubicBezTo>
                  <a:cubicBezTo>
                    <a:pt x="4902" y="15193"/>
                    <a:pt x="4904" y="15194"/>
                    <a:pt x="4909" y="15196"/>
                  </a:cubicBezTo>
                  <a:cubicBezTo>
                    <a:pt x="4914" y="15198"/>
                    <a:pt x="4919" y="15201"/>
                    <a:pt x="4926" y="15204"/>
                  </a:cubicBezTo>
                  <a:cubicBezTo>
                    <a:pt x="4933" y="15207"/>
                    <a:pt x="4940" y="15210"/>
                    <a:pt x="4948" y="15213"/>
                  </a:cubicBezTo>
                  <a:cubicBezTo>
                    <a:pt x="4955" y="15216"/>
                    <a:pt x="4962" y="15219"/>
                    <a:pt x="4968" y="15222"/>
                  </a:cubicBezTo>
                  <a:lnTo>
                    <a:pt x="5266" y="15340"/>
                  </a:lnTo>
                  <a:lnTo>
                    <a:pt x="5289" y="15293"/>
                  </a:lnTo>
                  <a:close/>
                  <a:moveTo>
                    <a:pt x="5309" y="14882"/>
                  </a:moveTo>
                  <a:cubicBezTo>
                    <a:pt x="5294" y="14880"/>
                    <a:pt x="5281" y="14881"/>
                    <a:pt x="5268" y="14885"/>
                  </a:cubicBezTo>
                  <a:cubicBezTo>
                    <a:pt x="5254" y="14888"/>
                    <a:pt x="5242" y="14893"/>
                    <a:pt x="5232" y="14901"/>
                  </a:cubicBezTo>
                  <a:cubicBezTo>
                    <a:pt x="5221" y="14908"/>
                    <a:pt x="5208" y="14919"/>
                    <a:pt x="5194" y="14934"/>
                  </a:cubicBezTo>
                  <a:lnTo>
                    <a:pt x="5158" y="14972"/>
                  </a:lnTo>
                  <a:cubicBezTo>
                    <a:pt x="5139" y="14992"/>
                    <a:pt x="5122" y="15004"/>
                    <a:pt x="5108" y="15009"/>
                  </a:cubicBezTo>
                  <a:cubicBezTo>
                    <a:pt x="5093" y="15015"/>
                    <a:pt x="5078" y="15014"/>
                    <a:pt x="5062" y="15006"/>
                  </a:cubicBezTo>
                  <a:cubicBezTo>
                    <a:pt x="5042" y="14996"/>
                    <a:pt x="5030" y="14981"/>
                    <a:pt x="5025" y="14962"/>
                  </a:cubicBezTo>
                  <a:cubicBezTo>
                    <a:pt x="5020" y="14943"/>
                    <a:pt x="5024" y="14921"/>
                    <a:pt x="5036" y="14896"/>
                  </a:cubicBezTo>
                  <a:cubicBezTo>
                    <a:pt x="5040" y="14888"/>
                    <a:pt x="5045" y="14880"/>
                    <a:pt x="5049" y="14873"/>
                  </a:cubicBezTo>
                  <a:cubicBezTo>
                    <a:pt x="5054" y="14866"/>
                    <a:pt x="5060" y="14860"/>
                    <a:pt x="5066" y="14854"/>
                  </a:cubicBezTo>
                  <a:cubicBezTo>
                    <a:pt x="5072" y="14848"/>
                    <a:pt x="5080" y="14842"/>
                    <a:pt x="5088" y="14836"/>
                  </a:cubicBezTo>
                  <a:cubicBezTo>
                    <a:pt x="5096" y="14830"/>
                    <a:pt x="5105" y="14824"/>
                    <a:pt x="5116" y="14817"/>
                  </a:cubicBezTo>
                  <a:lnTo>
                    <a:pt x="5092" y="14780"/>
                  </a:lnTo>
                  <a:cubicBezTo>
                    <a:pt x="5049" y="14805"/>
                    <a:pt x="5017" y="14838"/>
                    <a:pt x="4997" y="14879"/>
                  </a:cubicBezTo>
                  <a:cubicBezTo>
                    <a:pt x="4987" y="14898"/>
                    <a:pt x="4982" y="14917"/>
                    <a:pt x="4980" y="14935"/>
                  </a:cubicBezTo>
                  <a:cubicBezTo>
                    <a:pt x="4977" y="14954"/>
                    <a:pt x="4979" y="14971"/>
                    <a:pt x="4983" y="14987"/>
                  </a:cubicBezTo>
                  <a:cubicBezTo>
                    <a:pt x="4988" y="15002"/>
                    <a:pt x="4995" y="15017"/>
                    <a:pt x="5006" y="15030"/>
                  </a:cubicBezTo>
                  <a:cubicBezTo>
                    <a:pt x="5016" y="15042"/>
                    <a:pt x="5030" y="15053"/>
                    <a:pt x="5047" y="15061"/>
                  </a:cubicBezTo>
                  <a:cubicBezTo>
                    <a:pt x="5072" y="15074"/>
                    <a:pt x="5097" y="15076"/>
                    <a:pt x="5123" y="15068"/>
                  </a:cubicBezTo>
                  <a:cubicBezTo>
                    <a:pt x="5134" y="15064"/>
                    <a:pt x="5145" y="15059"/>
                    <a:pt x="5155" y="15051"/>
                  </a:cubicBezTo>
                  <a:cubicBezTo>
                    <a:pt x="5165" y="15043"/>
                    <a:pt x="5178" y="15031"/>
                    <a:pt x="5192" y="15016"/>
                  </a:cubicBezTo>
                  <a:lnTo>
                    <a:pt x="5223" y="14982"/>
                  </a:lnTo>
                  <a:cubicBezTo>
                    <a:pt x="5260" y="14942"/>
                    <a:pt x="5296" y="14931"/>
                    <a:pt x="5330" y="14948"/>
                  </a:cubicBezTo>
                  <a:cubicBezTo>
                    <a:pt x="5354" y="14959"/>
                    <a:pt x="5368" y="14978"/>
                    <a:pt x="5372" y="15003"/>
                  </a:cubicBezTo>
                  <a:cubicBezTo>
                    <a:pt x="5375" y="15015"/>
                    <a:pt x="5375" y="15026"/>
                    <a:pt x="5373" y="15036"/>
                  </a:cubicBezTo>
                  <a:cubicBezTo>
                    <a:pt x="5371" y="15047"/>
                    <a:pt x="5366" y="15059"/>
                    <a:pt x="5359" y="15074"/>
                  </a:cubicBezTo>
                  <a:cubicBezTo>
                    <a:pt x="5349" y="15094"/>
                    <a:pt x="5338" y="15111"/>
                    <a:pt x="5324" y="15125"/>
                  </a:cubicBezTo>
                  <a:cubicBezTo>
                    <a:pt x="5310" y="15139"/>
                    <a:pt x="5294" y="15152"/>
                    <a:pt x="5274" y="15162"/>
                  </a:cubicBezTo>
                  <a:lnTo>
                    <a:pt x="5300" y="15201"/>
                  </a:lnTo>
                  <a:cubicBezTo>
                    <a:pt x="5322" y="15187"/>
                    <a:pt x="5341" y="15172"/>
                    <a:pt x="5356" y="15154"/>
                  </a:cubicBezTo>
                  <a:cubicBezTo>
                    <a:pt x="5372" y="15137"/>
                    <a:pt x="5386" y="15116"/>
                    <a:pt x="5397" y="15093"/>
                  </a:cubicBezTo>
                  <a:cubicBezTo>
                    <a:pt x="5406" y="15074"/>
                    <a:pt x="5412" y="15058"/>
                    <a:pt x="5415" y="15042"/>
                  </a:cubicBezTo>
                  <a:cubicBezTo>
                    <a:pt x="5418" y="15027"/>
                    <a:pt x="5418" y="15010"/>
                    <a:pt x="5416" y="14993"/>
                  </a:cubicBezTo>
                  <a:cubicBezTo>
                    <a:pt x="5414" y="14970"/>
                    <a:pt x="5407" y="14950"/>
                    <a:pt x="5395" y="14933"/>
                  </a:cubicBezTo>
                  <a:cubicBezTo>
                    <a:pt x="5382" y="14915"/>
                    <a:pt x="5367" y="14902"/>
                    <a:pt x="5349" y="14893"/>
                  </a:cubicBezTo>
                  <a:cubicBezTo>
                    <a:pt x="5337" y="14887"/>
                    <a:pt x="5324" y="14883"/>
                    <a:pt x="5309" y="14882"/>
                  </a:cubicBezTo>
                  <a:close/>
                  <a:moveTo>
                    <a:pt x="5423" y="14692"/>
                  </a:moveTo>
                  <a:lnTo>
                    <a:pt x="5380" y="14670"/>
                  </a:lnTo>
                  <a:lnTo>
                    <a:pt x="5326" y="14779"/>
                  </a:lnTo>
                  <a:lnTo>
                    <a:pt x="5370" y="14800"/>
                  </a:lnTo>
                  <a:lnTo>
                    <a:pt x="5423" y="14692"/>
                  </a:lnTo>
                  <a:close/>
                  <a:moveTo>
                    <a:pt x="5340" y="14204"/>
                  </a:moveTo>
                  <a:lnTo>
                    <a:pt x="5317" y="14250"/>
                  </a:lnTo>
                  <a:lnTo>
                    <a:pt x="5589" y="14384"/>
                  </a:lnTo>
                  <a:cubicBezTo>
                    <a:pt x="5603" y="14391"/>
                    <a:pt x="5614" y="14397"/>
                    <a:pt x="5622" y="14404"/>
                  </a:cubicBezTo>
                  <a:cubicBezTo>
                    <a:pt x="5630" y="14410"/>
                    <a:pt x="5637" y="14418"/>
                    <a:pt x="5643" y="14429"/>
                  </a:cubicBezTo>
                  <a:cubicBezTo>
                    <a:pt x="5648" y="14439"/>
                    <a:pt x="5650" y="14451"/>
                    <a:pt x="5648" y="14465"/>
                  </a:cubicBezTo>
                  <a:cubicBezTo>
                    <a:pt x="5646" y="14479"/>
                    <a:pt x="5642" y="14494"/>
                    <a:pt x="5634" y="14510"/>
                  </a:cubicBezTo>
                  <a:cubicBezTo>
                    <a:pt x="5628" y="14522"/>
                    <a:pt x="5621" y="14532"/>
                    <a:pt x="5615" y="14540"/>
                  </a:cubicBezTo>
                  <a:cubicBezTo>
                    <a:pt x="5608" y="14547"/>
                    <a:pt x="5601" y="14553"/>
                    <a:pt x="5595" y="14558"/>
                  </a:cubicBezTo>
                  <a:cubicBezTo>
                    <a:pt x="5588" y="14562"/>
                    <a:pt x="5581" y="14565"/>
                    <a:pt x="5575" y="14566"/>
                  </a:cubicBezTo>
                  <a:cubicBezTo>
                    <a:pt x="5569" y="14567"/>
                    <a:pt x="5563" y="14568"/>
                    <a:pt x="5558" y="14568"/>
                  </a:cubicBezTo>
                  <a:cubicBezTo>
                    <a:pt x="5550" y="14567"/>
                    <a:pt x="5541" y="14565"/>
                    <a:pt x="5530" y="14561"/>
                  </a:cubicBezTo>
                  <a:cubicBezTo>
                    <a:pt x="5519" y="14556"/>
                    <a:pt x="5508" y="14552"/>
                    <a:pt x="5498" y="14547"/>
                  </a:cubicBezTo>
                  <a:lnTo>
                    <a:pt x="5235" y="14417"/>
                  </a:lnTo>
                  <a:lnTo>
                    <a:pt x="5212" y="14463"/>
                  </a:lnTo>
                  <a:lnTo>
                    <a:pt x="5492" y="14601"/>
                  </a:lnTo>
                  <a:cubicBezTo>
                    <a:pt x="5501" y="14606"/>
                    <a:pt x="5511" y="14610"/>
                    <a:pt x="5523" y="14614"/>
                  </a:cubicBezTo>
                  <a:cubicBezTo>
                    <a:pt x="5535" y="14619"/>
                    <a:pt x="5547" y="14621"/>
                    <a:pt x="5559" y="14620"/>
                  </a:cubicBezTo>
                  <a:cubicBezTo>
                    <a:pt x="5584" y="14619"/>
                    <a:pt x="5605" y="14612"/>
                    <a:pt x="5623" y="14598"/>
                  </a:cubicBezTo>
                  <a:cubicBezTo>
                    <a:pt x="5641" y="14584"/>
                    <a:pt x="5657" y="14563"/>
                    <a:pt x="5672" y="14532"/>
                  </a:cubicBezTo>
                  <a:cubicBezTo>
                    <a:pt x="5684" y="14508"/>
                    <a:pt x="5692" y="14487"/>
                    <a:pt x="5695" y="14468"/>
                  </a:cubicBezTo>
                  <a:cubicBezTo>
                    <a:pt x="5698" y="14450"/>
                    <a:pt x="5697" y="14432"/>
                    <a:pt x="5693" y="14415"/>
                  </a:cubicBezTo>
                  <a:cubicBezTo>
                    <a:pt x="5689" y="14398"/>
                    <a:pt x="5681" y="14385"/>
                    <a:pt x="5670" y="14374"/>
                  </a:cubicBezTo>
                  <a:cubicBezTo>
                    <a:pt x="5659" y="14364"/>
                    <a:pt x="5641" y="14353"/>
                    <a:pt x="5618" y="14341"/>
                  </a:cubicBezTo>
                  <a:lnTo>
                    <a:pt x="5340" y="14204"/>
                  </a:lnTo>
                  <a:close/>
                  <a:moveTo>
                    <a:pt x="5914" y="14024"/>
                  </a:moveTo>
                  <a:lnTo>
                    <a:pt x="5523" y="13832"/>
                  </a:lnTo>
                  <a:lnTo>
                    <a:pt x="5500" y="13878"/>
                  </a:lnTo>
                  <a:lnTo>
                    <a:pt x="5714" y="13981"/>
                  </a:lnTo>
                  <a:cubicBezTo>
                    <a:pt x="5728" y="13988"/>
                    <a:pt x="5742" y="13994"/>
                    <a:pt x="5756" y="14001"/>
                  </a:cubicBezTo>
                  <a:cubicBezTo>
                    <a:pt x="5771" y="14007"/>
                    <a:pt x="5784" y="14013"/>
                    <a:pt x="5795" y="14017"/>
                  </a:cubicBezTo>
                  <a:cubicBezTo>
                    <a:pt x="5806" y="14022"/>
                    <a:pt x="5816" y="14026"/>
                    <a:pt x="5823" y="14029"/>
                  </a:cubicBezTo>
                  <a:cubicBezTo>
                    <a:pt x="5831" y="14032"/>
                    <a:pt x="5835" y="14034"/>
                    <a:pt x="5835" y="14034"/>
                  </a:cubicBezTo>
                  <a:cubicBezTo>
                    <a:pt x="5834" y="14034"/>
                    <a:pt x="5830" y="14034"/>
                    <a:pt x="5824" y="14033"/>
                  </a:cubicBezTo>
                  <a:cubicBezTo>
                    <a:pt x="5818" y="14033"/>
                    <a:pt x="5810" y="14032"/>
                    <a:pt x="5801" y="14032"/>
                  </a:cubicBezTo>
                  <a:cubicBezTo>
                    <a:pt x="5792" y="14031"/>
                    <a:pt x="5782" y="14031"/>
                    <a:pt x="5770" y="14030"/>
                  </a:cubicBezTo>
                  <a:cubicBezTo>
                    <a:pt x="5758" y="14030"/>
                    <a:pt x="5747" y="14030"/>
                    <a:pt x="5735" y="14030"/>
                  </a:cubicBezTo>
                  <a:lnTo>
                    <a:pt x="5422" y="14037"/>
                  </a:lnTo>
                  <a:lnTo>
                    <a:pt x="5395" y="14091"/>
                  </a:lnTo>
                  <a:lnTo>
                    <a:pt x="5786" y="14284"/>
                  </a:lnTo>
                  <a:lnTo>
                    <a:pt x="5810" y="14235"/>
                  </a:lnTo>
                  <a:lnTo>
                    <a:pt x="5582" y="14126"/>
                  </a:lnTo>
                  <a:cubicBezTo>
                    <a:pt x="5571" y="14120"/>
                    <a:pt x="5559" y="14115"/>
                    <a:pt x="5547" y="14110"/>
                  </a:cubicBezTo>
                  <a:cubicBezTo>
                    <a:pt x="5536" y="14105"/>
                    <a:pt x="5525" y="14100"/>
                    <a:pt x="5515" y="14096"/>
                  </a:cubicBezTo>
                  <a:cubicBezTo>
                    <a:pt x="5505" y="14092"/>
                    <a:pt x="5496" y="14088"/>
                    <a:pt x="5489" y="14085"/>
                  </a:cubicBezTo>
                  <a:cubicBezTo>
                    <a:pt x="5482" y="14082"/>
                    <a:pt x="5477" y="14080"/>
                    <a:pt x="5473" y="14079"/>
                  </a:cubicBezTo>
                  <a:cubicBezTo>
                    <a:pt x="5477" y="14080"/>
                    <a:pt x="5483" y="14080"/>
                    <a:pt x="5491" y="14080"/>
                  </a:cubicBezTo>
                  <a:cubicBezTo>
                    <a:pt x="5498" y="14081"/>
                    <a:pt x="5507" y="14081"/>
                    <a:pt x="5517" y="14081"/>
                  </a:cubicBezTo>
                  <a:cubicBezTo>
                    <a:pt x="5527" y="14081"/>
                    <a:pt x="5538" y="14081"/>
                    <a:pt x="5550" y="14081"/>
                  </a:cubicBezTo>
                  <a:cubicBezTo>
                    <a:pt x="5563" y="14081"/>
                    <a:pt x="5575" y="14081"/>
                    <a:pt x="5589" y="14081"/>
                  </a:cubicBezTo>
                  <a:lnTo>
                    <a:pt x="5890" y="14073"/>
                  </a:lnTo>
                  <a:lnTo>
                    <a:pt x="5914" y="14024"/>
                  </a:lnTo>
                  <a:close/>
                  <a:moveTo>
                    <a:pt x="5993" y="13864"/>
                  </a:moveTo>
                  <a:lnTo>
                    <a:pt x="5602" y="13672"/>
                  </a:lnTo>
                  <a:lnTo>
                    <a:pt x="5579" y="13717"/>
                  </a:lnTo>
                  <a:lnTo>
                    <a:pt x="5970" y="13910"/>
                  </a:lnTo>
                  <a:lnTo>
                    <a:pt x="5993" y="13864"/>
                  </a:lnTo>
                  <a:close/>
                  <a:moveTo>
                    <a:pt x="5792" y="13284"/>
                  </a:moveTo>
                  <a:lnTo>
                    <a:pt x="5769" y="13332"/>
                  </a:lnTo>
                  <a:lnTo>
                    <a:pt x="5985" y="13543"/>
                  </a:lnTo>
                  <a:cubicBezTo>
                    <a:pt x="6003" y="13560"/>
                    <a:pt x="6018" y="13574"/>
                    <a:pt x="6030" y="13585"/>
                  </a:cubicBezTo>
                  <a:cubicBezTo>
                    <a:pt x="6042" y="13596"/>
                    <a:pt x="6050" y="13603"/>
                    <a:pt x="6055" y="13607"/>
                  </a:cubicBezTo>
                  <a:cubicBezTo>
                    <a:pt x="6052" y="13606"/>
                    <a:pt x="6047" y="13605"/>
                    <a:pt x="6040" y="13603"/>
                  </a:cubicBezTo>
                  <a:cubicBezTo>
                    <a:pt x="6033" y="13601"/>
                    <a:pt x="6025" y="13599"/>
                    <a:pt x="6016" y="13597"/>
                  </a:cubicBezTo>
                  <a:cubicBezTo>
                    <a:pt x="6007" y="13595"/>
                    <a:pt x="5997" y="13593"/>
                    <a:pt x="5987" y="13592"/>
                  </a:cubicBezTo>
                  <a:cubicBezTo>
                    <a:pt x="5977" y="13590"/>
                    <a:pt x="5966" y="13588"/>
                    <a:pt x="5956" y="13587"/>
                  </a:cubicBezTo>
                  <a:lnTo>
                    <a:pt x="5664" y="13545"/>
                  </a:lnTo>
                  <a:lnTo>
                    <a:pt x="5639" y="13596"/>
                  </a:lnTo>
                  <a:lnTo>
                    <a:pt x="6095" y="13657"/>
                  </a:lnTo>
                  <a:lnTo>
                    <a:pt x="6117" y="13611"/>
                  </a:lnTo>
                  <a:lnTo>
                    <a:pt x="5792" y="13284"/>
                  </a:lnTo>
                  <a:close/>
                  <a:moveTo>
                    <a:pt x="6328" y="13182"/>
                  </a:moveTo>
                  <a:lnTo>
                    <a:pt x="6288" y="13162"/>
                  </a:lnTo>
                  <a:lnTo>
                    <a:pt x="6203" y="13334"/>
                  </a:lnTo>
                  <a:lnTo>
                    <a:pt x="6060" y="13264"/>
                  </a:lnTo>
                  <a:lnTo>
                    <a:pt x="6126" y="13130"/>
                  </a:lnTo>
                  <a:lnTo>
                    <a:pt x="6086" y="13110"/>
                  </a:lnTo>
                  <a:lnTo>
                    <a:pt x="6020" y="13244"/>
                  </a:lnTo>
                  <a:lnTo>
                    <a:pt x="5892" y="13181"/>
                  </a:lnTo>
                  <a:lnTo>
                    <a:pt x="5970" y="13020"/>
                  </a:lnTo>
                  <a:lnTo>
                    <a:pt x="5935" y="12995"/>
                  </a:lnTo>
                  <a:lnTo>
                    <a:pt x="5830" y="13209"/>
                  </a:lnTo>
                  <a:lnTo>
                    <a:pt x="6220" y="13401"/>
                  </a:lnTo>
                  <a:lnTo>
                    <a:pt x="6328" y="13182"/>
                  </a:lnTo>
                  <a:close/>
                  <a:moveTo>
                    <a:pt x="6491" y="12851"/>
                  </a:moveTo>
                  <a:lnTo>
                    <a:pt x="6455" y="12855"/>
                  </a:lnTo>
                  <a:cubicBezTo>
                    <a:pt x="6438" y="12858"/>
                    <a:pt x="6421" y="12860"/>
                    <a:pt x="6402" y="12863"/>
                  </a:cubicBezTo>
                  <a:cubicBezTo>
                    <a:pt x="6383" y="12865"/>
                    <a:pt x="6366" y="12868"/>
                    <a:pt x="6349" y="12870"/>
                  </a:cubicBezTo>
                  <a:cubicBezTo>
                    <a:pt x="6333" y="12872"/>
                    <a:pt x="6321" y="12874"/>
                    <a:pt x="6314" y="12875"/>
                  </a:cubicBezTo>
                  <a:cubicBezTo>
                    <a:pt x="6304" y="12877"/>
                    <a:pt x="6293" y="12880"/>
                    <a:pt x="6282" y="12883"/>
                  </a:cubicBezTo>
                  <a:cubicBezTo>
                    <a:pt x="6270" y="12886"/>
                    <a:pt x="6259" y="12889"/>
                    <a:pt x="6251" y="12893"/>
                  </a:cubicBezTo>
                  <a:lnTo>
                    <a:pt x="6254" y="12887"/>
                  </a:lnTo>
                  <a:cubicBezTo>
                    <a:pt x="6261" y="12872"/>
                    <a:pt x="6266" y="12856"/>
                    <a:pt x="6267" y="12841"/>
                  </a:cubicBezTo>
                  <a:cubicBezTo>
                    <a:pt x="6268" y="12826"/>
                    <a:pt x="6266" y="12811"/>
                    <a:pt x="6261" y="12798"/>
                  </a:cubicBezTo>
                  <a:cubicBezTo>
                    <a:pt x="6257" y="12784"/>
                    <a:pt x="6249" y="12772"/>
                    <a:pt x="6238" y="12760"/>
                  </a:cubicBezTo>
                  <a:cubicBezTo>
                    <a:pt x="6227" y="12749"/>
                    <a:pt x="6214" y="12739"/>
                    <a:pt x="6198" y="12731"/>
                  </a:cubicBezTo>
                  <a:cubicBezTo>
                    <a:pt x="6187" y="12726"/>
                    <a:pt x="6177" y="12723"/>
                    <a:pt x="6168" y="12721"/>
                  </a:cubicBezTo>
                  <a:cubicBezTo>
                    <a:pt x="6158" y="12719"/>
                    <a:pt x="6149" y="12718"/>
                    <a:pt x="6140" y="12719"/>
                  </a:cubicBezTo>
                  <a:cubicBezTo>
                    <a:pt x="6131" y="12719"/>
                    <a:pt x="6123" y="12720"/>
                    <a:pt x="6116" y="12722"/>
                  </a:cubicBezTo>
                  <a:cubicBezTo>
                    <a:pt x="6109" y="12724"/>
                    <a:pt x="6102" y="12727"/>
                    <a:pt x="6097" y="12729"/>
                  </a:cubicBezTo>
                  <a:cubicBezTo>
                    <a:pt x="6091" y="12732"/>
                    <a:pt x="6085" y="12736"/>
                    <a:pt x="6079" y="12740"/>
                  </a:cubicBezTo>
                  <a:cubicBezTo>
                    <a:pt x="6073" y="12744"/>
                    <a:pt x="6067" y="12750"/>
                    <a:pt x="6061" y="12757"/>
                  </a:cubicBezTo>
                  <a:cubicBezTo>
                    <a:pt x="6054" y="12763"/>
                    <a:pt x="6048" y="12771"/>
                    <a:pt x="6042" y="12781"/>
                  </a:cubicBezTo>
                  <a:cubicBezTo>
                    <a:pt x="6036" y="12791"/>
                    <a:pt x="6030" y="12802"/>
                    <a:pt x="6023" y="12816"/>
                  </a:cubicBezTo>
                  <a:lnTo>
                    <a:pt x="5978" y="12907"/>
                  </a:lnTo>
                  <a:lnTo>
                    <a:pt x="6369" y="13099"/>
                  </a:lnTo>
                  <a:lnTo>
                    <a:pt x="6391" y="13054"/>
                  </a:lnTo>
                  <a:lnTo>
                    <a:pt x="6215" y="12967"/>
                  </a:lnTo>
                  <a:cubicBezTo>
                    <a:pt x="6220" y="12957"/>
                    <a:pt x="6226" y="12950"/>
                    <a:pt x="6232" y="12945"/>
                  </a:cubicBezTo>
                  <a:cubicBezTo>
                    <a:pt x="6238" y="12941"/>
                    <a:pt x="6248" y="12937"/>
                    <a:pt x="6262" y="12935"/>
                  </a:cubicBezTo>
                  <a:cubicBezTo>
                    <a:pt x="6285" y="12930"/>
                    <a:pt x="6307" y="12926"/>
                    <a:pt x="6328" y="12922"/>
                  </a:cubicBezTo>
                  <a:cubicBezTo>
                    <a:pt x="6348" y="12919"/>
                    <a:pt x="6367" y="12916"/>
                    <a:pt x="6385" y="12914"/>
                  </a:cubicBezTo>
                  <a:cubicBezTo>
                    <a:pt x="6402" y="12912"/>
                    <a:pt x="6417" y="12911"/>
                    <a:pt x="6431" y="12910"/>
                  </a:cubicBezTo>
                  <a:cubicBezTo>
                    <a:pt x="6444" y="12909"/>
                    <a:pt x="6454" y="12909"/>
                    <a:pt x="6462" y="12909"/>
                  </a:cubicBezTo>
                  <a:lnTo>
                    <a:pt x="6491" y="12851"/>
                  </a:lnTo>
                  <a:close/>
                  <a:moveTo>
                    <a:pt x="6205" y="12802"/>
                  </a:moveTo>
                  <a:cubicBezTo>
                    <a:pt x="6213" y="12810"/>
                    <a:pt x="6219" y="12819"/>
                    <a:pt x="6222" y="12829"/>
                  </a:cubicBezTo>
                  <a:cubicBezTo>
                    <a:pt x="6225" y="12840"/>
                    <a:pt x="6225" y="12851"/>
                    <a:pt x="6223" y="12864"/>
                  </a:cubicBezTo>
                  <a:cubicBezTo>
                    <a:pt x="6221" y="12877"/>
                    <a:pt x="6216" y="12892"/>
                    <a:pt x="6207" y="12909"/>
                  </a:cubicBezTo>
                  <a:lnTo>
                    <a:pt x="6186" y="12952"/>
                  </a:lnTo>
                  <a:lnTo>
                    <a:pt x="6040" y="12881"/>
                  </a:lnTo>
                  <a:lnTo>
                    <a:pt x="6063" y="12834"/>
                  </a:lnTo>
                  <a:cubicBezTo>
                    <a:pt x="6068" y="12823"/>
                    <a:pt x="6073" y="12814"/>
                    <a:pt x="6078" y="12807"/>
                  </a:cubicBezTo>
                  <a:cubicBezTo>
                    <a:pt x="6084" y="12800"/>
                    <a:pt x="6089" y="12794"/>
                    <a:pt x="6095" y="12789"/>
                  </a:cubicBezTo>
                  <a:cubicBezTo>
                    <a:pt x="6105" y="12780"/>
                    <a:pt x="6117" y="12775"/>
                    <a:pt x="6132" y="12773"/>
                  </a:cubicBezTo>
                  <a:cubicBezTo>
                    <a:pt x="6146" y="12771"/>
                    <a:pt x="6160" y="12773"/>
                    <a:pt x="6173" y="12780"/>
                  </a:cubicBezTo>
                  <a:cubicBezTo>
                    <a:pt x="6186" y="12786"/>
                    <a:pt x="6197" y="12793"/>
                    <a:pt x="6205" y="12802"/>
                  </a:cubicBezTo>
                  <a:close/>
                  <a:moveTo>
                    <a:pt x="6502" y="12457"/>
                  </a:moveTo>
                  <a:cubicBezTo>
                    <a:pt x="6488" y="12455"/>
                    <a:pt x="6474" y="12456"/>
                    <a:pt x="6461" y="12460"/>
                  </a:cubicBezTo>
                  <a:cubicBezTo>
                    <a:pt x="6448" y="12463"/>
                    <a:pt x="6436" y="12469"/>
                    <a:pt x="6425" y="12476"/>
                  </a:cubicBezTo>
                  <a:cubicBezTo>
                    <a:pt x="6414" y="12483"/>
                    <a:pt x="6401" y="12494"/>
                    <a:pt x="6387" y="12509"/>
                  </a:cubicBezTo>
                  <a:lnTo>
                    <a:pt x="6351" y="12547"/>
                  </a:lnTo>
                  <a:cubicBezTo>
                    <a:pt x="6332" y="12567"/>
                    <a:pt x="6315" y="12579"/>
                    <a:pt x="6301" y="12585"/>
                  </a:cubicBezTo>
                  <a:cubicBezTo>
                    <a:pt x="6286" y="12590"/>
                    <a:pt x="6271" y="12589"/>
                    <a:pt x="6255" y="12581"/>
                  </a:cubicBezTo>
                  <a:cubicBezTo>
                    <a:pt x="6235" y="12571"/>
                    <a:pt x="6223" y="12556"/>
                    <a:pt x="6218" y="12537"/>
                  </a:cubicBezTo>
                  <a:cubicBezTo>
                    <a:pt x="6213" y="12518"/>
                    <a:pt x="6217" y="12496"/>
                    <a:pt x="6229" y="12471"/>
                  </a:cubicBezTo>
                  <a:cubicBezTo>
                    <a:pt x="6233" y="12463"/>
                    <a:pt x="6238" y="12455"/>
                    <a:pt x="6243" y="12448"/>
                  </a:cubicBezTo>
                  <a:cubicBezTo>
                    <a:pt x="6247" y="12441"/>
                    <a:pt x="6253" y="12435"/>
                    <a:pt x="6259" y="12429"/>
                  </a:cubicBezTo>
                  <a:cubicBezTo>
                    <a:pt x="6266" y="12423"/>
                    <a:pt x="6273" y="12417"/>
                    <a:pt x="6281" y="12411"/>
                  </a:cubicBezTo>
                  <a:cubicBezTo>
                    <a:pt x="6289" y="12405"/>
                    <a:pt x="6298" y="12399"/>
                    <a:pt x="6309" y="12392"/>
                  </a:cubicBezTo>
                  <a:lnTo>
                    <a:pt x="6286" y="12355"/>
                  </a:lnTo>
                  <a:cubicBezTo>
                    <a:pt x="6242" y="12380"/>
                    <a:pt x="6210" y="12413"/>
                    <a:pt x="6190" y="12455"/>
                  </a:cubicBezTo>
                  <a:cubicBezTo>
                    <a:pt x="6181" y="12474"/>
                    <a:pt x="6175" y="12492"/>
                    <a:pt x="6173" y="12511"/>
                  </a:cubicBezTo>
                  <a:cubicBezTo>
                    <a:pt x="6171" y="12529"/>
                    <a:pt x="6172" y="12546"/>
                    <a:pt x="6176" y="12562"/>
                  </a:cubicBezTo>
                  <a:cubicBezTo>
                    <a:pt x="6181" y="12578"/>
                    <a:pt x="6188" y="12592"/>
                    <a:pt x="6199" y="12605"/>
                  </a:cubicBezTo>
                  <a:cubicBezTo>
                    <a:pt x="6210" y="12618"/>
                    <a:pt x="6223" y="12628"/>
                    <a:pt x="6240" y="12636"/>
                  </a:cubicBezTo>
                  <a:cubicBezTo>
                    <a:pt x="6265" y="12649"/>
                    <a:pt x="6290" y="12651"/>
                    <a:pt x="6316" y="12643"/>
                  </a:cubicBezTo>
                  <a:cubicBezTo>
                    <a:pt x="6328" y="12640"/>
                    <a:pt x="6339" y="12634"/>
                    <a:pt x="6349" y="12626"/>
                  </a:cubicBezTo>
                  <a:cubicBezTo>
                    <a:pt x="6359" y="12618"/>
                    <a:pt x="6371" y="12606"/>
                    <a:pt x="6385" y="12591"/>
                  </a:cubicBezTo>
                  <a:lnTo>
                    <a:pt x="6416" y="12557"/>
                  </a:lnTo>
                  <a:cubicBezTo>
                    <a:pt x="6453" y="12518"/>
                    <a:pt x="6489" y="12506"/>
                    <a:pt x="6524" y="12523"/>
                  </a:cubicBezTo>
                  <a:cubicBezTo>
                    <a:pt x="6547" y="12535"/>
                    <a:pt x="6561" y="12553"/>
                    <a:pt x="6566" y="12579"/>
                  </a:cubicBezTo>
                  <a:cubicBezTo>
                    <a:pt x="6568" y="12590"/>
                    <a:pt x="6568" y="12601"/>
                    <a:pt x="6566" y="12611"/>
                  </a:cubicBezTo>
                  <a:cubicBezTo>
                    <a:pt x="6564" y="12622"/>
                    <a:pt x="6559" y="12634"/>
                    <a:pt x="6552" y="12649"/>
                  </a:cubicBezTo>
                  <a:cubicBezTo>
                    <a:pt x="6542" y="12669"/>
                    <a:pt x="6531" y="12686"/>
                    <a:pt x="6517" y="12700"/>
                  </a:cubicBezTo>
                  <a:cubicBezTo>
                    <a:pt x="6504" y="12714"/>
                    <a:pt x="6487" y="12727"/>
                    <a:pt x="6467" y="12737"/>
                  </a:cubicBezTo>
                  <a:lnTo>
                    <a:pt x="6493" y="12776"/>
                  </a:lnTo>
                  <a:cubicBezTo>
                    <a:pt x="6515" y="12762"/>
                    <a:pt x="6534" y="12747"/>
                    <a:pt x="6549" y="12729"/>
                  </a:cubicBezTo>
                  <a:cubicBezTo>
                    <a:pt x="6565" y="12712"/>
                    <a:pt x="6579" y="12691"/>
                    <a:pt x="6590" y="12668"/>
                  </a:cubicBezTo>
                  <a:cubicBezTo>
                    <a:pt x="6599" y="12650"/>
                    <a:pt x="6605" y="12633"/>
                    <a:pt x="6608" y="12617"/>
                  </a:cubicBezTo>
                  <a:cubicBezTo>
                    <a:pt x="6611" y="12602"/>
                    <a:pt x="6612" y="12585"/>
                    <a:pt x="6610" y="12568"/>
                  </a:cubicBezTo>
                  <a:cubicBezTo>
                    <a:pt x="6607" y="12545"/>
                    <a:pt x="6600" y="12525"/>
                    <a:pt x="6588" y="12508"/>
                  </a:cubicBezTo>
                  <a:cubicBezTo>
                    <a:pt x="6576" y="12490"/>
                    <a:pt x="6560" y="12477"/>
                    <a:pt x="6542" y="12468"/>
                  </a:cubicBezTo>
                  <a:cubicBezTo>
                    <a:pt x="6530" y="12462"/>
                    <a:pt x="6517" y="12458"/>
                    <a:pt x="6502" y="12457"/>
                  </a:cubicBezTo>
                  <a:close/>
                  <a:moveTo>
                    <a:pt x="6720" y="12386"/>
                  </a:moveTo>
                  <a:lnTo>
                    <a:pt x="6329" y="12194"/>
                  </a:lnTo>
                  <a:lnTo>
                    <a:pt x="6306" y="12240"/>
                  </a:lnTo>
                  <a:lnTo>
                    <a:pt x="6697" y="12432"/>
                  </a:lnTo>
                  <a:lnTo>
                    <a:pt x="6720" y="12386"/>
                  </a:lnTo>
                  <a:close/>
                  <a:moveTo>
                    <a:pt x="6495" y="11857"/>
                  </a:moveTo>
                  <a:lnTo>
                    <a:pt x="6367" y="12116"/>
                  </a:lnTo>
                  <a:lnTo>
                    <a:pt x="6407" y="12135"/>
                  </a:lnTo>
                  <a:lnTo>
                    <a:pt x="6458" y="12030"/>
                  </a:lnTo>
                  <a:lnTo>
                    <a:pt x="6810" y="12203"/>
                  </a:lnTo>
                  <a:lnTo>
                    <a:pt x="6832" y="12158"/>
                  </a:lnTo>
                  <a:lnTo>
                    <a:pt x="6481" y="11985"/>
                  </a:lnTo>
                  <a:lnTo>
                    <a:pt x="6533" y="11879"/>
                  </a:lnTo>
                  <a:lnTo>
                    <a:pt x="6495" y="11857"/>
                  </a:lnTo>
                  <a:close/>
                  <a:moveTo>
                    <a:pt x="7038" y="11740"/>
                  </a:moveTo>
                  <a:lnTo>
                    <a:pt x="6583" y="11677"/>
                  </a:lnTo>
                  <a:lnTo>
                    <a:pt x="6553" y="11738"/>
                  </a:lnTo>
                  <a:lnTo>
                    <a:pt x="6880" y="12061"/>
                  </a:lnTo>
                  <a:lnTo>
                    <a:pt x="6903" y="12014"/>
                  </a:lnTo>
                  <a:lnTo>
                    <a:pt x="6801" y="11917"/>
                  </a:lnTo>
                  <a:lnTo>
                    <a:pt x="6873" y="11771"/>
                  </a:lnTo>
                  <a:lnTo>
                    <a:pt x="7012" y="11793"/>
                  </a:lnTo>
                  <a:lnTo>
                    <a:pt x="7038" y="11740"/>
                  </a:lnTo>
                  <a:close/>
                  <a:moveTo>
                    <a:pt x="6829" y="11764"/>
                  </a:moveTo>
                  <a:lnTo>
                    <a:pt x="6769" y="11886"/>
                  </a:lnTo>
                  <a:lnTo>
                    <a:pt x="6608" y="11730"/>
                  </a:lnTo>
                  <a:lnTo>
                    <a:pt x="6829" y="11764"/>
                  </a:lnTo>
                  <a:close/>
                  <a:moveTo>
                    <a:pt x="6475" y="11708"/>
                  </a:moveTo>
                  <a:cubicBezTo>
                    <a:pt x="6467" y="11711"/>
                    <a:pt x="6460" y="11717"/>
                    <a:pt x="6456" y="11725"/>
                  </a:cubicBezTo>
                  <a:cubicBezTo>
                    <a:pt x="6452" y="11733"/>
                    <a:pt x="6452" y="11741"/>
                    <a:pt x="6455" y="11750"/>
                  </a:cubicBezTo>
                  <a:cubicBezTo>
                    <a:pt x="6458" y="11758"/>
                    <a:pt x="6463" y="11765"/>
                    <a:pt x="6471" y="11769"/>
                  </a:cubicBezTo>
                  <a:cubicBezTo>
                    <a:pt x="6479" y="11773"/>
                    <a:pt x="6488" y="11773"/>
                    <a:pt x="6497" y="11770"/>
                  </a:cubicBezTo>
                  <a:cubicBezTo>
                    <a:pt x="6505" y="11768"/>
                    <a:pt x="6512" y="11762"/>
                    <a:pt x="6516" y="11754"/>
                  </a:cubicBezTo>
                  <a:cubicBezTo>
                    <a:pt x="6520" y="11745"/>
                    <a:pt x="6520" y="11737"/>
                    <a:pt x="6517" y="11729"/>
                  </a:cubicBezTo>
                  <a:cubicBezTo>
                    <a:pt x="6514" y="11720"/>
                    <a:pt x="6508" y="11714"/>
                    <a:pt x="6500" y="11710"/>
                  </a:cubicBezTo>
                  <a:cubicBezTo>
                    <a:pt x="6492" y="11706"/>
                    <a:pt x="6484" y="11705"/>
                    <a:pt x="6475" y="11708"/>
                  </a:cubicBezTo>
                  <a:close/>
                  <a:moveTo>
                    <a:pt x="6533" y="11591"/>
                  </a:moveTo>
                  <a:cubicBezTo>
                    <a:pt x="6524" y="11594"/>
                    <a:pt x="6518" y="11599"/>
                    <a:pt x="6514" y="11608"/>
                  </a:cubicBezTo>
                  <a:cubicBezTo>
                    <a:pt x="6510" y="11616"/>
                    <a:pt x="6510" y="11624"/>
                    <a:pt x="6512" y="11633"/>
                  </a:cubicBezTo>
                  <a:cubicBezTo>
                    <a:pt x="6515" y="11641"/>
                    <a:pt x="6521" y="11647"/>
                    <a:pt x="6529" y="11651"/>
                  </a:cubicBezTo>
                  <a:cubicBezTo>
                    <a:pt x="6537" y="11655"/>
                    <a:pt x="6546" y="11656"/>
                    <a:pt x="6554" y="11653"/>
                  </a:cubicBezTo>
                  <a:cubicBezTo>
                    <a:pt x="6563" y="11650"/>
                    <a:pt x="6569" y="11645"/>
                    <a:pt x="6574" y="11636"/>
                  </a:cubicBezTo>
                  <a:cubicBezTo>
                    <a:pt x="6578" y="11628"/>
                    <a:pt x="6578" y="11620"/>
                    <a:pt x="6575" y="11611"/>
                  </a:cubicBezTo>
                  <a:cubicBezTo>
                    <a:pt x="6572" y="11603"/>
                    <a:pt x="6566" y="11597"/>
                    <a:pt x="6558" y="11592"/>
                  </a:cubicBezTo>
                  <a:cubicBezTo>
                    <a:pt x="6550" y="11589"/>
                    <a:pt x="6541" y="11588"/>
                    <a:pt x="6533" y="11591"/>
                  </a:cubicBezTo>
                  <a:close/>
                  <a:moveTo>
                    <a:pt x="6775" y="11288"/>
                  </a:moveTo>
                  <a:lnTo>
                    <a:pt x="6647" y="11547"/>
                  </a:lnTo>
                  <a:lnTo>
                    <a:pt x="6687" y="11566"/>
                  </a:lnTo>
                  <a:lnTo>
                    <a:pt x="6738" y="11461"/>
                  </a:lnTo>
                  <a:lnTo>
                    <a:pt x="7090" y="11634"/>
                  </a:lnTo>
                  <a:lnTo>
                    <a:pt x="7112" y="11589"/>
                  </a:lnTo>
                  <a:lnTo>
                    <a:pt x="6760" y="11416"/>
                  </a:lnTo>
                  <a:lnTo>
                    <a:pt x="6813" y="11310"/>
                  </a:lnTo>
                  <a:lnTo>
                    <a:pt x="6775" y="11288"/>
                  </a:lnTo>
                  <a:close/>
                  <a:moveTo>
                    <a:pt x="7441" y="10921"/>
                  </a:moveTo>
                  <a:lnTo>
                    <a:pt x="7033" y="10763"/>
                  </a:lnTo>
                  <a:lnTo>
                    <a:pt x="6999" y="10832"/>
                  </a:lnTo>
                  <a:lnTo>
                    <a:pt x="7223" y="11033"/>
                  </a:lnTo>
                  <a:cubicBezTo>
                    <a:pt x="7236" y="11045"/>
                    <a:pt x="7249" y="11055"/>
                    <a:pt x="7260" y="11064"/>
                  </a:cubicBezTo>
                  <a:cubicBezTo>
                    <a:pt x="7271" y="11072"/>
                    <a:pt x="7278" y="11077"/>
                    <a:pt x="7279" y="11078"/>
                  </a:cubicBezTo>
                  <a:cubicBezTo>
                    <a:pt x="7277" y="11078"/>
                    <a:pt x="7269" y="11076"/>
                    <a:pt x="7255" y="11072"/>
                  </a:cubicBezTo>
                  <a:cubicBezTo>
                    <a:pt x="7242" y="11068"/>
                    <a:pt x="7224" y="11064"/>
                    <a:pt x="7204" y="11060"/>
                  </a:cubicBezTo>
                  <a:lnTo>
                    <a:pt x="6913" y="11006"/>
                  </a:lnTo>
                  <a:lnTo>
                    <a:pt x="6880" y="11074"/>
                  </a:lnTo>
                  <a:lnTo>
                    <a:pt x="7254" y="11301"/>
                  </a:lnTo>
                  <a:lnTo>
                    <a:pt x="7276" y="11256"/>
                  </a:lnTo>
                  <a:lnTo>
                    <a:pt x="7009" y="11097"/>
                  </a:lnTo>
                  <a:cubicBezTo>
                    <a:pt x="7003" y="11094"/>
                    <a:pt x="6997" y="11090"/>
                    <a:pt x="6989" y="11086"/>
                  </a:cubicBezTo>
                  <a:cubicBezTo>
                    <a:pt x="6982" y="11082"/>
                    <a:pt x="6974" y="11077"/>
                    <a:pt x="6967" y="11073"/>
                  </a:cubicBezTo>
                  <a:cubicBezTo>
                    <a:pt x="6959" y="11069"/>
                    <a:pt x="6953" y="11065"/>
                    <a:pt x="6947" y="11062"/>
                  </a:cubicBezTo>
                  <a:cubicBezTo>
                    <a:pt x="6943" y="11059"/>
                    <a:pt x="6939" y="11058"/>
                    <a:pt x="6938" y="11057"/>
                  </a:cubicBezTo>
                  <a:cubicBezTo>
                    <a:pt x="6942" y="11058"/>
                    <a:pt x="6952" y="11060"/>
                    <a:pt x="6966" y="11063"/>
                  </a:cubicBezTo>
                  <a:cubicBezTo>
                    <a:pt x="6980" y="11066"/>
                    <a:pt x="6999" y="11069"/>
                    <a:pt x="7021" y="11074"/>
                  </a:cubicBezTo>
                  <a:lnTo>
                    <a:pt x="7337" y="11133"/>
                  </a:lnTo>
                  <a:lnTo>
                    <a:pt x="7356" y="11093"/>
                  </a:lnTo>
                  <a:lnTo>
                    <a:pt x="7106" y="10866"/>
                  </a:lnTo>
                  <a:cubicBezTo>
                    <a:pt x="7100" y="10861"/>
                    <a:pt x="7095" y="10856"/>
                    <a:pt x="7089" y="10851"/>
                  </a:cubicBezTo>
                  <a:cubicBezTo>
                    <a:pt x="7083" y="10846"/>
                    <a:pt x="7078" y="10842"/>
                    <a:pt x="7072" y="10837"/>
                  </a:cubicBezTo>
                  <a:cubicBezTo>
                    <a:pt x="7067" y="10833"/>
                    <a:pt x="7062" y="10829"/>
                    <a:pt x="7059" y="10826"/>
                  </a:cubicBezTo>
                  <a:cubicBezTo>
                    <a:pt x="7055" y="10823"/>
                    <a:pt x="7053" y="10821"/>
                    <a:pt x="7052" y="10820"/>
                  </a:cubicBezTo>
                  <a:cubicBezTo>
                    <a:pt x="7053" y="10821"/>
                    <a:pt x="7056" y="10822"/>
                    <a:pt x="7060" y="10824"/>
                  </a:cubicBezTo>
                  <a:cubicBezTo>
                    <a:pt x="7065" y="10826"/>
                    <a:pt x="7071" y="10828"/>
                    <a:pt x="7078" y="10832"/>
                  </a:cubicBezTo>
                  <a:cubicBezTo>
                    <a:pt x="7084" y="10835"/>
                    <a:pt x="7091" y="10838"/>
                    <a:pt x="7099" y="10841"/>
                  </a:cubicBezTo>
                  <a:cubicBezTo>
                    <a:pt x="7107" y="10844"/>
                    <a:pt x="7114" y="10847"/>
                    <a:pt x="7120" y="10850"/>
                  </a:cubicBezTo>
                  <a:lnTo>
                    <a:pt x="7418" y="10968"/>
                  </a:lnTo>
                  <a:lnTo>
                    <a:pt x="7441" y="10921"/>
                  </a:lnTo>
                  <a:close/>
                  <a:moveTo>
                    <a:pt x="7225" y="10373"/>
                  </a:moveTo>
                  <a:lnTo>
                    <a:pt x="7202" y="10419"/>
                  </a:lnTo>
                  <a:lnTo>
                    <a:pt x="7475" y="10553"/>
                  </a:lnTo>
                  <a:cubicBezTo>
                    <a:pt x="7488" y="10560"/>
                    <a:pt x="7499" y="10566"/>
                    <a:pt x="7507" y="10572"/>
                  </a:cubicBezTo>
                  <a:cubicBezTo>
                    <a:pt x="7516" y="10579"/>
                    <a:pt x="7523" y="10587"/>
                    <a:pt x="7528" y="10598"/>
                  </a:cubicBezTo>
                  <a:cubicBezTo>
                    <a:pt x="7533" y="10608"/>
                    <a:pt x="7535" y="10620"/>
                    <a:pt x="7533" y="10634"/>
                  </a:cubicBezTo>
                  <a:cubicBezTo>
                    <a:pt x="7532" y="10647"/>
                    <a:pt x="7527" y="10662"/>
                    <a:pt x="7519" y="10679"/>
                  </a:cubicBezTo>
                  <a:cubicBezTo>
                    <a:pt x="7513" y="10691"/>
                    <a:pt x="7507" y="10701"/>
                    <a:pt x="7500" y="10708"/>
                  </a:cubicBezTo>
                  <a:cubicBezTo>
                    <a:pt x="7493" y="10716"/>
                    <a:pt x="7487" y="10722"/>
                    <a:pt x="7480" y="10726"/>
                  </a:cubicBezTo>
                  <a:cubicBezTo>
                    <a:pt x="7473" y="10730"/>
                    <a:pt x="7467" y="10733"/>
                    <a:pt x="7460" y="10735"/>
                  </a:cubicBezTo>
                  <a:cubicBezTo>
                    <a:pt x="7454" y="10736"/>
                    <a:pt x="7448" y="10737"/>
                    <a:pt x="7443" y="10736"/>
                  </a:cubicBezTo>
                  <a:cubicBezTo>
                    <a:pt x="7436" y="10736"/>
                    <a:pt x="7426" y="10734"/>
                    <a:pt x="7415" y="10729"/>
                  </a:cubicBezTo>
                  <a:cubicBezTo>
                    <a:pt x="7404" y="10725"/>
                    <a:pt x="7393" y="10720"/>
                    <a:pt x="7383" y="10715"/>
                  </a:cubicBezTo>
                  <a:lnTo>
                    <a:pt x="7120" y="10586"/>
                  </a:lnTo>
                  <a:lnTo>
                    <a:pt x="7097" y="10632"/>
                  </a:lnTo>
                  <a:lnTo>
                    <a:pt x="7378" y="10770"/>
                  </a:lnTo>
                  <a:cubicBezTo>
                    <a:pt x="7387" y="10774"/>
                    <a:pt x="7397" y="10779"/>
                    <a:pt x="7409" y="10783"/>
                  </a:cubicBezTo>
                  <a:cubicBezTo>
                    <a:pt x="7420" y="10787"/>
                    <a:pt x="7432" y="10789"/>
                    <a:pt x="7444" y="10789"/>
                  </a:cubicBezTo>
                  <a:cubicBezTo>
                    <a:pt x="7469" y="10788"/>
                    <a:pt x="7490" y="10780"/>
                    <a:pt x="7508" y="10767"/>
                  </a:cubicBezTo>
                  <a:cubicBezTo>
                    <a:pt x="7526" y="10753"/>
                    <a:pt x="7543" y="10731"/>
                    <a:pt x="7558" y="10701"/>
                  </a:cubicBezTo>
                  <a:cubicBezTo>
                    <a:pt x="7569" y="10677"/>
                    <a:pt x="7577" y="10656"/>
                    <a:pt x="7580" y="10637"/>
                  </a:cubicBezTo>
                  <a:cubicBezTo>
                    <a:pt x="7583" y="10618"/>
                    <a:pt x="7582" y="10600"/>
                    <a:pt x="7578" y="10583"/>
                  </a:cubicBezTo>
                  <a:cubicBezTo>
                    <a:pt x="7574" y="10567"/>
                    <a:pt x="7566" y="10553"/>
                    <a:pt x="7555" y="10543"/>
                  </a:cubicBezTo>
                  <a:cubicBezTo>
                    <a:pt x="7544" y="10532"/>
                    <a:pt x="7527" y="10521"/>
                    <a:pt x="7503" y="10510"/>
                  </a:cubicBezTo>
                  <a:lnTo>
                    <a:pt x="7225" y="10373"/>
                  </a:lnTo>
                  <a:close/>
                  <a:moveTo>
                    <a:pt x="7068" y="10504"/>
                  </a:moveTo>
                  <a:cubicBezTo>
                    <a:pt x="7059" y="10507"/>
                    <a:pt x="7053" y="10512"/>
                    <a:pt x="7049" y="10520"/>
                  </a:cubicBezTo>
                  <a:cubicBezTo>
                    <a:pt x="7045" y="10528"/>
                    <a:pt x="7045" y="10537"/>
                    <a:pt x="7047" y="10545"/>
                  </a:cubicBezTo>
                  <a:cubicBezTo>
                    <a:pt x="7050" y="10554"/>
                    <a:pt x="7056" y="10560"/>
                    <a:pt x="7064" y="10564"/>
                  </a:cubicBezTo>
                  <a:cubicBezTo>
                    <a:pt x="7072" y="10568"/>
                    <a:pt x="7081" y="10569"/>
                    <a:pt x="7089" y="10566"/>
                  </a:cubicBezTo>
                  <a:cubicBezTo>
                    <a:pt x="7098" y="10563"/>
                    <a:pt x="7104" y="10557"/>
                    <a:pt x="7109" y="10549"/>
                  </a:cubicBezTo>
                  <a:cubicBezTo>
                    <a:pt x="7113" y="10541"/>
                    <a:pt x="7113" y="10532"/>
                    <a:pt x="7110" y="10524"/>
                  </a:cubicBezTo>
                  <a:cubicBezTo>
                    <a:pt x="7107" y="10516"/>
                    <a:pt x="7101" y="10509"/>
                    <a:pt x="7093" y="10505"/>
                  </a:cubicBezTo>
                  <a:cubicBezTo>
                    <a:pt x="7085" y="10501"/>
                    <a:pt x="7076" y="10501"/>
                    <a:pt x="7068" y="10504"/>
                  </a:cubicBezTo>
                  <a:close/>
                  <a:moveTo>
                    <a:pt x="7125" y="10387"/>
                  </a:moveTo>
                  <a:cubicBezTo>
                    <a:pt x="7117" y="10390"/>
                    <a:pt x="7111" y="10395"/>
                    <a:pt x="7106" y="10404"/>
                  </a:cubicBezTo>
                  <a:cubicBezTo>
                    <a:pt x="7103" y="10412"/>
                    <a:pt x="7102" y="10420"/>
                    <a:pt x="7105" y="10428"/>
                  </a:cubicBezTo>
                  <a:cubicBezTo>
                    <a:pt x="7108" y="10437"/>
                    <a:pt x="7113" y="10443"/>
                    <a:pt x="7121" y="10447"/>
                  </a:cubicBezTo>
                  <a:cubicBezTo>
                    <a:pt x="7130" y="10451"/>
                    <a:pt x="7138" y="10452"/>
                    <a:pt x="7147" y="10449"/>
                  </a:cubicBezTo>
                  <a:cubicBezTo>
                    <a:pt x="7156" y="10446"/>
                    <a:pt x="7162" y="10441"/>
                    <a:pt x="7166" y="10432"/>
                  </a:cubicBezTo>
                  <a:cubicBezTo>
                    <a:pt x="7170" y="10424"/>
                    <a:pt x="7171" y="10416"/>
                    <a:pt x="7167" y="10407"/>
                  </a:cubicBezTo>
                  <a:cubicBezTo>
                    <a:pt x="7164" y="10399"/>
                    <a:pt x="7158" y="10392"/>
                    <a:pt x="7150" y="10388"/>
                  </a:cubicBezTo>
                  <a:cubicBezTo>
                    <a:pt x="7142" y="10384"/>
                    <a:pt x="7134" y="10384"/>
                    <a:pt x="7125" y="10387"/>
                  </a:cubicBezTo>
                  <a:close/>
                  <a:moveTo>
                    <a:pt x="7799" y="10193"/>
                  </a:moveTo>
                  <a:lnTo>
                    <a:pt x="7408" y="10000"/>
                  </a:lnTo>
                  <a:lnTo>
                    <a:pt x="7386" y="10046"/>
                  </a:lnTo>
                  <a:lnTo>
                    <a:pt x="7599" y="10149"/>
                  </a:lnTo>
                  <a:cubicBezTo>
                    <a:pt x="7613" y="10156"/>
                    <a:pt x="7627" y="10163"/>
                    <a:pt x="7642" y="10169"/>
                  </a:cubicBezTo>
                  <a:cubicBezTo>
                    <a:pt x="7656" y="10176"/>
                    <a:pt x="7669" y="10181"/>
                    <a:pt x="7680" y="10186"/>
                  </a:cubicBezTo>
                  <a:cubicBezTo>
                    <a:pt x="7692" y="10191"/>
                    <a:pt x="7701" y="10195"/>
                    <a:pt x="7709" y="10198"/>
                  </a:cubicBezTo>
                  <a:cubicBezTo>
                    <a:pt x="7716" y="10201"/>
                    <a:pt x="7720" y="10203"/>
                    <a:pt x="7721" y="10203"/>
                  </a:cubicBezTo>
                  <a:cubicBezTo>
                    <a:pt x="7719" y="10203"/>
                    <a:pt x="7716" y="10202"/>
                    <a:pt x="7709" y="10202"/>
                  </a:cubicBezTo>
                  <a:cubicBezTo>
                    <a:pt x="7703" y="10201"/>
                    <a:pt x="7696" y="10201"/>
                    <a:pt x="7686" y="10200"/>
                  </a:cubicBezTo>
                  <a:cubicBezTo>
                    <a:pt x="7677" y="10200"/>
                    <a:pt x="7667" y="10199"/>
                    <a:pt x="7655" y="10199"/>
                  </a:cubicBezTo>
                  <a:cubicBezTo>
                    <a:pt x="7644" y="10198"/>
                    <a:pt x="7632" y="10198"/>
                    <a:pt x="7621" y="10199"/>
                  </a:cubicBezTo>
                  <a:lnTo>
                    <a:pt x="7307" y="10206"/>
                  </a:lnTo>
                  <a:lnTo>
                    <a:pt x="7280" y="10260"/>
                  </a:lnTo>
                  <a:lnTo>
                    <a:pt x="7671" y="10452"/>
                  </a:lnTo>
                  <a:lnTo>
                    <a:pt x="7695" y="10404"/>
                  </a:lnTo>
                  <a:lnTo>
                    <a:pt x="7467" y="10295"/>
                  </a:lnTo>
                  <a:cubicBezTo>
                    <a:pt x="7456" y="10289"/>
                    <a:pt x="7444" y="10284"/>
                    <a:pt x="7433" y="10279"/>
                  </a:cubicBezTo>
                  <a:cubicBezTo>
                    <a:pt x="7421" y="10274"/>
                    <a:pt x="7410" y="10269"/>
                    <a:pt x="7400" y="10265"/>
                  </a:cubicBezTo>
                  <a:cubicBezTo>
                    <a:pt x="7390" y="10261"/>
                    <a:pt x="7382" y="10257"/>
                    <a:pt x="7374" y="10254"/>
                  </a:cubicBezTo>
                  <a:cubicBezTo>
                    <a:pt x="7367" y="10251"/>
                    <a:pt x="7362" y="10249"/>
                    <a:pt x="7359" y="10248"/>
                  </a:cubicBezTo>
                  <a:cubicBezTo>
                    <a:pt x="7363" y="10248"/>
                    <a:pt x="7368" y="10249"/>
                    <a:pt x="7376" y="10249"/>
                  </a:cubicBezTo>
                  <a:cubicBezTo>
                    <a:pt x="7383" y="10249"/>
                    <a:pt x="7392" y="10249"/>
                    <a:pt x="7402" y="10249"/>
                  </a:cubicBezTo>
                  <a:cubicBezTo>
                    <a:pt x="7412" y="10250"/>
                    <a:pt x="7423" y="10250"/>
                    <a:pt x="7436" y="10250"/>
                  </a:cubicBezTo>
                  <a:cubicBezTo>
                    <a:pt x="7448" y="10250"/>
                    <a:pt x="7461" y="10250"/>
                    <a:pt x="7474" y="10249"/>
                  </a:cubicBezTo>
                  <a:lnTo>
                    <a:pt x="7775" y="10242"/>
                  </a:lnTo>
                  <a:lnTo>
                    <a:pt x="7799" y="10193"/>
                  </a:lnTo>
                  <a:close/>
                  <a:moveTo>
                    <a:pt x="7823" y="9772"/>
                  </a:moveTo>
                  <a:cubicBezTo>
                    <a:pt x="7809" y="9770"/>
                    <a:pt x="7795" y="9771"/>
                    <a:pt x="7782" y="9775"/>
                  </a:cubicBezTo>
                  <a:cubicBezTo>
                    <a:pt x="7769" y="9778"/>
                    <a:pt x="7757" y="9784"/>
                    <a:pt x="7746" y="9791"/>
                  </a:cubicBezTo>
                  <a:cubicBezTo>
                    <a:pt x="7735" y="9798"/>
                    <a:pt x="7723" y="9809"/>
                    <a:pt x="7709" y="9824"/>
                  </a:cubicBezTo>
                  <a:lnTo>
                    <a:pt x="7672" y="9862"/>
                  </a:lnTo>
                  <a:cubicBezTo>
                    <a:pt x="7653" y="9882"/>
                    <a:pt x="7637" y="9894"/>
                    <a:pt x="7622" y="9900"/>
                  </a:cubicBezTo>
                  <a:cubicBezTo>
                    <a:pt x="7608" y="9905"/>
                    <a:pt x="7592" y="9904"/>
                    <a:pt x="7576" y="9896"/>
                  </a:cubicBezTo>
                  <a:cubicBezTo>
                    <a:pt x="7556" y="9886"/>
                    <a:pt x="7544" y="9871"/>
                    <a:pt x="7539" y="9852"/>
                  </a:cubicBezTo>
                  <a:cubicBezTo>
                    <a:pt x="7535" y="9833"/>
                    <a:pt x="7538" y="9811"/>
                    <a:pt x="7550" y="9786"/>
                  </a:cubicBezTo>
                  <a:cubicBezTo>
                    <a:pt x="7555" y="9778"/>
                    <a:pt x="7559" y="9770"/>
                    <a:pt x="7564" y="9763"/>
                  </a:cubicBezTo>
                  <a:cubicBezTo>
                    <a:pt x="7569" y="9756"/>
                    <a:pt x="7574" y="9750"/>
                    <a:pt x="7580" y="9744"/>
                  </a:cubicBezTo>
                  <a:cubicBezTo>
                    <a:pt x="7587" y="9738"/>
                    <a:pt x="7594" y="9732"/>
                    <a:pt x="7602" y="9726"/>
                  </a:cubicBezTo>
                  <a:cubicBezTo>
                    <a:pt x="7610" y="9720"/>
                    <a:pt x="7620" y="9714"/>
                    <a:pt x="7630" y="9707"/>
                  </a:cubicBezTo>
                  <a:lnTo>
                    <a:pt x="7607" y="9670"/>
                  </a:lnTo>
                  <a:cubicBezTo>
                    <a:pt x="7563" y="9695"/>
                    <a:pt x="7532" y="9728"/>
                    <a:pt x="7511" y="9770"/>
                  </a:cubicBezTo>
                  <a:cubicBezTo>
                    <a:pt x="7502" y="9789"/>
                    <a:pt x="7496" y="9807"/>
                    <a:pt x="7494" y="9826"/>
                  </a:cubicBezTo>
                  <a:cubicBezTo>
                    <a:pt x="7492" y="9844"/>
                    <a:pt x="7493" y="9861"/>
                    <a:pt x="7497" y="9877"/>
                  </a:cubicBezTo>
                  <a:cubicBezTo>
                    <a:pt x="7502" y="9893"/>
                    <a:pt x="7509" y="9907"/>
                    <a:pt x="7520" y="9920"/>
                  </a:cubicBezTo>
                  <a:cubicBezTo>
                    <a:pt x="7531" y="9933"/>
                    <a:pt x="7544" y="9943"/>
                    <a:pt x="7561" y="9951"/>
                  </a:cubicBezTo>
                  <a:cubicBezTo>
                    <a:pt x="7586" y="9964"/>
                    <a:pt x="7612" y="9966"/>
                    <a:pt x="7637" y="9958"/>
                  </a:cubicBezTo>
                  <a:cubicBezTo>
                    <a:pt x="7649" y="9955"/>
                    <a:pt x="7660" y="9949"/>
                    <a:pt x="7670" y="9941"/>
                  </a:cubicBezTo>
                  <a:cubicBezTo>
                    <a:pt x="7680" y="9933"/>
                    <a:pt x="7692" y="9921"/>
                    <a:pt x="7706" y="9906"/>
                  </a:cubicBezTo>
                  <a:lnTo>
                    <a:pt x="7737" y="9872"/>
                  </a:lnTo>
                  <a:cubicBezTo>
                    <a:pt x="7774" y="9833"/>
                    <a:pt x="7810" y="9821"/>
                    <a:pt x="7845" y="9838"/>
                  </a:cubicBezTo>
                  <a:cubicBezTo>
                    <a:pt x="7868" y="9850"/>
                    <a:pt x="7882" y="9868"/>
                    <a:pt x="7887" y="9894"/>
                  </a:cubicBezTo>
                  <a:cubicBezTo>
                    <a:pt x="7889" y="9905"/>
                    <a:pt x="7889" y="9916"/>
                    <a:pt x="7887" y="9926"/>
                  </a:cubicBezTo>
                  <a:cubicBezTo>
                    <a:pt x="7885" y="9937"/>
                    <a:pt x="7881" y="9949"/>
                    <a:pt x="7873" y="9964"/>
                  </a:cubicBezTo>
                  <a:cubicBezTo>
                    <a:pt x="7864" y="9984"/>
                    <a:pt x="7852" y="10001"/>
                    <a:pt x="7838" y="10015"/>
                  </a:cubicBezTo>
                  <a:cubicBezTo>
                    <a:pt x="7825" y="10029"/>
                    <a:pt x="7808" y="10042"/>
                    <a:pt x="7788" y="10052"/>
                  </a:cubicBezTo>
                  <a:lnTo>
                    <a:pt x="7815" y="10091"/>
                  </a:lnTo>
                  <a:cubicBezTo>
                    <a:pt x="7836" y="10077"/>
                    <a:pt x="7855" y="10062"/>
                    <a:pt x="7871" y="10045"/>
                  </a:cubicBezTo>
                  <a:cubicBezTo>
                    <a:pt x="7886" y="10027"/>
                    <a:pt x="7900" y="10006"/>
                    <a:pt x="7912" y="9983"/>
                  </a:cubicBezTo>
                  <a:cubicBezTo>
                    <a:pt x="7921" y="9965"/>
                    <a:pt x="7926" y="9948"/>
                    <a:pt x="7929" y="9932"/>
                  </a:cubicBezTo>
                  <a:cubicBezTo>
                    <a:pt x="7932" y="9917"/>
                    <a:pt x="7933" y="9900"/>
                    <a:pt x="7931" y="9883"/>
                  </a:cubicBezTo>
                  <a:cubicBezTo>
                    <a:pt x="7928" y="9861"/>
                    <a:pt x="7921" y="9840"/>
                    <a:pt x="7909" y="9823"/>
                  </a:cubicBezTo>
                  <a:cubicBezTo>
                    <a:pt x="7897" y="9805"/>
                    <a:pt x="7882" y="9792"/>
                    <a:pt x="7863" y="9783"/>
                  </a:cubicBezTo>
                  <a:cubicBezTo>
                    <a:pt x="7851" y="9777"/>
                    <a:pt x="7838" y="9773"/>
                    <a:pt x="7823" y="9772"/>
                  </a:cubicBezTo>
                  <a:close/>
                  <a:moveTo>
                    <a:pt x="7741" y="9325"/>
                  </a:moveTo>
                  <a:lnTo>
                    <a:pt x="7613" y="9584"/>
                  </a:lnTo>
                  <a:lnTo>
                    <a:pt x="7653" y="9603"/>
                  </a:lnTo>
                  <a:lnTo>
                    <a:pt x="7704" y="9498"/>
                  </a:lnTo>
                  <a:lnTo>
                    <a:pt x="8056" y="9671"/>
                  </a:lnTo>
                  <a:lnTo>
                    <a:pt x="8078" y="9626"/>
                  </a:lnTo>
                  <a:lnTo>
                    <a:pt x="7726" y="9453"/>
                  </a:lnTo>
                  <a:lnTo>
                    <a:pt x="7779" y="9347"/>
                  </a:lnTo>
                  <a:lnTo>
                    <a:pt x="7741" y="9325"/>
                  </a:lnTo>
                  <a:close/>
                  <a:moveTo>
                    <a:pt x="8272" y="9231"/>
                  </a:moveTo>
                  <a:lnTo>
                    <a:pt x="8232" y="9211"/>
                  </a:lnTo>
                  <a:lnTo>
                    <a:pt x="8147" y="9383"/>
                  </a:lnTo>
                  <a:lnTo>
                    <a:pt x="8004" y="9313"/>
                  </a:lnTo>
                  <a:lnTo>
                    <a:pt x="8070" y="9179"/>
                  </a:lnTo>
                  <a:lnTo>
                    <a:pt x="8030" y="9159"/>
                  </a:lnTo>
                  <a:lnTo>
                    <a:pt x="7964" y="9293"/>
                  </a:lnTo>
                  <a:lnTo>
                    <a:pt x="7836" y="9230"/>
                  </a:lnTo>
                  <a:lnTo>
                    <a:pt x="7914" y="9069"/>
                  </a:lnTo>
                  <a:lnTo>
                    <a:pt x="7879" y="9044"/>
                  </a:lnTo>
                  <a:lnTo>
                    <a:pt x="7774" y="9258"/>
                  </a:lnTo>
                  <a:lnTo>
                    <a:pt x="8164" y="9450"/>
                  </a:lnTo>
                  <a:lnTo>
                    <a:pt x="8272" y="9231"/>
                  </a:lnTo>
                  <a:close/>
                  <a:moveTo>
                    <a:pt x="8435" y="8900"/>
                  </a:moveTo>
                  <a:lnTo>
                    <a:pt x="8399" y="8904"/>
                  </a:lnTo>
                  <a:cubicBezTo>
                    <a:pt x="8382" y="8907"/>
                    <a:pt x="8365" y="8909"/>
                    <a:pt x="8346" y="8912"/>
                  </a:cubicBezTo>
                  <a:cubicBezTo>
                    <a:pt x="8327" y="8914"/>
                    <a:pt x="8310" y="8917"/>
                    <a:pt x="8293" y="8919"/>
                  </a:cubicBezTo>
                  <a:cubicBezTo>
                    <a:pt x="8277" y="8921"/>
                    <a:pt x="8265" y="8923"/>
                    <a:pt x="8258" y="8924"/>
                  </a:cubicBezTo>
                  <a:cubicBezTo>
                    <a:pt x="8248" y="8926"/>
                    <a:pt x="8238" y="8929"/>
                    <a:pt x="8226" y="8932"/>
                  </a:cubicBezTo>
                  <a:cubicBezTo>
                    <a:pt x="8214" y="8935"/>
                    <a:pt x="8204" y="8938"/>
                    <a:pt x="8195" y="8942"/>
                  </a:cubicBezTo>
                  <a:lnTo>
                    <a:pt x="8198" y="8936"/>
                  </a:lnTo>
                  <a:cubicBezTo>
                    <a:pt x="8206" y="8921"/>
                    <a:pt x="8210" y="8905"/>
                    <a:pt x="8211" y="8890"/>
                  </a:cubicBezTo>
                  <a:cubicBezTo>
                    <a:pt x="8212" y="8875"/>
                    <a:pt x="8210" y="8860"/>
                    <a:pt x="8206" y="8847"/>
                  </a:cubicBezTo>
                  <a:cubicBezTo>
                    <a:pt x="8201" y="8833"/>
                    <a:pt x="8193" y="8821"/>
                    <a:pt x="8182" y="8809"/>
                  </a:cubicBezTo>
                  <a:cubicBezTo>
                    <a:pt x="8171" y="8798"/>
                    <a:pt x="8158" y="8788"/>
                    <a:pt x="8142" y="8780"/>
                  </a:cubicBezTo>
                  <a:cubicBezTo>
                    <a:pt x="8132" y="8775"/>
                    <a:pt x="8122" y="8772"/>
                    <a:pt x="8112" y="8770"/>
                  </a:cubicBezTo>
                  <a:cubicBezTo>
                    <a:pt x="8102" y="8768"/>
                    <a:pt x="8093" y="8767"/>
                    <a:pt x="8084" y="8768"/>
                  </a:cubicBezTo>
                  <a:cubicBezTo>
                    <a:pt x="8076" y="8768"/>
                    <a:pt x="8068" y="8769"/>
                    <a:pt x="8060" y="8771"/>
                  </a:cubicBezTo>
                  <a:cubicBezTo>
                    <a:pt x="8053" y="8773"/>
                    <a:pt x="8046" y="8776"/>
                    <a:pt x="8041" y="8778"/>
                  </a:cubicBezTo>
                  <a:cubicBezTo>
                    <a:pt x="8035" y="8781"/>
                    <a:pt x="8029" y="8785"/>
                    <a:pt x="8023" y="8789"/>
                  </a:cubicBezTo>
                  <a:cubicBezTo>
                    <a:pt x="8017" y="8793"/>
                    <a:pt x="8011" y="8799"/>
                    <a:pt x="8005" y="8806"/>
                  </a:cubicBezTo>
                  <a:cubicBezTo>
                    <a:pt x="7999" y="8812"/>
                    <a:pt x="7992" y="8820"/>
                    <a:pt x="7986" y="8830"/>
                  </a:cubicBezTo>
                  <a:cubicBezTo>
                    <a:pt x="7980" y="8840"/>
                    <a:pt x="7974" y="8851"/>
                    <a:pt x="7967" y="8865"/>
                  </a:cubicBezTo>
                  <a:lnTo>
                    <a:pt x="7922" y="8956"/>
                  </a:lnTo>
                  <a:lnTo>
                    <a:pt x="8313" y="9148"/>
                  </a:lnTo>
                  <a:lnTo>
                    <a:pt x="8336" y="9103"/>
                  </a:lnTo>
                  <a:lnTo>
                    <a:pt x="8159" y="9016"/>
                  </a:lnTo>
                  <a:cubicBezTo>
                    <a:pt x="8164" y="9006"/>
                    <a:pt x="8170" y="8999"/>
                    <a:pt x="8176" y="8994"/>
                  </a:cubicBezTo>
                  <a:cubicBezTo>
                    <a:pt x="8182" y="8990"/>
                    <a:pt x="8192" y="8986"/>
                    <a:pt x="8206" y="8984"/>
                  </a:cubicBezTo>
                  <a:cubicBezTo>
                    <a:pt x="8229" y="8979"/>
                    <a:pt x="8251" y="8975"/>
                    <a:pt x="8272" y="8971"/>
                  </a:cubicBezTo>
                  <a:cubicBezTo>
                    <a:pt x="8292" y="8968"/>
                    <a:pt x="8312" y="8965"/>
                    <a:pt x="8329" y="8963"/>
                  </a:cubicBezTo>
                  <a:cubicBezTo>
                    <a:pt x="8346" y="8961"/>
                    <a:pt x="8361" y="8960"/>
                    <a:pt x="8375" y="8959"/>
                  </a:cubicBezTo>
                  <a:cubicBezTo>
                    <a:pt x="8388" y="8958"/>
                    <a:pt x="8399" y="8958"/>
                    <a:pt x="8406" y="8958"/>
                  </a:cubicBezTo>
                  <a:lnTo>
                    <a:pt x="8435" y="8900"/>
                  </a:lnTo>
                  <a:close/>
                  <a:moveTo>
                    <a:pt x="8149" y="8851"/>
                  </a:moveTo>
                  <a:cubicBezTo>
                    <a:pt x="8157" y="8859"/>
                    <a:pt x="8163" y="8868"/>
                    <a:pt x="8166" y="8878"/>
                  </a:cubicBezTo>
                  <a:cubicBezTo>
                    <a:pt x="8169" y="8889"/>
                    <a:pt x="8170" y="8900"/>
                    <a:pt x="8167" y="8913"/>
                  </a:cubicBezTo>
                  <a:cubicBezTo>
                    <a:pt x="8165" y="8926"/>
                    <a:pt x="8160" y="8941"/>
                    <a:pt x="8151" y="8958"/>
                  </a:cubicBezTo>
                  <a:lnTo>
                    <a:pt x="8130" y="9001"/>
                  </a:lnTo>
                  <a:lnTo>
                    <a:pt x="7984" y="8930"/>
                  </a:lnTo>
                  <a:lnTo>
                    <a:pt x="8007" y="8883"/>
                  </a:lnTo>
                  <a:cubicBezTo>
                    <a:pt x="8012" y="8872"/>
                    <a:pt x="8017" y="8863"/>
                    <a:pt x="8023" y="8856"/>
                  </a:cubicBezTo>
                  <a:cubicBezTo>
                    <a:pt x="8028" y="8849"/>
                    <a:pt x="8033" y="8843"/>
                    <a:pt x="8039" y="8838"/>
                  </a:cubicBezTo>
                  <a:cubicBezTo>
                    <a:pt x="8049" y="8829"/>
                    <a:pt x="8061" y="8824"/>
                    <a:pt x="8076" y="8822"/>
                  </a:cubicBezTo>
                  <a:cubicBezTo>
                    <a:pt x="8090" y="8820"/>
                    <a:pt x="8104" y="8822"/>
                    <a:pt x="8117" y="8829"/>
                  </a:cubicBezTo>
                  <a:cubicBezTo>
                    <a:pt x="8130" y="8835"/>
                    <a:pt x="8141" y="8842"/>
                    <a:pt x="8149" y="8851"/>
                  </a:cubicBezTo>
                  <a:close/>
                  <a:moveTo>
                    <a:pt x="8647" y="8688"/>
                  </a:moveTo>
                  <a:lnTo>
                    <a:pt x="8098" y="8418"/>
                  </a:lnTo>
                  <a:lnTo>
                    <a:pt x="8080" y="8456"/>
                  </a:lnTo>
                  <a:lnTo>
                    <a:pt x="8629" y="8726"/>
                  </a:lnTo>
                  <a:lnTo>
                    <a:pt x="8647" y="8688"/>
                  </a:lnTo>
                  <a:close/>
                  <a:moveTo>
                    <a:pt x="8422" y="7940"/>
                  </a:moveTo>
                  <a:lnTo>
                    <a:pt x="8399" y="7987"/>
                  </a:lnTo>
                  <a:lnTo>
                    <a:pt x="8671" y="8121"/>
                  </a:lnTo>
                  <a:cubicBezTo>
                    <a:pt x="8685" y="8127"/>
                    <a:pt x="8696" y="8134"/>
                    <a:pt x="8704" y="8140"/>
                  </a:cubicBezTo>
                  <a:cubicBezTo>
                    <a:pt x="8713" y="8146"/>
                    <a:pt x="8720" y="8155"/>
                    <a:pt x="8725" y="8165"/>
                  </a:cubicBezTo>
                  <a:cubicBezTo>
                    <a:pt x="8730" y="8175"/>
                    <a:pt x="8732" y="8187"/>
                    <a:pt x="8730" y="8201"/>
                  </a:cubicBezTo>
                  <a:cubicBezTo>
                    <a:pt x="8729" y="8215"/>
                    <a:pt x="8724" y="8230"/>
                    <a:pt x="8716" y="8246"/>
                  </a:cubicBezTo>
                  <a:cubicBezTo>
                    <a:pt x="8710" y="8259"/>
                    <a:pt x="8703" y="8268"/>
                    <a:pt x="8697" y="8276"/>
                  </a:cubicBezTo>
                  <a:cubicBezTo>
                    <a:pt x="8690" y="8284"/>
                    <a:pt x="8684" y="8290"/>
                    <a:pt x="8677" y="8294"/>
                  </a:cubicBezTo>
                  <a:cubicBezTo>
                    <a:pt x="8670" y="8298"/>
                    <a:pt x="8663" y="8301"/>
                    <a:pt x="8657" y="8302"/>
                  </a:cubicBezTo>
                  <a:cubicBezTo>
                    <a:pt x="8651" y="8304"/>
                    <a:pt x="8645" y="8304"/>
                    <a:pt x="8640" y="8304"/>
                  </a:cubicBezTo>
                  <a:cubicBezTo>
                    <a:pt x="8633" y="8304"/>
                    <a:pt x="8623" y="8301"/>
                    <a:pt x="8612" y="8297"/>
                  </a:cubicBezTo>
                  <a:cubicBezTo>
                    <a:pt x="8601" y="8293"/>
                    <a:pt x="8590" y="8288"/>
                    <a:pt x="8580" y="8283"/>
                  </a:cubicBezTo>
                  <a:lnTo>
                    <a:pt x="8317" y="8154"/>
                  </a:lnTo>
                  <a:lnTo>
                    <a:pt x="8294" y="8200"/>
                  </a:lnTo>
                  <a:lnTo>
                    <a:pt x="8575" y="8338"/>
                  </a:lnTo>
                  <a:cubicBezTo>
                    <a:pt x="8583" y="8342"/>
                    <a:pt x="8594" y="8346"/>
                    <a:pt x="8605" y="8351"/>
                  </a:cubicBezTo>
                  <a:cubicBezTo>
                    <a:pt x="8617" y="8355"/>
                    <a:pt x="8629" y="8357"/>
                    <a:pt x="8641" y="8356"/>
                  </a:cubicBezTo>
                  <a:cubicBezTo>
                    <a:pt x="8666" y="8355"/>
                    <a:pt x="8687" y="8348"/>
                    <a:pt x="8705" y="8334"/>
                  </a:cubicBezTo>
                  <a:cubicBezTo>
                    <a:pt x="8723" y="8321"/>
                    <a:pt x="8740" y="8299"/>
                    <a:pt x="8755" y="8268"/>
                  </a:cubicBezTo>
                  <a:cubicBezTo>
                    <a:pt x="8766" y="8244"/>
                    <a:pt x="8774" y="8223"/>
                    <a:pt x="8777" y="8205"/>
                  </a:cubicBezTo>
                  <a:cubicBezTo>
                    <a:pt x="8780" y="8186"/>
                    <a:pt x="8779" y="8168"/>
                    <a:pt x="8775" y="8151"/>
                  </a:cubicBezTo>
                  <a:cubicBezTo>
                    <a:pt x="8771" y="8134"/>
                    <a:pt x="8763" y="8121"/>
                    <a:pt x="8752" y="8110"/>
                  </a:cubicBezTo>
                  <a:cubicBezTo>
                    <a:pt x="8741" y="8100"/>
                    <a:pt x="8723" y="8089"/>
                    <a:pt x="8700" y="8077"/>
                  </a:cubicBezTo>
                  <a:lnTo>
                    <a:pt x="8422" y="7940"/>
                  </a:lnTo>
                  <a:close/>
                  <a:moveTo>
                    <a:pt x="8996" y="7760"/>
                  </a:moveTo>
                  <a:lnTo>
                    <a:pt x="8605" y="7568"/>
                  </a:lnTo>
                  <a:lnTo>
                    <a:pt x="8582" y="7614"/>
                  </a:lnTo>
                  <a:lnTo>
                    <a:pt x="8796" y="7717"/>
                  </a:lnTo>
                  <a:cubicBezTo>
                    <a:pt x="8810" y="7724"/>
                    <a:pt x="8824" y="7731"/>
                    <a:pt x="8838" y="7737"/>
                  </a:cubicBezTo>
                  <a:cubicBezTo>
                    <a:pt x="8853" y="7743"/>
                    <a:pt x="8866" y="7749"/>
                    <a:pt x="8877" y="7754"/>
                  </a:cubicBezTo>
                  <a:cubicBezTo>
                    <a:pt x="8889" y="7759"/>
                    <a:pt x="8898" y="7763"/>
                    <a:pt x="8906" y="7766"/>
                  </a:cubicBezTo>
                  <a:cubicBezTo>
                    <a:pt x="8913" y="7769"/>
                    <a:pt x="8917" y="7770"/>
                    <a:pt x="8917" y="7770"/>
                  </a:cubicBezTo>
                  <a:cubicBezTo>
                    <a:pt x="8916" y="7770"/>
                    <a:pt x="8912" y="7770"/>
                    <a:pt x="8906" y="7769"/>
                  </a:cubicBezTo>
                  <a:cubicBezTo>
                    <a:pt x="8900" y="7769"/>
                    <a:pt x="8892" y="7769"/>
                    <a:pt x="8883" y="7768"/>
                  </a:cubicBezTo>
                  <a:cubicBezTo>
                    <a:pt x="8874" y="7768"/>
                    <a:pt x="8864" y="7767"/>
                    <a:pt x="8852" y="7767"/>
                  </a:cubicBezTo>
                  <a:cubicBezTo>
                    <a:pt x="8841" y="7766"/>
                    <a:pt x="8829" y="7766"/>
                    <a:pt x="8817" y="7766"/>
                  </a:cubicBezTo>
                  <a:lnTo>
                    <a:pt x="8504" y="7774"/>
                  </a:lnTo>
                  <a:lnTo>
                    <a:pt x="8477" y="7828"/>
                  </a:lnTo>
                  <a:lnTo>
                    <a:pt x="8868" y="8020"/>
                  </a:lnTo>
                  <a:lnTo>
                    <a:pt x="8892" y="7972"/>
                  </a:lnTo>
                  <a:lnTo>
                    <a:pt x="8664" y="7862"/>
                  </a:lnTo>
                  <a:cubicBezTo>
                    <a:pt x="8653" y="7857"/>
                    <a:pt x="8641" y="7851"/>
                    <a:pt x="8630" y="7846"/>
                  </a:cubicBezTo>
                  <a:cubicBezTo>
                    <a:pt x="8618" y="7841"/>
                    <a:pt x="8607" y="7837"/>
                    <a:pt x="8597" y="7833"/>
                  </a:cubicBezTo>
                  <a:cubicBezTo>
                    <a:pt x="8587" y="7828"/>
                    <a:pt x="8578" y="7825"/>
                    <a:pt x="8571" y="7821"/>
                  </a:cubicBezTo>
                  <a:cubicBezTo>
                    <a:pt x="8564" y="7818"/>
                    <a:pt x="8559" y="7816"/>
                    <a:pt x="8556" y="7815"/>
                  </a:cubicBezTo>
                  <a:cubicBezTo>
                    <a:pt x="8560" y="7816"/>
                    <a:pt x="8565" y="7816"/>
                    <a:pt x="8573" y="7817"/>
                  </a:cubicBezTo>
                  <a:cubicBezTo>
                    <a:pt x="8580" y="7817"/>
                    <a:pt x="8589" y="7817"/>
                    <a:pt x="8599" y="7817"/>
                  </a:cubicBezTo>
                  <a:cubicBezTo>
                    <a:pt x="8609" y="7817"/>
                    <a:pt x="8620" y="7817"/>
                    <a:pt x="8632" y="7817"/>
                  </a:cubicBezTo>
                  <a:cubicBezTo>
                    <a:pt x="8645" y="7817"/>
                    <a:pt x="8657" y="7817"/>
                    <a:pt x="8671" y="7817"/>
                  </a:cubicBezTo>
                  <a:lnTo>
                    <a:pt x="8972" y="7809"/>
                  </a:lnTo>
                  <a:lnTo>
                    <a:pt x="8996" y="7760"/>
                  </a:lnTo>
                  <a:close/>
                  <a:moveTo>
                    <a:pt x="4776" y="18063"/>
                  </a:moveTo>
                  <a:lnTo>
                    <a:pt x="4739" y="18068"/>
                  </a:lnTo>
                  <a:cubicBezTo>
                    <a:pt x="4723" y="18070"/>
                    <a:pt x="4705" y="18073"/>
                    <a:pt x="4686" y="18075"/>
                  </a:cubicBezTo>
                  <a:cubicBezTo>
                    <a:pt x="4668" y="18078"/>
                    <a:pt x="4650" y="18080"/>
                    <a:pt x="4633" y="18082"/>
                  </a:cubicBezTo>
                  <a:cubicBezTo>
                    <a:pt x="4617" y="18085"/>
                    <a:pt x="4605" y="18087"/>
                    <a:pt x="4599" y="18088"/>
                  </a:cubicBezTo>
                  <a:cubicBezTo>
                    <a:pt x="4589" y="18090"/>
                    <a:pt x="4578" y="18092"/>
                    <a:pt x="4566" y="18095"/>
                  </a:cubicBezTo>
                  <a:cubicBezTo>
                    <a:pt x="4554" y="18098"/>
                    <a:pt x="4544" y="18102"/>
                    <a:pt x="4535" y="18106"/>
                  </a:cubicBezTo>
                  <a:lnTo>
                    <a:pt x="4538" y="18100"/>
                  </a:lnTo>
                  <a:cubicBezTo>
                    <a:pt x="4546" y="18084"/>
                    <a:pt x="4550" y="18069"/>
                    <a:pt x="4551" y="18054"/>
                  </a:cubicBezTo>
                  <a:cubicBezTo>
                    <a:pt x="4552" y="18038"/>
                    <a:pt x="4551" y="18024"/>
                    <a:pt x="4546" y="18010"/>
                  </a:cubicBezTo>
                  <a:cubicBezTo>
                    <a:pt x="4541" y="17997"/>
                    <a:pt x="4533" y="17984"/>
                    <a:pt x="4522" y="17972"/>
                  </a:cubicBezTo>
                  <a:cubicBezTo>
                    <a:pt x="4511" y="17961"/>
                    <a:pt x="4498" y="17951"/>
                    <a:pt x="4482" y="17943"/>
                  </a:cubicBezTo>
                  <a:cubicBezTo>
                    <a:pt x="4472" y="17938"/>
                    <a:pt x="4462" y="17935"/>
                    <a:pt x="4452" y="17933"/>
                  </a:cubicBezTo>
                  <a:cubicBezTo>
                    <a:pt x="4442" y="17932"/>
                    <a:pt x="4433" y="17931"/>
                    <a:pt x="4424" y="17931"/>
                  </a:cubicBezTo>
                  <a:cubicBezTo>
                    <a:pt x="4416" y="17931"/>
                    <a:pt x="4408" y="17932"/>
                    <a:pt x="4400" y="17935"/>
                  </a:cubicBezTo>
                  <a:cubicBezTo>
                    <a:pt x="4393" y="17937"/>
                    <a:pt x="4387" y="17939"/>
                    <a:pt x="4381" y="17942"/>
                  </a:cubicBezTo>
                  <a:cubicBezTo>
                    <a:pt x="4375" y="17945"/>
                    <a:pt x="4369" y="17948"/>
                    <a:pt x="4363" y="17952"/>
                  </a:cubicBezTo>
                  <a:cubicBezTo>
                    <a:pt x="4357" y="17957"/>
                    <a:pt x="4351" y="17962"/>
                    <a:pt x="4345" y="17969"/>
                  </a:cubicBezTo>
                  <a:cubicBezTo>
                    <a:pt x="4339" y="17976"/>
                    <a:pt x="4333" y="17984"/>
                    <a:pt x="4326" y="17994"/>
                  </a:cubicBezTo>
                  <a:cubicBezTo>
                    <a:pt x="4320" y="18003"/>
                    <a:pt x="4314" y="18015"/>
                    <a:pt x="4307" y="18028"/>
                  </a:cubicBezTo>
                  <a:lnTo>
                    <a:pt x="4263" y="18119"/>
                  </a:lnTo>
                  <a:lnTo>
                    <a:pt x="4536" y="18254"/>
                  </a:lnTo>
                  <a:lnTo>
                    <a:pt x="4651" y="18254"/>
                  </a:lnTo>
                  <a:lnTo>
                    <a:pt x="4499" y="18179"/>
                  </a:lnTo>
                  <a:cubicBezTo>
                    <a:pt x="4504" y="18169"/>
                    <a:pt x="4510" y="18162"/>
                    <a:pt x="4516" y="18158"/>
                  </a:cubicBezTo>
                  <a:cubicBezTo>
                    <a:pt x="4523" y="18153"/>
                    <a:pt x="4532" y="18150"/>
                    <a:pt x="4546" y="18147"/>
                  </a:cubicBezTo>
                  <a:cubicBezTo>
                    <a:pt x="4569" y="18142"/>
                    <a:pt x="4591" y="18138"/>
                    <a:pt x="4612" y="18135"/>
                  </a:cubicBezTo>
                  <a:cubicBezTo>
                    <a:pt x="4633" y="18131"/>
                    <a:pt x="4652" y="18129"/>
                    <a:pt x="4669" y="18126"/>
                  </a:cubicBezTo>
                  <a:cubicBezTo>
                    <a:pt x="4686" y="18124"/>
                    <a:pt x="4702" y="18123"/>
                    <a:pt x="4715" y="18122"/>
                  </a:cubicBezTo>
                  <a:cubicBezTo>
                    <a:pt x="4728" y="18122"/>
                    <a:pt x="4739" y="18122"/>
                    <a:pt x="4747" y="18122"/>
                  </a:cubicBezTo>
                  <a:lnTo>
                    <a:pt x="4776" y="18063"/>
                  </a:lnTo>
                  <a:close/>
                  <a:moveTo>
                    <a:pt x="9002" y="9474"/>
                  </a:moveTo>
                  <a:lnTo>
                    <a:pt x="9002" y="9372"/>
                  </a:lnTo>
                  <a:lnTo>
                    <a:pt x="8955" y="9467"/>
                  </a:lnTo>
                  <a:lnTo>
                    <a:pt x="8812" y="9397"/>
                  </a:lnTo>
                  <a:lnTo>
                    <a:pt x="8878" y="9263"/>
                  </a:lnTo>
                  <a:lnTo>
                    <a:pt x="8837" y="9243"/>
                  </a:lnTo>
                  <a:lnTo>
                    <a:pt x="8772" y="9377"/>
                  </a:lnTo>
                  <a:lnTo>
                    <a:pt x="8643" y="9314"/>
                  </a:lnTo>
                  <a:lnTo>
                    <a:pt x="8722" y="9154"/>
                  </a:lnTo>
                  <a:lnTo>
                    <a:pt x="8687" y="9129"/>
                  </a:lnTo>
                  <a:lnTo>
                    <a:pt x="8581" y="9342"/>
                  </a:lnTo>
                  <a:lnTo>
                    <a:pt x="8972" y="9535"/>
                  </a:lnTo>
                  <a:lnTo>
                    <a:pt x="9002" y="9474"/>
                  </a:lnTo>
                  <a:close/>
                  <a:moveTo>
                    <a:pt x="9002" y="8988"/>
                  </a:moveTo>
                  <a:lnTo>
                    <a:pt x="9002" y="8936"/>
                  </a:lnTo>
                  <a:lnTo>
                    <a:pt x="8805" y="8888"/>
                  </a:lnTo>
                  <a:lnTo>
                    <a:pt x="8780" y="8938"/>
                  </a:lnTo>
                  <a:lnTo>
                    <a:pt x="9002" y="8988"/>
                  </a:lnTo>
                  <a:close/>
                  <a:moveTo>
                    <a:pt x="9002" y="8843"/>
                  </a:moveTo>
                  <a:lnTo>
                    <a:pt x="9002" y="8784"/>
                  </a:lnTo>
                  <a:cubicBezTo>
                    <a:pt x="8996" y="8780"/>
                    <a:pt x="8990" y="8776"/>
                    <a:pt x="8985" y="8772"/>
                  </a:cubicBezTo>
                  <a:cubicBezTo>
                    <a:pt x="8976" y="8765"/>
                    <a:pt x="8969" y="8760"/>
                    <a:pt x="8963" y="8756"/>
                  </a:cubicBezTo>
                  <a:cubicBezTo>
                    <a:pt x="8957" y="8752"/>
                    <a:pt x="8954" y="8750"/>
                    <a:pt x="8953" y="8749"/>
                  </a:cubicBezTo>
                  <a:cubicBezTo>
                    <a:pt x="8954" y="8749"/>
                    <a:pt x="8958" y="8751"/>
                    <a:pt x="8965" y="8753"/>
                  </a:cubicBezTo>
                  <a:cubicBezTo>
                    <a:pt x="8972" y="8755"/>
                    <a:pt x="8981" y="8757"/>
                    <a:pt x="8991" y="8760"/>
                  </a:cubicBezTo>
                  <a:lnTo>
                    <a:pt x="9002" y="8763"/>
                  </a:lnTo>
                  <a:lnTo>
                    <a:pt x="9002" y="8714"/>
                  </a:lnTo>
                  <a:lnTo>
                    <a:pt x="8902" y="8690"/>
                  </a:lnTo>
                  <a:lnTo>
                    <a:pt x="8876" y="8743"/>
                  </a:lnTo>
                  <a:lnTo>
                    <a:pt x="9002" y="8843"/>
                  </a:lnTo>
                  <a:close/>
                  <a:moveTo>
                    <a:pt x="9002" y="8567"/>
                  </a:moveTo>
                  <a:lnTo>
                    <a:pt x="9002" y="8502"/>
                  </a:lnTo>
                  <a:lnTo>
                    <a:pt x="8997" y="8498"/>
                  </a:lnTo>
                  <a:lnTo>
                    <a:pt x="8974" y="8545"/>
                  </a:lnTo>
                  <a:lnTo>
                    <a:pt x="9002" y="8567"/>
                  </a:lnTo>
                  <a:close/>
                  <a:moveTo>
                    <a:pt x="4489" y="18014"/>
                  </a:moveTo>
                  <a:cubicBezTo>
                    <a:pt x="4498" y="18023"/>
                    <a:pt x="4503" y="18032"/>
                    <a:pt x="4506" y="18041"/>
                  </a:cubicBezTo>
                  <a:cubicBezTo>
                    <a:pt x="4509" y="18052"/>
                    <a:pt x="4510" y="18064"/>
                    <a:pt x="4508" y="18076"/>
                  </a:cubicBezTo>
                  <a:cubicBezTo>
                    <a:pt x="4505" y="18089"/>
                    <a:pt x="4500" y="18104"/>
                    <a:pt x="4491" y="18122"/>
                  </a:cubicBezTo>
                  <a:lnTo>
                    <a:pt x="4470" y="18165"/>
                  </a:lnTo>
                  <a:lnTo>
                    <a:pt x="4324" y="18093"/>
                  </a:lnTo>
                  <a:lnTo>
                    <a:pt x="4347" y="18046"/>
                  </a:lnTo>
                  <a:cubicBezTo>
                    <a:pt x="4352" y="18036"/>
                    <a:pt x="4358" y="18027"/>
                    <a:pt x="4363" y="18020"/>
                  </a:cubicBezTo>
                  <a:cubicBezTo>
                    <a:pt x="4368" y="18013"/>
                    <a:pt x="4374" y="18006"/>
                    <a:pt x="4379" y="18001"/>
                  </a:cubicBezTo>
                  <a:cubicBezTo>
                    <a:pt x="4389" y="17992"/>
                    <a:pt x="4402" y="17987"/>
                    <a:pt x="4416" y="17985"/>
                  </a:cubicBezTo>
                  <a:cubicBezTo>
                    <a:pt x="4431" y="17984"/>
                    <a:pt x="4444" y="17986"/>
                    <a:pt x="4457" y="17992"/>
                  </a:cubicBezTo>
                  <a:cubicBezTo>
                    <a:pt x="4470" y="17999"/>
                    <a:pt x="4481" y="18006"/>
                    <a:pt x="4489" y="18014"/>
                  </a:cubicBezTo>
                  <a:close/>
                  <a:moveTo>
                    <a:pt x="4787" y="17669"/>
                  </a:moveTo>
                  <a:cubicBezTo>
                    <a:pt x="4772" y="17668"/>
                    <a:pt x="4758" y="17669"/>
                    <a:pt x="4745" y="17672"/>
                  </a:cubicBezTo>
                  <a:cubicBezTo>
                    <a:pt x="4732" y="17676"/>
                    <a:pt x="4720" y="17681"/>
                    <a:pt x="4709" y="17688"/>
                  </a:cubicBezTo>
                  <a:cubicBezTo>
                    <a:pt x="4698" y="17696"/>
                    <a:pt x="4686" y="17707"/>
                    <a:pt x="4672" y="17722"/>
                  </a:cubicBezTo>
                  <a:lnTo>
                    <a:pt x="4635" y="17760"/>
                  </a:lnTo>
                  <a:cubicBezTo>
                    <a:pt x="4616" y="17779"/>
                    <a:pt x="4600" y="17792"/>
                    <a:pt x="4585" y="17797"/>
                  </a:cubicBezTo>
                  <a:cubicBezTo>
                    <a:pt x="4571" y="17802"/>
                    <a:pt x="4556" y="17801"/>
                    <a:pt x="4540" y="17793"/>
                  </a:cubicBezTo>
                  <a:cubicBezTo>
                    <a:pt x="4520" y="17783"/>
                    <a:pt x="4507" y="17769"/>
                    <a:pt x="4502" y="17750"/>
                  </a:cubicBezTo>
                  <a:cubicBezTo>
                    <a:pt x="4498" y="17730"/>
                    <a:pt x="4502" y="17708"/>
                    <a:pt x="4514" y="17684"/>
                  </a:cubicBezTo>
                  <a:cubicBezTo>
                    <a:pt x="4518" y="17675"/>
                    <a:pt x="4522" y="17668"/>
                    <a:pt x="4527" y="17661"/>
                  </a:cubicBezTo>
                  <a:cubicBezTo>
                    <a:pt x="4532" y="17654"/>
                    <a:pt x="4537" y="17647"/>
                    <a:pt x="4544" y="17641"/>
                  </a:cubicBezTo>
                  <a:cubicBezTo>
                    <a:pt x="4550" y="17635"/>
                    <a:pt x="4557" y="17629"/>
                    <a:pt x="4565" y="17623"/>
                  </a:cubicBezTo>
                  <a:cubicBezTo>
                    <a:pt x="4573" y="17617"/>
                    <a:pt x="4583" y="17611"/>
                    <a:pt x="4594" y="17605"/>
                  </a:cubicBezTo>
                  <a:lnTo>
                    <a:pt x="4570" y="17568"/>
                  </a:lnTo>
                  <a:cubicBezTo>
                    <a:pt x="4527" y="17593"/>
                    <a:pt x="4495" y="17626"/>
                    <a:pt x="4474" y="17667"/>
                  </a:cubicBezTo>
                  <a:cubicBezTo>
                    <a:pt x="4465" y="17686"/>
                    <a:pt x="4459" y="17705"/>
                    <a:pt x="4457" y="17723"/>
                  </a:cubicBezTo>
                  <a:cubicBezTo>
                    <a:pt x="4455" y="17741"/>
                    <a:pt x="4456" y="17758"/>
                    <a:pt x="4461" y="17774"/>
                  </a:cubicBezTo>
                  <a:cubicBezTo>
                    <a:pt x="4465" y="17790"/>
                    <a:pt x="4473" y="17804"/>
                    <a:pt x="4483" y="17817"/>
                  </a:cubicBezTo>
                  <a:cubicBezTo>
                    <a:pt x="4494" y="17830"/>
                    <a:pt x="4508" y="17841"/>
                    <a:pt x="4524" y="17849"/>
                  </a:cubicBezTo>
                  <a:cubicBezTo>
                    <a:pt x="4550" y="17861"/>
                    <a:pt x="4575" y="17863"/>
                    <a:pt x="4600" y="17856"/>
                  </a:cubicBezTo>
                  <a:cubicBezTo>
                    <a:pt x="4612" y="17852"/>
                    <a:pt x="4623" y="17846"/>
                    <a:pt x="4633" y="17838"/>
                  </a:cubicBezTo>
                  <a:cubicBezTo>
                    <a:pt x="4643" y="17830"/>
                    <a:pt x="4655" y="17819"/>
                    <a:pt x="4669" y="17803"/>
                  </a:cubicBezTo>
                  <a:lnTo>
                    <a:pt x="4701" y="17770"/>
                  </a:lnTo>
                  <a:cubicBezTo>
                    <a:pt x="4738" y="17730"/>
                    <a:pt x="4773" y="17719"/>
                    <a:pt x="4808" y="17736"/>
                  </a:cubicBezTo>
                  <a:cubicBezTo>
                    <a:pt x="4831" y="17747"/>
                    <a:pt x="4845" y="17766"/>
                    <a:pt x="4850" y="17791"/>
                  </a:cubicBezTo>
                  <a:cubicBezTo>
                    <a:pt x="4852" y="17803"/>
                    <a:pt x="4853" y="17814"/>
                    <a:pt x="4851" y="17824"/>
                  </a:cubicBezTo>
                  <a:cubicBezTo>
                    <a:pt x="4849" y="17834"/>
                    <a:pt x="4844" y="17847"/>
                    <a:pt x="4837" y="17862"/>
                  </a:cubicBezTo>
                  <a:cubicBezTo>
                    <a:pt x="4827" y="17881"/>
                    <a:pt x="4815" y="17898"/>
                    <a:pt x="4802" y="17913"/>
                  </a:cubicBezTo>
                  <a:cubicBezTo>
                    <a:pt x="4788" y="17927"/>
                    <a:pt x="4771" y="17939"/>
                    <a:pt x="4751" y="17950"/>
                  </a:cubicBezTo>
                  <a:lnTo>
                    <a:pt x="4778" y="17988"/>
                  </a:lnTo>
                  <a:cubicBezTo>
                    <a:pt x="4799" y="17975"/>
                    <a:pt x="4818" y="17959"/>
                    <a:pt x="4834" y="17942"/>
                  </a:cubicBezTo>
                  <a:cubicBezTo>
                    <a:pt x="4850" y="17924"/>
                    <a:pt x="4863" y="17904"/>
                    <a:pt x="4875" y="17880"/>
                  </a:cubicBezTo>
                  <a:cubicBezTo>
                    <a:pt x="4884" y="17862"/>
                    <a:pt x="4890" y="17845"/>
                    <a:pt x="4893" y="17830"/>
                  </a:cubicBezTo>
                  <a:cubicBezTo>
                    <a:pt x="4896" y="17814"/>
                    <a:pt x="4896" y="17798"/>
                    <a:pt x="4894" y="17781"/>
                  </a:cubicBezTo>
                  <a:cubicBezTo>
                    <a:pt x="4892" y="17758"/>
                    <a:pt x="4884" y="17738"/>
                    <a:pt x="4872" y="17720"/>
                  </a:cubicBezTo>
                  <a:cubicBezTo>
                    <a:pt x="4860" y="17703"/>
                    <a:pt x="4845" y="17689"/>
                    <a:pt x="4827" y="17680"/>
                  </a:cubicBezTo>
                  <a:cubicBezTo>
                    <a:pt x="4815" y="17674"/>
                    <a:pt x="4801" y="17671"/>
                    <a:pt x="4787" y="17669"/>
                  </a:cubicBezTo>
                  <a:close/>
                  <a:moveTo>
                    <a:pt x="5004" y="17599"/>
                  </a:moveTo>
                  <a:lnTo>
                    <a:pt x="4613" y="17406"/>
                  </a:lnTo>
                  <a:lnTo>
                    <a:pt x="4591" y="17452"/>
                  </a:lnTo>
                  <a:lnTo>
                    <a:pt x="4982" y="17644"/>
                  </a:lnTo>
                  <a:lnTo>
                    <a:pt x="5004" y="17599"/>
                  </a:lnTo>
                  <a:close/>
                  <a:moveTo>
                    <a:pt x="4779" y="17069"/>
                  </a:moveTo>
                  <a:lnTo>
                    <a:pt x="4652" y="17328"/>
                  </a:lnTo>
                  <a:lnTo>
                    <a:pt x="4691" y="17347"/>
                  </a:lnTo>
                  <a:lnTo>
                    <a:pt x="4743" y="17243"/>
                  </a:lnTo>
                  <a:lnTo>
                    <a:pt x="5094" y="17415"/>
                  </a:lnTo>
                  <a:lnTo>
                    <a:pt x="5116" y="17370"/>
                  </a:lnTo>
                  <a:lnTo>
                    <a:pt x="4765" y="17198"/>
                  </a:lnTo>
                  <a:lnTo>
                    <a:pt x="4817" y="17092"/>
                  </a:lnTo>
                  <a:lnTo>
                    <a:pt x="4779" y="17069"/>
                  </a:lnTo>
                  <a:close/>
                  <a:moveTo>
                    <a:pt x="4947" y="16729"/>
                  </a:moveTo>
                  <a:lnTo>
                    <a:pt x="4920" y="16783"/>
                  </a:lnTo>
                  <a:lnTo>
                    <a:pt x="5033" y="16931"/>
                  </a:lnTo>
                  <a:cubicBezTo>
                    <a:pt x="5040" y="16941"/>
                    <a:pt x="5047" y="16951"/>
                    <a:pt x="5053" y="16959"/>
                  </a:cubicBezTo>
                  <a:cubicBezTo>
                    <a:pt x="5060" y="16967"/>
                    <a:pt x="5064" y="16972"/>
                    <a:pt x="5066" y="16974"/>
                  </a:cubicBezTo>
                  <a:cubicBezTo>
                    <a:pt x="5057" y="16974"/>
                    <a:pt x="5048" y="16973"/>
                    <a:pt x="5039" y="16973"/>
                  </a:cubicBezTo>
                  <a:cubicBezTo>
                    <a:pt x="5031" y="16972"/>
                    <a:pt x="5022" y="16972"/>
                    <a:pt x="5012" y="16972"/>
                  </a:cubicBezTo>
                  <a:lnTo>
                    <a:pt x="4827" y="16973"/>
                  </a:lnTo>
                  <a:lnTo>
                    <a:pt x="4798" y="17030"/>
                  </a:lnTo>
                  <a:lnTo>
                    <a:pt x="5096" y="17021"/>
                  </a:lnTo>
                  <a:lnTo>
                    <a:pt x="5251" y="17097"/>
                  </a:lnTo>
                  <a:lnTo>
                    <a:pt x="5275" y="17048"/>
                  </a:lnTo>
                  <a:lnTo>
                    <a:pt x="5123" y="16973"/>
                  </a:lnTo>
                  <a:lnTo>
                    <a:pt x="4947" y="16729"/>
                  </a:lnTo>
                  <a:close/>
                  <a:moveTo>
                    <a:pt x="5306" y="16300"/>
                  </a:moveTo>
                  <a:cubicBezTo>
                    <a:pt x="5280" y="16294"/>
                    <a:pt x="5255" y="16293"/>
                    <a:pt x="5230" y="16296"/>
                  </a:cubicBezTo>
                  <a:cubicBezTo>
                    <a:pt x="5221" y="16297"/>
                    <a:pt x="5211" y="16300"/>
                    <a:pt x="5200" y="16303"/>
                  </a:cubicBezTo>
                  <a:cubicBezTo>
                    <a:pt x="5189" y="16307"/>
                    <a:pt x="5178" y="16312"/>
                    <a:pt x="5167" y="16318"/>
                  </a:cubicBezTo>
                  <a:cubicBezTo>
                    <a:pt x="5156" y="16325"/>
                    <a:pt x="5145" y="16334"/>
                    <a:pt x="5134" y="16345"/>
                  </a:cubicBezTo>
                  <a:cubicBezTo>
                    <a:pt x="5124" y="16357"/>
                    <a:pt x="5114" y="16371"/>
                    <a:pt x="5106" y="16388"/>
                  </a:cubicBezTo>
                  <a:cubicBezTo>
                    <a:pt x="5094" y="16412"/>
                    <a:pt x="5088" y="16436"/>
                    <a:pt x="5088" y="16460"/>
                  </a:cubicBezTo>
                  <a:cubicBezTo>
                    <a:pt x="5088" y="16484"/>
                    <a:pt x="5093" y="16506"/>
                    <a:pt x="5104" y="16528"/>
                  </a:cubicBezTo>
                  <a:cubicBezTo>
                    <a:pt x="5115" y="16550"/>
                    <a:pt x="5130" y="16571"/>
                    <a:pt x="5152" y="16590"/>
                  </a:cubicBezTo>
                  <a:cubicBezTo>
                    <a:pt x="5173" y="16609"/>
                    <a:pt x="5199" y="16627"/>
                    <a:pt x="5230" y="16642"/>
                  </a:cubicBezTo>
                  <a:cubicBezTo>
                    <a:pt x="5298" y="16675"/>
                    <a:pt x="5357" y="16685"/>
                    <a:pt x="5408" y="16672"/>
                  </a:cubicBezTo>
                  <a:cubicBezTo>
                    <a:pt x="5430" y="16666"/>
                    <a:pt x="5450" y="16656"/>
                    <a:pt x="5468" y="16642"/>
                  </a:cubicBezTo>
                  <a:cubicBezTo>
                    <a:pt x="5486" y="16628"/>
                    <a:pt x="5500" y="16609"/>
                    <a:pt x="5512" y="16585"/>
                  </a:cubicBezTo>
                  <a:cubicBezTo>
                    <a:pt x="5522" y="16564"/>
                    <a:pt x="5528" y="16545"/>
                    <a:pt x="5530" y="16526"/>
                  </a:cubicBezTo>
                  <a:cubicBezTo>
                    <a:pt x="5532" y="16508"/>
                    <a:pt x="5530" y="16488"/>
                    <a:pt x="5523" y="16467"/>
                  </a:cubicBezTo>
                  <a:cubicBezTo>
                    <a:pt x="5515" y="16438"/>
                    <a:pt x="5500" y="16413"/>
                    <a:pt x="5480" y="16392"/>
                  </a:cubicBezTo>
                  <a:cubicBezTo>
                    <a:pt x="5459" y="16370"/>
                    <a:pt x="5430" y="16350"/>
                    <a:pt x="5393" y="16332"/>
                  </a:cubicBezTo>
                  <a:cubicBezTo>
                    <a:pt x="5361" y="16316"/>
                    <a:pt x="5332" y="16306"/>
                    <a:pt x="5306" y="16300"/>
                  </a:cubicBezTo>
                  <a:close/>
                  <a:moveTo>
                    <a:pt x="5415" y="16410"/>
                  </a:moveTo>
                  <a:cubicBezTo>
                    <a:pt x="5427" y="16418"/>
                    <a:pt x="5437" y="16425"/>
                    <a:pt x="5445" y="16432"/>
                  </a:cubicBezTo>
                  <a:cubicBezTo>
                    <a:pt x="5454" y="16439"/>
                    <a:pt x="5461" y="16446"/>
                    <a:pt x="5466" y="16453"/>
                  </a:cubicBezTo>
                  <a:cubicBezTo>
                    <a:pt x="5472" y="16460"/>
                    <a:pt x="5476" y="16467"/>
                    <a:pt x="5480" y="16475"/>
                  </a:cubicBezTo>
                  <a:cubicBezTo>
                    <a:pt x="5486" y="16490"/>
                    <a:pt x="5490" y="16504"/>
                    <a:pt x="5490" y="16519"/>
                  </a:cubicBezTo>
                  <a:cubicBezTo>
                    <a:pt x="5489" y="16534"/>
                    <a:pt x="5485" y="16549"/>
                    <a:pt x="5477" y="16565"/>
                  </a:cubicBezTo>
                  <a:cubicBezTo>
                    <a:pt x="5474" y="16573"/>
                    <a:pt x="5469" y="16580"/>
                    <a:pt x="5462" y="16588"/>
                  </a:cubicBezTo>
                  <a:cubicBezTo>
                    <a:pt x="5456" y="16595"/>
                    <a:pt x="5449" y="16602"/>
                    <a:pt x="5442" y="16607"/>
                  </a:cubicBezTo>
                  <a:cubicBezTo>
                    <a:pt x="5435" y="16613"/>
                    <a:pt x="5427" y="16617"/>
                    <a:pt x="5419" y="16621"/>
                  </a:cubicBezTo>
                  <a:cubicBezTo>
                    <a:pt x="5411" y="16625"/>
                    <a:pt x="5403" y="16627"/>
                    <a:pt x="5394" y="16627"/>
                  </a:cubicBezTo>
                  <a:cubicBezTo>
                    <a:pt x="5377" y="16628"/>
                    <a:pt x="5356" y="16625"/>
                    <a:pt x="5330" y="16618"/>
                  </a:cubicBezTo>
                  <a:cubicBezTo>
                    <a:pt x="5303" y="16611"/>
                    <a:pt x="5276" y="16600"/>
                    <a:pt x="5246" y="16585"/>
                  </a:cubicBezTo>
                  <a:cubicBezTo>
                    <a:pt x="5222" y="16573"/>
                    <a:pt x="5202" y="16562"/>
                    <a:pt x="5186" y="16550"/>
                  </a:cubicBezTo>
                  <a:cubicBezTo>
                    <a:pt x="5170" y="16538"/>
                    <a:pt x="5158" y="16526"/>
                    <a:pt x="5148" y="16512"/>
                  </a:cubicBezTo>
                  <a:cubicBezTo>
                    <a:pt x="5138" y="16498"/>
                    <a:pt x="5132" y="16481"/>
                    <a:pt x="5131" y="16462"/>
                  </a:cubicBezTo>
                  <a:cubicBezTo>
                    <a:pt x="5131" y="16443"/>
                    <a:pt x="5135" y="16424"/>
                    <a:pt x="5144" y="16406"/>
                  </a:cubicBezTo>
                  <a:cubicBezTo>
                    <a:pt x="5155" y="16383"/>
                    <a:pt x="5169" y="16368"/>
                    <a:pt x="5187" y="16359"/>
                  </a:cubicBezTo>
                  <a:cubicBezTo>
                    <a:pt x="5205" y="16350"/>
                    <a:pt x="5222" y="16345"/>
                    <a:pt x="5240" y="16345"/>
                  </a:cubicBezTo>
                  <a:cubicBezTo>
                    <a:pt x="5257" y="16346"/>
                    <a:pt x="5276" y="16349"/>
                    <a:pt x="5298" y="16356"/>
                  </a:cubicBezTo>
                  <a:cubicBezTo>
                    <a:pt x="5319" y="16363"/>
                    <a:pt x="5345" y="16374"/>
                    <a:pt x="5374" y="16388"/>
                  </a:cubicBezTo>
                  <a:cubicBezTo>
                    <a:pt x="5390" y="16396"/>
                    <a:pt x="5403" y="16403"/>
                    <a:pt x="5415" y="16410"/>
                  </a:cubicBezTo>
                  <a:close/>
                  <a:moveTo>
                    <a:pt x="5340" y="15929"/>
                  </a:moveTo>
                  <a:lnTo>
                    <a:pt x="5239" y="16135"/>
                  </a:lnTo>
                  <a:lnTo>
                    <a:pt x="5630" y="16327"/>
                  </a:lnTo>
                  <a:lnTo>
                    <a:pt x="5653" y="16280"/>
                  </a:lnTo>
                  <a:lnTo>
                    <a:pt x="5467" y="16188"/>
                  </a:lnTo>
                  <a:lnTo>
                    <a:pt x="5529" y="16063"/>
                  </a:lnTo>
                  <a:lnTo>
                    <a:pt x="5491" y="16044"/>
                  </a:lnTo>
                  <a:lnTo>
                    <a:pt x="5429" y="16170"/>
                  </a:lnTo>
                  <a:lnTo>
                    <a:pt x="5301" y="16106"/>
                  </a:lnTo>
                  <a:lnTo>
                    <a:pt x="5375" y="15955"/>
                  </a:lnTo>
                  <a:lnTo>
                    <a:pt x="5340" y="15929"/>
                  </a:lnTo>
                  <a:close/>
                  <a:moveTo>
                    <a:pt x="6006" y="15562"/>
                  </a:moveTo>
                  <a:lnTo>
                    <a:pt x="5599" y="15404"/>
                  </a:lnTo>
                  <a:lnTo>
                    <a:pt x="5565" y="15473"/>
                  </a:lnTo>
                  <a:lnTo>
                    <a:pt x="5788" y="15674"/>
                  </a:lnTo>
                  <a:cubicBezTo>
                    <a:pt x="5802" y="15686"/>
                    <a:pt x="5814" y="15696"/>
                    <a:pt x="5826" y="15705"/>
                  </a:cubicBezTo>
                  <a:cubicBezTo>
                    <a:pt x="5837" y="15713"/>
                    <a:pt x="5843" y="15718"/>
                    <a:pt x="5845" y="15719"/>
                  </a:cubicBezTo>
                  <a:cubicBezTo>
                    <a:pt x="5843" y="15719"/>
                    <a:pt x="5835" y="15717"/>
                    <a:pt x="5821" y="15713"/>
                  </a:cubicBezTo>
                  <a:cubicBezTo>
                    <a:pt x="5807" y="15709"/>
                    <a:pt x="5790" y="15705"/>
                    <a:pt x="5769" y="15701"/>
                  </a:cubicBezTo>
                  <a:lnTo>
                    <a:pt x="5479" y="15647"/>
                  </a:lnTo>
                  <a:lnTo>
                    <a:pt x="5445" y="15715"/>
                  </a:lnTo>
                  <a:lnTo>
                    <a:pt x="5819" y="15942"/>
                  </a:lnTo>
                  <a:lnTo>
                    <a:pt x="5842" y="15897"/>
                  </a:lnTo>
                  <a:lnTo>
                    <a:pt x="5574" y="15738"/>
                  </a:lnTo>
                  <a:cubicBezTo>
                    <a:pt x="5569" y="15735"/>
                    <a:pt x="5562" y="15731"/>
                    <a:pt x="5555" y="15727"/>
                  </a:cubicBezTo>
                  <a:cubicBezTo>
                    <a:pt x="5547" y="15723"/>
                    <a:pt x="5540" y="15718"/>
                    <a:pt x="5532" y="15714"/>
                  </a:cubicBezTo>
                  <a:cubicBezTo>
                    <a:pt x="5525" y="15710"/>
                    <a:pt x="5518" y="15706"/>
                    <a:pt x="5513" y="15703"/>
                  </a:cubicBezTo>
                  <a:cubicBezTo>
                    <a:pt x="5508" y="15700"/>
                    <a:pt x="5505" y="15699"/>
                    <a:pt x="5503" y="15698"/>
                  </a:cubicBezTo>
                  <a:cubicBezTo>
                    <a:pt x="5508" y="15699"/>
                    <a:pt x="5517" y="15701"/>
                    <a:pt x="5531" y="15704"/>
                  </a:cubicBezTo>
                  <a:cubicBezTo>
                    <a:pt x="5546" y="15707"/>
                    <a:pt x="5565" y="15711"/>
                    <a:pt x="5587" y="15715"/>
                  </a:cubicBezTo>
                  <a:lnTo>
                    <a:pt x="5902" y="15774"/>
                  </a:lnTo>
                  <a:lnTo>
                    <a:pt x="5922" y="15734"/>
                  </a:lnTo>
                  <a:lnTo>
                    <a:pt x="5671" y="15507"/>
                  </a:lnTo>
                  <a:cubicBezTo>
                    <a:pt x="5666" y="15502"/>
                    <a:pt x="5660" y="15497"/>
                    <a:pt x="5655" y="15492"/>
                  </a:cubicBezTo>
                  <a:cubicBezTo>
                    <a:pt x="5649" y="15487"/>
                    <a:pt x="5643" y="15483"/>
                    <a:pt x="5638" y="15478"/>
                  </a:cubicBezTo>
                  <a:cubicBezTo>
                    <a:pt x="5632" y="15474"/>
                    <a:pt x="5628" y="15470"/>
                    <a:pt x="5624" y="15467"/>
                  </a:cubicBezTo>
                  <a:cubicBezTo>
                    <a:pt x="5621" y="15464"/>
                    <a:pt x="5618" y="15462"/>
                    <a:pt x="5618" y="15461"/>
                  </a:cubicBezTo>
                  <a:cubicBezTo>
                    <a:pt x="5619" y="15462"/>
                    <a:pt x="5621" y="15463"/>
                    <a:pt x="5626" y="15465"/>
                  </a:cubicBezTo>
                  <a:cubicBezTo>
                    <a:pt x="5631" y="15467"/>
                    <a:pt x="5636" y="15469"/>
                    <a:pt x="5643" y="15473"/>
                  </a:cubicBezTo>
                  <a:cubicBezTo>
                    <a:pt x="5650" y="15476"/>
                    <a:pt x="5657" y="15479"/>
                    <a:pt x="5665" y="15482"/>
                  </a:cubicBezTo>
                  <a:cubicBezTo>
                    <a:pt x="5672" y="15485"/>
                    <a:pt x="5679" y="15488"/>
                    <a:pt x="5685" y="15491"/>
                  </a:cubicBezTo>
                  <a:lnTo>
                    <a:pt x="5983" y="15609"/>
                  </a:lnTo>
                  <a:lnTo>
                    <a:pt x="6006" y="15562"/>
                  </a:lnTo>
                  <a:close/>
                  <a:moveTo>
                    <a:pt x="5791" y="15014"/>
                  </a:moveTo>
                  <a:lnTo>
                    <a:pt x="5768" y="15060"/>
                  </a:lnTo>
                  <a:lnTo>
                    <a:pt x="6040" y="15194"/>
                  </a:lnTo>
                  <a:cubicBezTo>
                    <a:pt x="6053" y="15201"/>
                    <a:pt x="6064" y="15207"/>
                    <a:pt x="6073" y="15213"/>
                  </a:cubicBezTo>
                  <a:cubicBezTo>
                    <a:pt x="6081" y="15220"/>
                    <a:pt x="6088" y="15228"/>
                    <a:pt x="6094" y="15239"/>
                  </a:cubicBezTo>
                  <a:cubicBezTo>
                    <a:pt x="6099" y="15249"/>
                    <a:pt x="6101" y="15261"/>
                    <a:pt x="6099" y="15275"/>
                  </a:cubicBezTo>
                  <a:cubicBezTo>
                    <a:pt x="6097" y="15288"/>
                    <a:pt x="6092" y="15304"/>
                    <a:pt x="6084" y="15320"/>
                  </a:cubicBezTo>
                  <a:cubicBezTo>
                    <a:pt x="6078" y="15332"/>
                    <a:pt x="6072" y="15342"/>
                    <a:pt x="6066" y="15350"/>
                  </a:cubicBezTo>
                  <a:cubicBezTo>
                    <a:pt x="6059" y="15357"/>
                    <a:pt x="6052" y="15363"/>
                    <a:pt x="6046" y="15367"/>
                  </a:cubicBezTo>
                  <a:cubicBezTo>
                    <a:pt x="6039" y="15371"/>
                    <a:pt x="6032" y="15374"/>
                    <a:pt x="6026" y="15376"/>
                  </a:cubicBezTo>
                  <a:cubicBezTo>
                    <a:pt x="6020" y="15377"/>
                    <a:pt x="6014" y="15378"/>
                    <a:pt x="6009" y="15377"/>
                  </a:cubicBezTo>
                  <a:cubicBezTo>
                    <a:pt x="6001" y="15377"/>
                    <a:pt x="5992" y="15375"/>
                    <a:pt x="5981" y="15370"/>
                  </a:cubicBezTo>
                  <a:cubicBezTo>
                    <a:pt x="5969" y="15366"/>
                    <a:pt x="5959" y="15361"/>
                    <a:pt x="5949" y="15357"/>
                  </a:cubicBezTo>
                  <a:lnTo>
                    <a:pt x="5686" y="15227"/>
                  </a:lnTo>
                  <a:lnTo>
                    <a:pt x="5663" y="15273"/>
                  </a:lnTo>
                  <a:lnTo>
                    <a:pt x="5943" y="15411"/>
                  </a:lnTo>
                  <a:cubicBezTo>
                    <a:pt x="5952" y="15415"/>
                    <a:pt x="5962" y="15420"/>
                    <a:pt x="5974" y="15424"/>
                  </a:cubicBezTo>
                  <a:cubicBezTo>
                    <a:pt x="5986" y="15428"/>
                    <a:pt x="5998" y="15430"/>
                    <a:pt x="6010" y="15430"/>
                  </a:cubicBezTo>
                  <a:cubicBezTo>
                    <a:pt x="6034" y="15429"/>
                    <a:pt x="6056" y="15421"/>
                    <a:pt x="6074" y="15408"/>
                  </a:cubicBezTo>
                  <a:cubicBezTo>
                    <a:pt x="6092" y="15394"/>
                    <a:pt x="6108" y="15372"/>
                    <a:pt x="6123" y="15342"/>
                  </a:cubicBezTo>
                  <a:cubicBezTo>
                    <a:pt x="6135" y="15318"/>
                    <a:pt x="6142" y="15297"/>
                    <a:pt x="6145" y="15278"/>
                  </a:cubicBezTo>
                  <a:cubicBezTo>
                    <a:pt x="6148" y="15259"/>
                    <a:pt x="6148" y="15242"/>
                    <a:pt x="6143" y="15224"/>
                  </a:cubicBezTo>
                  <a:cubicBezTo>
                    <a:pt x="6139" y="15208"/>
                    <a:pt x="6132" y="15194"/>
                    <a:pt x="6121" y="15184"/>
                  </a:cubicBezTo>
                  <a:cubicBezTo>
                    <a:pt x="6109" y="15173"/>
                    <a:pt x="6092" y="15162"/>
                    <a:pt x="6069" y="15151"/>
                  </a:cubicBezTo>
                  <a:lnTo>
                    <a:pt x="5791" y="15014"/>
                  </a:lnTo>
                  <a:close/>
                  <a:moveTo>
                    <a:pt x="5633" y="15145"/>
                  </a:moveTo>
                  <a:cubicBezTo>
                    <a:pt x="5625" y="15148"/>
                    <a:pt x="5619" y="15153"/>
                    <a:pt x="5615" y="15162"/>
                  </a:cubicBezTo>
                  <a:cubicBezTo>
                    <a:pt x="5611" y="15170"/>
                    <a:pt x="5610" y="15178"/>
                    <a:pt x="5613" y="15186"/>
                  </a:cubicBezTo>
                  <a:cubicBezTo>
                    <a:pt x="5616" y="15195"/>
                    <a:pt x="5621" y="15201"/>
                    <a:pt x="5629" y="15205"/>
                  </a:cubicBezTo>
                  <a:cubicBezTo>
                    <a:pt x="5638" y="15209"/>
                    <a:pt x="5646" y="15210"/>
                    <a:pt x="5655" y="15207"/>
                  </a:cubicBezTo>
                  <a:cubicBezTo>
                    <a:pt x="5664" y="15204"/>
                    <a:pt x="5670" y="15198"/>
                    <a:pt x="5674" y="15190"/>
                  </a:cubicBezTo>
                  <a:cubicBezTo>
                    <a:pt x="5678" y="15182"/>
                    <a:pt x="5679" y="15173"/>
                    <a:pt x="5675" y="15165"/>
                  </a:cubicBezTo>
                  <a:cubicBezTo>
                    <a:pt x="5672" y="15157"/>
                    <a:pt x="5667" y="15150"/>
                    <a:pt x="5658" y="15146"/>
                  </a:cubicBezTo>
                  <a:cubicBezTo>
                    <a:pt x="5650" y="15142"/>
                    <a:pt x="5642" y="15142"/>
                    <a:pt x="5633" y="15145"/>
                  </a:cubicBezTo>
                  <a:close/>
                  <a:moveTo>
                    <a:pt x="5691" y="15028"/>
                  </a:moveTo>
                  <a:cubicBezTo>
                    <a:pt x="5682" y="15031"/>
                    <a:pt x="5676" y="15036"/>
                    <a:pt x="5672" y="15045"/>
                  </a:cubicBezTo>
                  <a:cubicBezTo>
                    <a:pt x="5668" y="15053"/>
                    <a:pt x="5668" y="15061"/>
                    <a:pt x="5670" y="15069"/>
                  </a:cubicBezTo>
                  <a:cubicBezTo>
                    <a:pt x="5673" y="15078"/>
                    <a:pt x="5679" y="15084"/>
                    <a:pt x="5687" y="15088"/>
                  </a:cubicBezTo>
                  <a:cubicBezTo>
                    <a:pt x="5695" y="15092"/>
                    <a:pt x="5704" y="15093"/>
                    <a:pt x="5712" y="15090"/>
                  </a:cubicBezTo>
                  <a:cubicBezTo>
                    <a:pt x="5721" y="15087"/>
                    <a:pt x="5727" y="15082"/>
                    <a:pt x="5732" y="15073"/>
                  </a:cubicBezTo>
                  <a:cubicBezTo>
                    <a:pt x="5736" y="15065"/>
                    <a:pt x="5736" y="15057"/>
                    <a:pt x="5733" y="15048"/>
                  </a:cubicBezTo>
                  <a:cubicBezTo>
                    <a:pt x="5730" y="15040"/>
                    <a:pt x="5724" y="15034"/>
                    <a:pt x="5716" y="15029"/>
                  </a:cubicBezTo>
                  <a:cubicBezTo>
                    <a:pt x="5708" y="15025"/>
                    <a:pt x="5699" y="15025"/>
                    <a:pt x="5691" y="15028"/>
                  </a:cubicBezTo>
                  <a:close/>
                  <a:moveTo>
                    <a:pt x="6365" y="14834"/>
                  </a:moveTo>
                  <a:lnTo>
                    <a:pt x="5974" y="14641"/>
                  </a:lnTo>
                  <a:lnTo>
                    <a:pt x="5951" y="14687"/>
                  </a:lnTo>
                  <a:lnTo>
                    <a:pt x="6165" y="14790"/>
                  </a:lnTo>
                  <a:cubicBezTo>
                    <a:pt x="6179" y="14797"/>
                    <a:pt x="6193" y="14804"/>
                    <a:pt x="6207" y="14810"/>
                  </a:cubicBezTo>
                  <a:cubicBezTo>
                    <a:pt x="6221" y="14817"/>
                    <a:pt x="6234" y="14822"/>
                    <a:pt x="6246" y="14827"/>
                  </a:cubicBezTo>
                  <a:cubicBezTo>
                    <a:pt x="6257" y="14832"/>
                    <a:pt x="6267" y="14836"/>
                    <a:pt x="6274" y="14839"/>
                  </a:cubicBezTo>
                  <a:cubicBezTo>
                    <a:pt x="6282" y="14842"/>
                    <a:pt x="6286" y="14844"/>
                    <a:pt x="6286" y="14844"/>
                  </a:cubicBezTo>
                  <a:cubicBezTo>
                    <a:pt x="6285" y="14844"/>
                    <a:pt x="6281" y="14843"/>
                    <a:pt x="6275" y="14843"/>
                  </a:cubicBezTo>
                  <a:cubicBezTo>
                    <a:pt x="6269" y="14842"/>
                    <a:pt x="6261" y="14842"/>
                    <a:pt x="6252" y="14841"/>
                  </a:cubicBezTo>
                  <a:cubicBezTo>
                    <a:pt x="6243" y="14841"/>
                    <a:pt x="6232" y="14840"/>
                    <a:pt x="6221" y="14840"/>
                  </a:cubicBezTo>
                  <a:cubicBezTo>
                    <a:pt x="6209" y="14839"/>
                    <a:pt x="6198" y="14839"/>
                    <a:pt x="6186" y="14840"/>
                  </a:cubicBezTo>
                  <a:lnTo>
                    <a:pt x="5873" y="14847"/>
                  </a:lnTo>
                  <a:lnTo>
                    <a:pt x="5846" y="14901"/>
                  </a:lnTo>
                  <a:lnTo>
                    <a:pt x="6237" y="15093"/>
                  </a:lnTo>
                  <a:lnTo>
                    <a:pt x="6261" y="15045"/>
                  </a:lnTo>
                  <a:lnTo>
                    <a:pt x="6033" y="14936"/>
                  </a:lnTo>
                  <a:cubicBezTo>
                    <a:pt x="6021" y="14930"/>
                    <a:pt x="6010" y="14925"/>
                    <a:pt x="5998" y="14920"/>
                  </a:cubicBezTo>
                  <a:cubicBezTo>
                    <a:pt x="5987" y="14915"/>
                    <a:pt x="5976" y="14910"/>
                    <a:pt x="5966" y="14906"/>
                  </a:cubicBezTo>
                  <a:cubicBezTo>
                    <a:pt x="5956" y="14902"/>
                    <a:pt x="5947" y="14898"/>
                    <a:pt x="5940" y="14895"/>
                  </a:cubicBezTo>
                  <a:cubicBezTo>
                    <a:pt x="5933" y="14892"/>
                    <a:pt x="5928" y="14890"/>
                    <a:pt x="5924" y="14889"/>
                  </a:cubicBezTo>
                  <a:cubicBezTo>
                    <a:pt x="5928" y="14889"/>
                    <a:pt x="5934" y="14890"/>
                    <a:pt x="5941" y="14890"/>
                  </a:cubicBezTo>
                  <a:cubicBezTo>
                    <a:pt x="5949" y="14890"/>
                    <a:pt x="5958" y="14891"/>
                    <a:pt x="5968" y="14891"/>
                  </a:cubicBezTo>
                  <a:cubicBezTo>
                    <a:pt x="5978" y="14891"/>
                    <a:pt x="5989" y="14891"/>
                    <a:pt x="6001" y="14891"/>
                  </a:cubicBezTo>
                  <a:cubicBezTo>
                    <a:pt x="6013" y="14891"/>
                    <a:pt x="6026" y="14891"/>
                    <a:pt x="6040" y="14890"/>
                  </a:cubicBezTo>
                  <a:lnTo>
                    <a:pt x="6341" y="14883"/>
                  </a:lnTo>
                  <a:lnTo>
                    <a:pt x="6365" y="14834"/>
                  </a:lnTo>
                  <a:close/>
                  <a:moveTo>
                    <a:pt x="6389" y="14413"/>
                  </a:moveTo>
                  <a:cubicBezTo>
                    <a:pt x="6374" y="14411"/>
                    <a:pt x="6360" y="14412"/>
                    <a:pt x="6347" y="14416"/>
                  </a:cubicBezTo>
                  <a:cubicBezTo>
                    <a:pt x="6334" y="14419"/>
                    <a:pt x="6322" y="14425"/>
                    <a:pt x="6311" y="14432"/>
                  </a:cubicBezTo>
                  <a:cubicBezTo>
                    <a:pt x="6301" y="14439"/>
                    <a:pt x="6288" y="14451"/>
                    <a:pt x="6274" y="14465"/>
                  </a:cubicBezTo>
                  <a:lnTo>
                    <a:pt x="6238" y="14503"/>
                  </a:lnTo>
                  <a:cubicBezTo>
                    <a:pt x="6219" y="14523"/>
                    <a:pt x="6202" y="14535"/>
                    <a:pt x="6188" y="14541"/>
                  </a:cubicBezTo>
                  <a:cubicBezTo>
                    <a:pt x="6173" y="14546"/>
                    <a:pt x="6158" y="14545"/>
                    <a:pt x="6142" y="14537"/>
                  </a:cubicBezTo>
                  <a:cubicBezTo>
                    <a:pt x="6122" y="14527"/>
                    <a:pt x="6109" y="14512"/>
                    <a:pt x="6105" y="14493"/>
                  </a:cubicBezTo>
                  <a:cubicBezTo>
                    <a:pt x="6100" y="14474"/>
                    <a:pt x="6104" y="14452"/>
                    <a:pt x="6116" y="14427"/>
                  </a:cubicBezTo>
                  <a:cubicBezTo>
                    <a:pt x="6120" y="14419"/>
                    <a:pt x="6125" y="14411"/>
                    <a:pt x="6129" y="14404"/>
                  </a:cubicBezTo>
                  <a:cubicBezTo>
                    <a:pt x="6134" y="14398"/>
                    <a:pt x="6140" y="14391"/>
                    <a:pt x="6146" y="14385"/>
                  </a:cubicBezTo>
                  <a:cubicBezTo>
                    <a:pt x="6152" y="14379"/>
                    <a:pt x="6160" y="14373"/>
                    <a:pt x="6168" y="14367"/>
                  </a:cubicBezTo>
                  <a:cubicBezTo>
                    <a:pt x="6176" y="14361"/>
                    <a:pt x="6185" y="14355"/>
                    <a:pt x="6196" y="14348"/>
                  </a:cubicBezTo>
                  <a:lnTo>
                    <a:pt x="6172" y="14311"/>
                  </a:lnTo>
                  <a:cubicBezTo>
                    <a:pt x="6129" y="14336"/>
                    <a:pt x="6097" y="14369"/>
                    <a:pt x="6077" y="14411"/>
                  </a:cubicBezTo>
                  <a:cubicBezTo>
                    <a:pt x="6067" y="14430"/>
                    <a:pt x="6062" y="14448"/>
                    <a:pt x="6059" y="14467"/>
                  </a:cubicBezTo>
                  <a:cubicBezTo>
                    <a:pt x="6057" y="14485"/>
                    <a:pt x="6059" y="14502"/>
                    <a:pt x="6063" y="14518"/>
                  </a:cubicBezTo>
                  <a:cubicBezTo>
                    <a:pt x="6067" y="14534"/>
                    <a:pt x="6075" y="14548"/>
                    <a:pt x="6086" y="14561"/>
                  </a:cubicBezTo>
                  <a:cubicBezTo>
                    <a:pt x="6096" y="14574"/>
                    <a:pt x="6110" y="14584"/>
                    <a:pt x="6127" y="14592"/>
                  </a:cubicBezTo>
                  <a:cubicBezTo>
                    <a:pt x="6152" y="14605"/>
                    <a:pt x="6177" y="14607"/>
                    <a:pt x="6203" y="14599"/>
                  </a:cubicBezTo>
                  <a:cubicBezTo>
                    <a:pt x="6214" y="14596"/>
                    <a:pt x="6225" y="14590"/>
                    <a:pt x="6235" y="14582"/>
                  </a:cubicBezTo>
                  <a:cubicBezTo>
                    <a:pt x="6245" y="14574"/>
                    <a:pt x="6257" y="14562"/>
                    <a:pt x="6272" y="14547"/>
                  </a:cubicBezTo>
                  <a:lnTo>
                    <a:pt x="6303" y="14513"/>
                  </a:lnTo>
                  <a:cubicBezTo>
                    <a:pt x="6340" y="14474"/>
                    <a:pt x="6376" y="14462"/>
                    <a:pt x="6410" y="14479"/>
                  </a:cubicBezTo>
                  <a:cubicBezTo>
                    <a:pt x="6433" y="14491"/>
                    <a:pt x="6448" y="14509"/>
                    <a:pt x="6452" y="14535"/>
                  </a:cubicBezTo>
                  <a:cubicBezTo>
                    <a:pt x="6455" y="14546"/>
                    <a:pt x="6455" y="14557"/>
                    <a:pt x="6453" y="14567"/>
                  </a:cubicBezTo>
                  <a:cubicBezTo>
                    <a:pt x="6451" y="14578"/>
                    <a:pt x="6446" y="14590"/>
                    <a:pt x="6439" y="14605"/>
                  </a:cubicBezTo>
                  <a:cubicBezTo>
                    <a:pt x="6429" y="14625"/>
                    <a:pt x="6418" y="14642"/>
                    <a:pt x="6404" y="14656"/>
                  </a:cubicBezTo>
                  <a:cubicBezTo>
                    <a:pt x="6390" y="14671"/>
                    <a:pt x="6374" y="14683"/>
                    <a:pt x="6354" y="14693"/>
                  </a:cubicBezTo>
                  <a:lnTo>
                    <a:pt x="6380" y="14732"/>
                  </a:lnTo>
                  <a:cubicBezTo>
                    <a:pt x="6402" y="14719"/>
                    <a:pt x="6420" y="14703"/>
                    <a:pt x="6436" y="14686"/>
                  </a:cubicBezTo>
                  <a:cubicBezTo>
                    <a:pt x="6452" y="14668"/>
                    <a:pt x="6466" y="14648"/>
                    <a:pt x="6477" y="14624"/>
                  </a:cubicBezTo>
                  <a:cubicBezTo>
                    <a:pt x="6486" y="14606"/>
                    <a:pt x="6492" y="14589"/>
                    <a:pt x="6495" y="14573"/>
                  </a:cubicBezTo>
                  <a:cubicBezTo>
                    <a:pt x="6498" y="14558"/>
                    <a:pt x="6498" y="14541"/>
                    <a:pt x="6496" y="14524"/>
                  </a:cubicBezTo>
                  <a:cubicBezTo>
                    <a:pt x="6494" y="14502"/>
                    <a:pt x="6487" y="14481"/>
                    <a:pt x="6475" y="14464"/>
                  </a:cubicBezTo>
                  <a:cubicBezTo>
                    <a:pt x="6462" y="14446"/>
                    <a:pt x="6447" y="14433"/>
                    <a:pt x="6429" y="14424"/>
                  </a:cubicBezTo>
                  <a:cubicBezTo>
                    <a:pt x="6417" y="14418"/>
                    <a:pt x="6403" y="14414"/>
                    <a:pt x="6389" y="14413"/>
                  </a:cubicBezTo>
                  <a:close/>
                  <a:moveTo>
                    <a:pt x="6306" y="13966"/>
                  </a:moveTo>
                  <a:lnTo>
                    <a:pt x="6179" y="14225"/>
                  </a:lnTo>
                  <a:lnTo>
                    <a:pt x="6218" y="14244"/>
                  </a:lnTo>
                  <a:lnTo>
                    <a:pt x="6270" y="14139"/>
                  </a:lnTo>
                  <a:lnTo>
                    <a:pt x="6621" y="14312"/>
                  </a:lnTo>
                  <a:lnTo>
                    <a:pt x="6643" y="14267"/>
                  </a:lnTo>
                  <a:lnTo>
                    <a:pt x="6292" y="14094"/>
                  </a:lnTo>
                  <a:lnTo>
                    <a:pt x="6344" y="13988"/>
                  </a:lnTo>
                  <a:lnTo>
                    <a:pt x="6306" y="13966"/>
                  </a:lnTo>
                  <a:close/>
                  <a:moveTo>
                    <a:pt x="6838" y="13872"/>
                  </a:moveTo>
                  <a:lnTo>
                    <a:pt x="6798" y="13852"/>
                  </a:lnTo>
                  <a:lnTo>
                    <a:pt x="6713" y="14024"/>
                  </a:lnTo>
                  <a:lnTo>
                    <a:pt x="6570" y="13954"/>
                  </a:lnTo>
                  <a:lnTo>
                    <a:pt x="6636" y="13820"/>
                  </a:lnTo>
                  <a:lnTo>
                    <a:pt x="6595" y="13800"/>
                  </a:lnTo>
                  <a:lnTo>
                    <a:pt x="6529" y="13934"/>
                  </a:lnTo>
                  <a:lnTo>
                    <a:pt x="6401" y="13871"/>
                  </a:lnTo>
                  <a:lnTo>
                    <a:pt x="6480" y="13711"/>
                  </a:lnTo>
                  <a:lnTo>
                    <a:pt x="6444" y="13685"/>
                  </a:lnTo>
                  <a:lnTo>
                    <a:pt x="6339" y="13899"/>
                  </a:lnTo>
                  <a:lnTo>
                    <a:pt x="6730" y="14091"/>
                  </a:lnTo>
                  <a:lnTo>
                    <a:pt x="6838" y="13872"/>
                  </a:lnTo>
                  <a:close/>
                  <a:moveTo>
                    <a:pt x="7001" y="13541"/>
                  </a:moveTo>
                  <a:lnTo>
                    <a:pt x="6965" y="13546"/>
                  </a:lnTo>
                  <a:cubicBezTo>
                    <a:pt x="6948" y="13548"/>
                    <a:pt x="6930" y="13550"/>
                    <a:pt x="6912" y="13553"/>
                  </a:cubicBezTo>
                  <a:cubicBezTo>
                    <a:pt x="6893" y="13555"/>
                    <a:pt x="6875" y="13558"/>
                    <a:pt x="6859" y="13560"/>
                  </a:cubicBezTo>
                  <a:cubicBezTo>
                    <a:pt x="6842" y="13562"/>
                    <a:pt x="6831" y="13564"/>
                    <a:pt x="6824" y="13565"/>
                  </a:cubicBezTo>
                  <a:cubicBezTo>
                    <a:pt x="6814" y="13567"/>
                    <a:pt x="6803" y="13570"/>
                    <a:pt x="6791" y="13573"/>
                  </a:cubicBezTo>
                  <a:cubicBezTo>
                    <a:pt x="6779" y="13576"/>
                    <a:pt x="6769" y="13579"/>
                    <a:pt x="6761" y="13583"/>
                  </a:cubicBezTo>
                  <a:lnTo>
                    <a:pt x="6763" y="13578"/>
                  </a:lnTo>
                  <a:cubicBezTo>
                    <a:pt x="6771" y="13562"/>
                    <a:pt x="6775" y="13547"/>
                    <a:pt x="6777" y="13531"/>
                  </a:cubicBezTo>
                  <a:cubicBezTo>
                    <a:pt x="6778" y="13516"/>
                    <a:pt x="6776" y="13502"/>
                    <a:pt x="6771" y="13488"/>
                  </a:cubicBezTo>
                  <a:cubicBezTo>
                    <a:pt x="6766" y="13474"/>
                    <a:pt x="6758" y="13462"/>
                    <a:pt x="6748" y="13450"/>
                  </a:cubicBezTo>
                  <a:cubicBezTo>
                    <a:pt x="6737" y="13439"/>
                    <a:pt x="6723" y="13429"/>
                    <a:pt x="6707" y="13421"/>
                  </a:cubicBezTo>
                  <a:cubicBezTo>
                    <a:pt x="6697" y="13416"/>
                    <a:pt x="6687" y="13413"/>
                    <a:pt x="6677" y="13411"/>
                  </a:cubicBezTo>
                  <a:cubicBezTo>
                    <a:pt x="6668" y="13409"/>
                    <a:pt x="6658" y="13408"/>
                    <a:pt x="6650" y="13409"/>
                  </a:cubicBezTo>
                  <a:cubicBezTo>
                    <a:pt x="6641" y="13409"/>
                    <a:pt x="6633" y="13410"/>
                    <a:pt x="6626" y="13412"/>
                  </a:cubicBezTo>
                  <a:cubicBezTo>
                    <a:pt x="6618" y="13414"/>
                    <a:pt x="6612" y="13417"/>
                    <a:pt x="6606" y="13419"/>
                  </a:cubicBezTo>
                  <a:cubicBezTo>
                    <a:pt x="6600" y="13422"/>
                    <a:pt x="6594" y="13426"/>
                    <a:pt x="6588" y="13430"/>
                  </a:cubicBezTo>
                  <a:cubicBezTo>
                    <a:pt x="6582" y="13434"/>
                    <a:pt x="6576" y="13440"/>
                    <a:pt x="6570" y="13447"/>
                  </a:cubicBezTo>
                  <a:cubicBezTo>
                    <a:pt x="6564" y="13453"/>
                    <a:pt x="6558" y="13462"/>
                    <a:pt x="6552" y="13471"/>
                  </a:cubicBezTo>
                  <a:cubicBezTo>
                    <a:pt x="6546" y="13481"/>
                    <a:pt x="6539" y="13492"/>
                    <a:pt x="6533" y="13506"/>
                  </a:cubicBezTo>
                  <a:lnTo>
                    <a:pt x="6488" y="13597"/>
                  </a:lnTo>
                  <a:lnTo>
                    <a:pt x="6879" y="13789"/>
                  </a:lnTo>
                  <a:lnTo>
                    <a:pt x="6901" y="13744"/>
                  </a:lnTo>
                  <a:lnTo>
                    <a:pt x="6724" y="13657"/>
                  </a:lnTo>
                  <a:cubicBezTo>
                    <a:pt x="6730" y="13647"/>
                    <a:pt x="6735" y="13640"/>
                    <a:pt x="6742" y="13635"/>
                  </a:cubicBezTo>
                  <a:cubicBezTo>
                    <a:pt x="6748" y="13631"/>
                    <a:pt x="6758" y="13627"/>
                    <a:pt x="6771" y="13625"/>
                  </a:cubicBezTo>
                  <a:cubicBezTo>
                    <a:pt x="6794" y="13620"/>
                    <a:pt x="6816" y="13616"/>
                    <a:pt x="6837" y="13612"/>
                  </a:cubicBezTo>
                  <a:cubicBezTo>
                    <a:pt x="6858" y="13609"/>
                    <a:pt x="6877" y="13606"/>
                    <a:pt x="6894" y="13604"/>
                  </a:cubicBezTo>
                  <a:cubicBezTo>
                    <a:pt x="6912" y="13602"/>
                    <a:pt x="6927" y="13601"/>
                    <a:pt x="6940" y="13600"/>
                  </a:cubicBezTo>
                  <a:cubicBezTo>
                    <a:pt x="6954" y="13600"/>
                    <a:pt x="6964" y="13599"/>
                    <a:pt x="6972" y="13599"/>
                  </a:cubicBezTo>
                  <a:lnTo>
                    <a:pt x="7001" y="13541"/>
                  </a:lnTo>
                  <a:close/>
                  <a:moveTo>
                    <a:pt x="6715" y="13492"/>
                  </a:moveTo>
                  <a:cubicBezTo>
                    <a:pt x="6723" y="13500"/>
                    <a:pt x="6729" y="13509"/>
                    <a:pt x="6732" y="13519"/>
                  </a:cubicBezTo>
                  <a:cubicBezTo>
                    <a:pt x="6735" y="13530"/>
                    <a:pt x="6735" y="13541"/>
                    <a:pt x="6733" y="13554"/>
                  </a:cubicBezTo>
                  <a:cubicBezTo>
                    <a:pt x="6731" y="13567"/>
                    <a:pt x="6725" y="13582"/>
                    <a:pt x="6717" y="13599"/>
                  </a:cubicBezTo>
                  <a:lnTo>
                    <a:pt x="6695" y="13642"/>
                  </a:lnTo>
                  <a:lnTo>
                    <a:pt x="6550" y="13571"/>
                  </a:lnTo>
                  <a:lnTo>
                    <a:pt x="6573" y="13524"/>
                  </a:lnTo>
                  <a:cubicBezTo>
                    <a:pt x="6578" y="13513"/>
                    <a:pt x="6583" y="13504"/>
                    <a:pt x="6588" y="13497"/>
                  </a:cubicBezTo>
                  <a:cubicBezTo>
                    <a:pt x="6593" y="13490"/>
                    <a:pt x="6599" y="13484"/>
                    <a:pt x="6605" y="13479"/>
                  </a:cubicBezTo>
                  <a:cubicBezTo>
                    <a:pt x="6615" y="13470"/>
                    <a:pt x="6627" y="13465"/>
                    <a:pt x="6641" y="13463"/>
                  </a:cubicBezTo>
                  <a:cubicBezTo>
                    <a:pt x="6656" y="13461"/>
                    <a:pt x="6670" y="13463"/>
                    <a:pt x="6683" y="13470"/>
                  </a:cubicBezTo>
                  <a:cubicBezTo>
                    <a:pt x="6696" y="13476"/>
                    <a:pt x="6706" y="13484"/>
                    <a:pt x="6715" y="13492"/>
                  </a:cubicBezTo>
                  <a:close/>
                  <a:moveTo>
                    <a:pt x="7213" y="13329"/>
                  </a:moveTo>
                  <a:lnTo>
                    <a:pt x="6664" y="13059"/>
                  </a:lnTo>
                  <a:lnTo>
                    <a:pt x="6645" y="13097"/>
                  </a:lnTo>
                  <a:lnTo>
                    <a:pt x="7194" y="13367"/>
                  </a:lnTo>
                  <a:lnTo>
                    <a:pt x="7213" y="13329"/>
                  </a:lnTo>
                  <a:close/>
                  <a:moveTo>
                    <a:pt x="7058" y="12438"/>
                  </a:moveTo>
                  <a:lnTo>
                    <a:pt x="7035" y="12485"/>
                  </a:lnTo>
                  <a:lnTo>
                    <a:pt x="7238" y="12645"/>
                  </a:lnTo>
                  <a:cubicBezTo>
                    <a:pt x="7251" y="12655"/>
                    <a:pt x="7264" y="12665"/>
                    <a:pt x="7276" y="12675"/>
                  </a:cubicBezTo>
                  <a:cubicBezTo>
                    <a:pt x="7289" y="12684"/>
                    <a:pt x="7300" y="12693"/>
                    <a:pt x="7311" y="12700"/>
                  </a:cubicBezTo>
                  <a:cubicBezTo>
                    <a:pt x="7321" y="12708"/>
                    <a:pt x="7329" y="12714"/>
                    <a:pt x="7336" y="12719"/>
                  </a:cubicBezTo>
                  <a:cubicBezTo>
                    <a:pt x="7341" y="12723"/>
                    <a:pt x="7345" y="12725"/>
                    <a:pt x="7346" y="12726"/>
                  </a:cubicBezTo>
                  <a:cubicBezTo>
                    <a:pt x="7344" y="12726"/>
                    <a:pt x="7341" y="12725"/>
                    <a:pt x="7336" y="12724"/>
                  </a:cubicBezTo>
                  <a:cubicBezTo>
                    <a:pt x="7330" y="12722"/>
                    <a:pt x="7322" y="12719"/>
                    <a:pt x="7312" y="12716"/>
                  </a:cubicBezTo>
                  <a:cubicBezTo>
                    <a:pt x="7302" y="12713"/>
                    <a:pt x="7290" y="12710"/>
                    <a:pt x="7277" y="12707"/>
                  </a:cubicBezTo>
                  <a:cubicBezTo>
                    <a:pt x="7264" y="12703"/>
                    <a:pt x="7249" y="12699"/>
                    <a:pt x="7233" y="12695"/>
                  </a:cubicBezTo>
                  <a:lnTo>
                    <a:pt x="6964" y="12630"/>
                  </a:lnTo>
                  <a:lnTo>
                    <a:pt x="6938" y="12683"/>
                  </a:lnTo>
                  <a:lnTo>
                    <a:pt x="7146" y="12850"/>
                  </a:lnTo>
                  <a:cubicBezTo>
                    <a:pt x="7156" y="12858"/>
                    <a:pt x="7167" y="12866"/>
                    <a:pt x="7178" y="12875"/>
                  </a:cubicBezTo>
                  <a:cubicBezTo>
                    <a:pt x="7190" y="12884"/>
                    <a:pt x="7201" y="12892"/>
                    <a:pt x="7211" y="12900"/>
                  </a:cubicBezTo>
                  <a:cubicBezTo>
                    <a:pt x="7221" y="12907"/>
                    <a:pt x="7229" y="12914"/>
                    <a:pt x="7236" y="12919"/>
                  </a:cubicBezTo>
                  <a:cubicBezTo>
                    <a:pt x="7243" y="12925"/>
                    <a:pt x="7247" y="12927"/>
                    <a:pt x="7248" y="12928"/>
                  </a:cubicBezTo>
                  <a:cubicBezTo>
                    <a:pt x="7246" y="12927"/>
                    <a:pt x="7241" y="12926"/>
                    <a:pt x="7233" y="12923"/>
                  </a:cubicBezTo>
                  <a:cubicBezTo>
                    <a:pt x="7224" y="12920"/>
                    <a:pt x="7214" y="12917"/>
                    <a:pt x="7201" y="12913"/>
                  </a:cubicBezTo>
                  <a:cubicBezTo>
                    <a:pt x="7189" y="12910"/>
                    <a:pt x="7176" y="12906"/>
                    <a:pt x="7161" y="12902"/>
                  </a:cubicBezTo>
                  <a:cubicBezTo>
                    <a:pt x="7147" y="12898"/>
                    <a:pt x="7133" y="12894"/>
                    <a:pt x="7119" y="12891"/>
                  </a:cubicBezTo>
                  <a:lnTo>
                    <a:pt x="6866" y="12828"/>
                  </a:lnTo>
                  <a:lnTo>
                    <a:pt x="6842" y="12878"/>
                  </a:lnTo>
                  <a:lnTo>
                    <a:pt x="7278" y="12978"/>
                  </a:lnTo>
                  <a:lnTo>
                    <a:pt x="7308" y="12917"/>
                  </a:lnTo>
                  <a:lnTo>
                    <a:pt x="7111" y="12761"/>
                  </a:lnTo>
                  <a:cubicBezTo>
                    <a:pt x="7099" y="12752"/>
                    <a:pt x="7088" y="12743"/>
                    <a:pt x="7077" y="12735"/>
                  </a:cubicBezTo>
                  <a:cubicBezTo>
                    <a:pt x="7065" y="12726"/>
                    <a:pt x="7055" y="12719"/>
                    <a:pt x="7046" y="12712"/>
                  </a:cubicBezTo>
                  <a:cubicBezTo>
                    <a:pt x="7037" y="12706"/>
                    <a:pt x="7030" y="12700"/>
                    <a:pt x="7024" y="12696"/>
                  </a:cubicBezTo>
                  <a:cubicBezTo>
                    <a:pt x="7018" y="12692"/>
                    <a:pt x="7015" y="12690"/>
                    <a:pt x="7014" y="12689"/>
                  </a:cubicBezTo>
                  <a:cubicBezTo>
                    <a:pt x="7015" y="12689"/>
                    <a:pt x="7020" y="12691"/>
                    <a:pt x="7026" y="12693"/>
                  </a:cubicBezTo>
                  <a:cubicBezTo>
                    <a:pt x="7033" y="12695"/>
                    <a:pt x="7042" y="12697"/>
                    <a:pt x="7052" y="12700"/>
                  </a:cubicBezTo>
                  <a:cubicBezTo>
                    <a:pt x="7063" y="12703"/>
                    <a:pt x="7075" y="12707"/>
                    <a:pt x="7089" y="12711"/>
                  </a:cubicBezTo>
                  <a:cubicBezTo>
                    <a:pt x="7103" y="12714"/>
                    <a:pt x="7118" y="12718"/>
                    <a:pt x="7134" y="12722"/>
                  </a:cubicBezTo>
                  <a:lnTo>
                    <a:pt x="7375" y="12781"/>
                  </a:lnTo>
                  <a:lnTo>
                    <a:pt x="7405" y="12720"/>
                  </a:lnTo>
                  <a:lnTo>
                    <a:pt x="7058" y="12438"/>
                  </a:lnTo>
                  <a:close/>
                  <a:moveTo>
                    <a:pt x="7595" y="12332"/>
                  </a:moveTo>
                  <a:lnTo>
                    <a:pt x="7555" y="12313"/>
                  </a:lnTo>
                  <a:lnTo>
                    <a:pt x="7470" y="12485"/>
                  </a:lnTo>
                  <a:lnTo>
                    <a:pt x="7327" y="12414"/>
                  </a:lnTo>
                  <a:lnTo>
                    <a:pt x="7393" y="12280"/>
                  </a:lnTo>
                  <a:lnTo>
                    <a:pt x="7353" y="12260"/>
                  </a:lnTo>
                  <a:lnTo>
                    <a:pt x="7287" y="12394"/>
                  </a:lnTo>
                  <a:lnTo>
                    <a:pt x="7159" y="12331"/>
                  </a:lnTo>
                  <a:lnTo>
                    <a:pt x="7237" y="12171"/>
                  </a:lnTo>
                  <a:lnTo>
                    <a:pt x="7202" y="12146"/>
                  </a:lnTo>
                  <a:lnTo>
                    <a:pt x="7097" y="12360"/>
                  </a:lnTo>
                  <a:lnTo>
                    <a:pt x="7488" y="12552"/>
                  </a:lnTo>
                  <a:lnTo>
                    <a:pt x="7595" y="12332"/>
                  </a:lnTo>
                  <a:close/>
                  <a:moveTo>
                    <a:pt x="7611" y="11928"/>
                  </a:moveTo>
                  <a:cubicBezTo>
                    <a:pt x="7597" y="11927"/>
                    <a:pt x="7583" y="11928"/>
                    <a:pt x="7570" y="11931"/>
                  </a:cubicBezTo>
                  <a:cubicBezTo>
                    <a:pt x="7557" y="11935"/>
                    <a:pt x="7545" y="11940"/>
                    <a:pt x="7534" y="11948"/>
                  </a:cubicBezTo>
                  <a:cubicBezTo>
                    <a:pt x="7523" y="11955"/>
                    <a:pt x="7511" y="11966"/>
                    <a:pt x="7497" y="11981"/>
                  </a:cubicBezTo>
                  <a:lnTo>
                    <a:pt x="7460" y="12019"/>
                  </a:lnTo>
                  <a:cubicBezTo>
                    <a:pt x="7441" y="12038"/>
                    <a:pt x="7425" y="12051"/>
                    <a:pt x="7410" y="12056"/>
                  </a:cubicBezTo>
                  <a:cubicBezTo>
                    <a:pt x="7396" y="12061"/>
                    <a:pt x="7381" y="12060"/>
                    <a:pt x="7365" y="12052"/>
                  </a:cubicBezTo>
                  <a:cubicBezTo>
                    <a:pt x="7344" y="12042"/>
                    <a:pt x="7332" y="12028"/>
                    <a:pt x="7327" y="12009"/>
                  </a:cubicBezTo>
                  <a:cubicBezTo>
                    <a:pt x="7323" y="11989"/>
                    <a:pt x="7326" y="11967"/>
                    <a:pt x="7339" y="11943"/>
                  </a:cubicBezTo>
                  <a:cubicBezTo>
                    <a:pt x="7343" y="11934"/>
                    <a:pt x="7347" y="11927"/>
                    <a:pt x="7352" y="11920"/>
                  </a:cubicBezTo>
                  <a:cubicBezTo>
                    <a:pt x="7357" y="11913"/>
                    <a:pt x="7362" y="11907"/>
                    <a:pt x="7369" y="11900"/>
                  </a:cubicBezTo>
                  <a:cubicBezTo>
                    <a:pt x="7375" y="11894"/>
                    <a:pt x="7382" y="11888"/>
                    <a:pt x="7390" y="11882"/>
                  </a:cubicBezTo>
                  <a:cubicBezTo>
                    <a:pt x="7398" y="11876"/>
                    <a:pt x="7408" y="11870"/>
                    <a:pt x="7418" y="11864"/>
                  </a:cubicBezTo>
                  <a:lnTo>
                    <a:pt x="7395" y="11827"/>
                  </a:lnTo>
                  <a:cubicBezTo>
                    <a:pt x="7352" y="11852"/>
                    <a:pt x="7320" y="11885"/>
                    <a:pt x="7299" y="11926"/>
                  </a:cubicBezTo>
                  <a:cubicBezTo>
                    <a:pt x="7290" y="11945"/>
                    <a:pt x="7284" y="11964"/>
                    <a:pt x="7282" y="11982"/>
                  </a:cubicBezTo>
                  <a:cubicBezTo>
                    <a:pt x="7280" y="12000"/>
                    <a:pt x="7281" y="12017"/>
                    <a:pt x="7286" y="12033"/>
                  </a:cubicBezTo>
                  <a:cubicBezTo>
                    <a:pt x="7290" y="12049"/>
                    <a:pt x="7298" y="12063"/>
                    <a:pt x="7308" y="12076"/>
                  </a:cubicBezTo>
                  <a:cubicBezTo>
                    <a:pt x="7319" y="12089"/>
                    <a:pt x="7333" y="12100"/>
                    <a:pt x="7349" y="12108"/>
                  </a:cubicBezTo>
                  <a:cubicBezTo>
                    <a:pt x="7374" y="12120"/>
                    <a:pt x="7400" y="12122"/>
                    <a:pt x="7425" y="12115"/>
                  </a:cubicBezTo>
                  <a:cubicBezTo>
                    <a:pt x="7437" y="12111"/>
                    <a:pt x="7448" y="12105"/>
                    <a:pt x="7458" y="12097"/>
                  </a:cubicBezTo>
                  <a:cubicBezTo>
                    <a:pt x="7468" y="12089"/>
                    <a:pt x="7480" y="12078"/>
                    <a:pt x="7494" y="12062"/>
                  </a:cubicBezTo>
                  <a:lnTo>
                    <a:pt x="7525" y="12029"/>
                  </a:lnTo>
                  <a:cubicBezTo>
                    <a:pt x="7563" y="11989"/>
                    <a:pt x="7598" y="11978"/>
                    <a:pt x="7633" y="11995"/>
                  </a:cubicBezTo>
                  <a:cubicBezTo>
                    <a:pt x="7656" y="12006"/>
                    <a:pt x="7670" y="12025"/>
                    <a:pt x="7675" y="12050"/>
                  </a:cubicBezTo>
                  <a:cubicBezTo>
                    <a:pt x="7677" y="12062"/>
                    <a:pt x="7677" y="12073"/>
                    <a:pt x="7675" y="12083"/>
                  </a:cubicBezTo>
                  <a:cubicBezTo>
                    <a:pt x="7673" y="12093"/>
                    <a:pt x="7669" y="12106"/>
                    <a:pt x="7661" y="12121"/>
                  </a:cubicBezTo>
                  <a:cubicBezTo>
                    <a:pt x="7652" y="12140"/>
                    <a:pt x="7640" y="12157"/>
                    <a:pt x="7626" y="12172"/>
                  </a:cubicBezTo>
                  <a:cubicBezTo>
                    <a:pt x="7613" y="12186"/>
                    <a:pt x="7596" y="12198"/>
                    <a:pt x="7576" y="12209"/>
                  </a:cubicBezTo>
                  <a:lnTo>
                    <a:pt x="7603" y="12247"/>
                  </a:lnTo>
                  <a:cubicBezTo>
                    <a:pt x="7624" y="12234"/>
                    <a:pt x="7643" y="12219"/>
                    <a:pt x="7659" y="12201"/>
                  </a:cubicBezTo>
                  <a:cubicBezTo>
                    <a:pt x="7674" y="12184"/>
                    <a:pt x="7688" y="12163"/>
                    <a:pt x="7700" y="12139"/>
                  </a:cubicBezTo>
                  <a:cubicBezTo>
                    <a:pt x="7709" y="12121"/>
                    <a:pt x="7715" y="12104"/>
                    <a:pt x="7718" y="12089"/>
                  </a:cubicBezTo>
                  <a:cubicBezTo>
                    <a:pt x="7720" y="12073"/>
                    <a:pt x="7721" y="12057"/>
                    <a:pt x="7719" y="12040"/>
                  </a:cubicBezTo>
                  <a:cubicBezTo>
                    <a:pt x="7716" y="12017"/>
                    <a:pt x="7709" y="11997"/>
                    <a:pt x="7697" y="11979"/>
                  </a:cubicBezTo>
                  <a:cubicBezTo>
                    <a:pt x="7685" y="11962"/>
                    <a:pt x="7670" y="11948"/>
                    <a:pt x="7652" y="11939"/>
                  </a:cubicBezTo>
                  <a:cubicBezTo>
                    <a:pt x="7639" y="11934"/>
                    <a:pt x="7626" y="11930"/>
                    <a:pt x="7611" y="11928"/>
                  </a:cubicBezTo>
                  <a:close/>
                  <a:moveTo>
                    <a:pt x="7529" y="11481"/>
                  </a:moveTo>
                  <a:lnTo>
                    <a:pt x="7401" y="11740"/>
                  </a:lnTo>
                  <a:lnTo>
                    <a:pt x="7441" y="11760"/>
                  </a:lnTo>
                  <a:lnTo>
                    <a:pt x="7492" y="11655"/>
                  </a:lnTo>
                  <a:lnTo>
                    <a:pt x="7844" y="11828"/>
                  </a:lnTo>
                  <a:lnTo>
                    <a:pt x="7866" y="11783"/>
                  </a:lnTo>
                  <a:lnTo>
                    <a:pt x="7514" y="11610"/>
                  </a:lnTo>
                  <a:lnTo>
                    <a:pt x="7567" y="11504"/>
                  </a:lnTo>
                  <a:lnTo>
                    <a:pt x="7529" y="11481"/>
                  </a:lnTo>
                  <a:close/>
                  <a:moveTo>
                    <a:pt x="7663" y="11209"/>
                  </a:moveTo>
                  <a:lnTo>
                    <a:pt x="7562" y="11414"/>
                  </a:lnTo>
                  <a:lnTo>
                    <a:pt x="7953" y="11607"/>
                  </a:lnTo>
                  <a:lnTo>
                    <a:pt x="7976" y="11559"/>
                  </a:lnTo>
                  <a:lnTo>
                    <a:pt x="7790" y="11468"/>
                  </a:lnTo>
                  <a:lnTo>
                    <a:pt x="7852" y="11343"/>
                  </a:lnTo>
                  <a:lnTo>
                    <a:pt x="7814" y="11324"/>
                  </a:lnTo>
                  <a:lnTo>
                    <a:pt x="7752" y="11449"/>
                  </a:lnTo>
                  <a:lnTo>
                    <a:pt x="7624" y="11386"/>
                  </a:lnTo>
                  <a:lnTo>
                    <a:pt x="7698" y="11235"/>
                  </a:lnTo>
                  <a:lnTo>
                    <a:pt x="7663" y="11209"/>
                  </a:lnTo>
                  <a:close/>
                  <a:moveTo>
                    <a:pt x="8210" y="11083"/>
                  </a:moveTo>
                  <a:lnTo>
                    <a:pt x="7756" y="11020"/>
                  </a:lnTo>
                  <a:lnTo>
                    <a:pt x="7726" y="11081"/>
                  </a:lnTo>
                  <a:lnTo>
                    <a:pt x="8052" y="11404"/>
                  </a:lnTo>
                  <a:lnTo>
                    <a:pt x="8076" y="11357"/>
                  </a:lnTo>
                  <a:lnTo>
                    <a:pt x="7974" y="11260"/>
                  </a:lnTo>
                  <a:lnTo>
                    <a:pt x="8046" y="11114"/>
                  </a:lnTo>
                  <a:lnTo>
                    <a:pt x="8184" y="11136"/>
                  </a:lnTo>
                  <a:lnTo>
                    <a:pt x="8210" y="11083"/>
                  </a:lnTo>
                  <a:close/>
                  <a:moveTo>
                    <a:pt x="8002" y="11107"/>
                  </a:moveTo>
                  <a:lnTo>
                    <a:pt x="7942" y="11229"/>
                  </a:lnTo>
                  <a:lnTo>
                    <a:pt x="7781" y="11073"/>
                  </a:lnTo>
                  <a:lnTo>
                    <a:pt x="8002" y="11107"/>
                  </a:lnTo>
                  <a:close/>
                  <a:moveTo>
                    <a:pt x="7648" y="11051"/>
                  </a:moveTo>
                  <a:cubicBezTo>
                    <a:pt x="7639" y="11054"/>
                    <a:pt x="7633" y="11060"/>
                    <a:pt x="7629" y="11068"/>
                  </a:cubicBezTo>
                  <a:cubicBezTo>
                    <a:pt x="7625" y="11076"/>
                    <a:pt x="7624" y="11085"/>
                    <a:pt x="7627" y="11093"/>
                  </a:cubicBezTo>
                  <a:cubicBezTo>
                    <a:pt x="7630" y="11102"/>
                    <a:pt x="7635" y="11108"/>
                    <a:pt x="7643" y="11112"/>
                  </a:cubicBezTo>
                  <a:cubicBezTo>
                    <a:pt x="7652" y="11116"/>
                    <a:pt x="7660" y="11116"/>
                    <a:pt x="7669" y="11114"/>
                  </a:cubicBezTo>
                  <a:cubicBezTo>
                    <a:pt x="7678" y="11111"/>
                    <a:pt x="7684" y="11105"/>
                    <a:pt x="7688" y="11097"/>
                  </a:cubicBezTo>
                  <a:cubicBezTo>
                    <a:pt x="7692" y="11089"/>
                    <a:pt x="7693" y="11080"/>
                    <a:pt x="7690" y="11072"/>
                  </a:cubicBezTo>
                  <a:cubicBezTo>
                    <a:pt x="7686" y="11063"/>
                    <a:pt x="7681" y="11057"/>
                    <a:pt x="7672" y="11053"/>
                  </a:cubicBezTo>
                  <a:cubicBezTo>
                    <a:pt x="7664" y="11049"/>
                    <a:pt x="7656" y="11049"/>
                    <a:pt x="7648" y="11051"/>
                  </a:cubicBezTo>
                  <a:close/>
                  <a:moveTo>
                    <a:pt x="7705" y="10934"/>
                  </a:moveTo>
                  <a:cubicBezTo>
                    <a:pt x="7697" y="10937"/>
                    <a:pt x="7691" y="10943"/>
                    <a:pt x="7686" y="10951"/>
                  </a:cubicBezTo>
                  <a:cubicBezTo>
                    <a:pt x="7683" y="10959"/>
                    <a:pt x="7682" y="10967"/>
                    <a:pt x="7685" y="10976"/>
                  </a:cubicBezTo>
                  <a:cubicBezTo>
                    <a:pt x="7688" y="10984"/>
                    <a:pt x="7693" y="10990"/>
                    <a:pt x="7701" y="10994"/>
                  </a:cubicBezTo>
                  <a:cubicBezTo>
                    <a:pt x="7710" y="10998"/>
                    <a:pt x="7718" y="10999"/>
                    <a:pt x="7727" y="10996"/>
                  </a:cubicBezTo>
                  <a:cubicBezTo>
                    <a:pt x="7736" y="10993"/>
                    <a:pt x="7742" y="10988"/>
                    <a:pt x="7746" y="10979"/>
                  </a:cubicBezTo>
                  <a:cubicBezTo>
                    <a:pt x="7750" y="10971"/>
                    <a:pt x="7751" y="10963"/>
                    <a:pt x="7747" y="10954"/>
                  </a:cubicBezTo>
                  <a:cubicBezTo>
                    <a:pt x="7744" y="10946"/>
                    <a:pt x="7738" y="10940"/>
                    <a:pt x="7730" y="10936"/>
                  </a:cubicBezTo>
                  <a:cubicBezTo>
                    <a:pt x="7722" y="10932"/>
                    <a:pt x="7714" y="10931"/>
                    <a:pt x="7705" y="10934"/>
                  </a:cubicBezTo>
                  <a:close/>
                  <a:moveTo>
                    <a:pt x="8306" y="10789"/>
                  </a:moveTo>
                  <a:lnTo>
                    <a:pt x="8230" y="10943"/>
                  </a:lnTo>
                  <a:lnTo>
                    <a:pt x="7879" y="10770"/>
                  </a:lnTo>
                  <a:lnTo>
                    <a:pt x="7856" y="10817"/>
                  </a:lnTo>
                  <a:lnTo>
                    <a:pt x="8247" y="11009"/>
                  </a:lnTo>
                  <a:lnTo>
                    <a:pt x="8342" y="10815"/>
                  </a:lnTo>
                  <a:lnTo>
                    <a:pt x="8306" y="10789"/>
                  </a:lnTo>
                  <a:close/>
                  <a:moveTo>
                    <a:pt x="8405" y="10687"/>
                  </a:moveTo>
                  <a:lnTo>
                    <a:pt x="8014" y="10495"/>
                  </a:lnTo>
                  <a:lnTo>
                    <a:pt x="7992" y="10541"/>
                  </a:lnTo>
                  <a:lnTo>
                    <a:pt x="8383" y="10733"/>
                  </a:lnTo>
                  <a:lnTo>
                    <a:pt x="8405" y="10687"/>
                  </a:lnTo>
                  <a:close/>
                  <a:moveTo>
                    <a:pt x="8429" y="10267"/>
                  </a:moveTo>
                  <a:cubicBezTo>
                    <a:pt x="8414" y="10265"/>
                    <a:pt x="8401" y="10266"/>
                    <a:pt x="8388" y="10270"/>
                  </a:cubicBezTo>
                  <a:cubicBezTo>
                    <a:pt x="8375" y="10273"/>
                    <a:pt x="8363" y="10278"/>
                    <a:pt x="8352" y="10286"/>
                  </a:cubicBezTo>
                  <a:cubicBezTo>
                    <a:pt x="8341" y="10293"/>
                    <a:pt x="8328" y="10304"/>
                    <a:pt x="8314" y="10319"/>
                  </a:cubicBezTo>
                  <a:lnTo>
                    <a:pt x="8278" y="10357"/>
                  </a:lnTo>
                  <a:cubicBezTo>
                    <a:pt x="8259" y="10377"/>
                    <a:pt x="8242" y="10389"/>
                    <a:pt x="8228" y="10394"/>
                  </a:cubicBezTo>
                  <a:cubicBezTo>
                    <a:pt x="8213" y="10400"/>
                    <a:pt x="8198" y="10399"/>
                    <a:pt x="8182" y="10391"/>
                  </a:cubicBezTo>
                  <a:cubicBezTo>
                    <a:pt x="8162" y="10381"/>
                    <a:pt x="8150" y="10366"/>
                    <a:pt x="8145" y="10347"/>
                  </a:cubicBezTo>
                  <a:cubicBezTo>
                    <a:pt x="8140" y="10328"/>
                    <a:pt x="8144" y="10306"/>
                    <a:pt x="8156" y="10281"/>
                  </a:cubicBezTo>
                  <a:cubicBezTo>
                    <a:pt x="8160" y="10273"/>
                    <a:pt x="8165" y="10265"/>
                    <a:pt x="8170" y="10258"/>
                  </a:cubicBezTo>
                  <a:cubicBezTo>
                    <a:pt x="8174" y="10251"/>
                    <a:pt x="8180" y="10245"/>
                    <a:pt x="8186" y="10239"/>
                  </a:cubicBezTo>
                  <a:cubicBezTo>
                    <a:pt x="8193" y="10233"/>
                    <a:pt x="8200" y="10227"/>
                    <a:pt x="8208" y="10221"/>
                  </a:cubicBezTo>
                  <a:cubicBezTo>
                    <a:pt x="8216" y="10215"/>
                    <a:pt x="8225" y="10209"/>
                    <a:pt x="8236" y="10202"/>
                  </a:cubicBezTo>
                  <a:lnTo>
                    <a:pt x="8213" y="10165"/>
                  </a:lnTo>
                  <a:cubicBezTo>
                    <a:pt x="8169" y="10190"/>
                    <a:pt x="8137" y="10223"/>
                    <a:pt x="8117" y="10264"/>
                  </a:cubicBezTo>
                  <a:cubicBezTo>
                    <a:pt x="8108" y="10283"/>
                    <a:pt x="8102" y="10302"/>
                    <a:pt x="8100" y="10320"/>
                  </a:cubicBezTo>
                  <a:cubicBezTo>
                    <a:pt x="8098" y="10339"/>
                    <a:pt x="8099" y="10356"/>
                    <a:pt x="8103" y="10372"/>
                  </a:cubicBezTo>
                  <a:cubicBezTo>
                    <a:pt x="8108" y="10387"/>
                    <a:pt x="8115" y="10402"/>
                    <a:pt x="8126" y="10415"/>
                  </a:cubicBezTo>
                  <a:cubicBezTo>
                    <a:pt x="8137" y="10427"/>
                    <a:pt x="8150" y="10438"/>
                    <a:pt x="8167" y="10446"/>
                  </a:cubicBezTo>
                  <a:cubicBezTo>
                    <a:pt x="8192" y="10458"/>
                    <a:pt x="8217" y="10461"/>
                    <a:pt x="8243" y="10453"/>
                  </a:cubicBezTo>
                  <a:cubicBezTo>
                    <a:pt x="8255" y="10449"/>
                    <a:pt x="8265" y="10444"/>
                    <a:pt x="8276" y="10436"/>
                  </a:cubicBezTo>
                  <a:cubicBezTo>
                    <a:pt x="8286" y="10428"/>
                    <a:pt x="8298" y="10416"/>
                    <a:pt x="8312" y="10401"/>
                  </a:cubicBezTo>
                  <a:lnTo>
                    <a:pt x="8343" y="10367"/>
                  </a:lnTo>
                  <a:cubicBezTo>
                    <a:pt x="8380" y="10327"/>
                    <a:pt x="8416" y="10316"/>
                    <a:pt x="8451" y="10333"/>
                  </a:cubicBezTo>
                  <a:cubicBezTo>
                    <a:pt x="8474" y="10344"/>
                    <a:pt x="8488" y="10363"/>
                    <a:pt x="8493" y="10388"/>
                  </a:cubicBezTo>
                  <a:cubicBezTo>
                    <a:pt x="8495" y="10400"/>
                    <a:pt x="8495" y="10411"/>
                    <a:pt x="8493" y="10421"/>
                  </a:cubicBezTo>
                  <a:cubicBezTo>
                    <a:pt x="8491" y="10432"/>
                    <a:pt x="8486" y="10444"/>
                    <a:pt x="8479" y="10459"/>
                  </a:cubicBezTo>
                  <a:cubicBezTo>
                    <a:pt x="8469" y="10479"/>
                    <a:pt x="8458" y="10496"/>
                    <a:pt x="8444" y="10510"/>
                  </a:cubicBezTo>
                  <a:cubicBezTo>
                    <a:pt x="8430" y="10524"/>
                    <a:pt x="8414" y="10537"/>
                    <a:pt x="8394" y="10547"/>
                  </a:cubicBezTo>
                  <a:lnTo>
                    <a:pt x="8420" y="10586"/>
                  </a:lnTo>
                  <a:cubicBezTo>
                    <a:pt x="8442" y="10572"/>
                    <a:pt x="8461" y="10557"/>
                    <a:pt x="8476" y="10539"/>
                  </a:cubicBezTo>
                  <a:cubicBezTo>
                    <a:pt x="8492" y="10522"/>
                    <a:pt x="8506" y="10501"/>
                    <a:pt x="8517" y="10478"/>
                  </a:cubicBezTo>
                  <a:cubicBezTo>
                    <a:pt x="8526" y="10459"/>
                    <a:pt x="8532" y="10443"/>
                    <a:pt x="8535" y="10427"/>
                  </a:cubicBezTo>
                  <a:cubicBezTo>
                    <a:pt x="8538" y="10412"/>
                    <a:pt x="8539" y="10395"/>
                    <a:pt x="8537" y="10378"/>
                  </a:cubicBezTo>
                  <a:cubicBezTo>
                    <a:pt x="8534" y="10355"/>
                    <a:pt x="8527" y="10335"/>
                    <a:pt x="8515" y="10318"/>
                  </a:cubicBezTo>
                  <a:cubicBezTo>
                    <a:pt x="8503" y="10300"/>
                    <a:pt x="8487" y="10287"/>
                    <a:pt x="8469" y="10278"/>
                  </a:cubicBezTo>
                  <a:cubicBezTo>
                    <a:pt x="8457" y="10272"/>
                    <a:pt x="8444" y="10268"/>
                    <a:pt x="8429" y="10267"/>
                  </a:cubicBezTo>
                  <a:close/>
                  <a:moveTo>
                    <a:pt x="8680" y="9984"/>
                  </a:moveTo>
                  <a:cubicBezTo>
                    <a:pt x="8683" y="10001"/>
                    <a:pt x="8683" y="10016"/>
                    <a:pt x="8681" y="10030"/>
                  </a:cubicBezTo>
                  <a:cubicBezTo>
                    <a:pt x="8679" y="10044"/>
                    <a:pt x="8675" y="10058"/>
                    <a:pt x="8668" y="10073"/>
                  </a:cubicBezTo>
                  <a:cubicBezTo>
                    <a:pt x="8657" y="10095"/>
                    <a:pt x="8641" y="10113"/>
                    <a:pt x="8619" y="10126"/>
                  </a:cubicBezTo>
                  <a:cubicBezTo>
                    <a:pt x="8598" y="10139"/>
                    <a:pt x="8573" y="10144"/>
                    <a:pt x="8543" y="10142"/>
                  </a:cubicBezTo>
                  <a:cubicBezTo>
                    <a:pt x="8530" y="10141"/>
                    <a:pt x="8516" y="10138"/>
                    <a:pt x="8503" y="10134"/>
                  </a:cubicBezTo>
                  <a:cubicBezTo>
                    <a:pt x="8490" y="10130"/>
                    <a:pt x="8473" y="10123"/>
                    <a:pt x="8454" y="10114"/>
                  </a:cubicBezTo>
                  <a:cubicBezTo>
                    <a:pt x="8431" y="10102"/>
                    <a:pt x="8412" y="10091"/>
                    <a:pt x="8397" y="10081"/>
                  </a:cubicBezTo>
                  <a:cubicBezTo>
                    <a:pt x="8382" y="10070"/>
                    <a:pt x="8369" y="10058"/>
                    <a:pt x="8359" y="10046"/>
                  </a:cubicBezTo>
                  <a:cubicBezTo>
                    <a:pt x="8341" y="10026"/>
                    <a:pt x="8331" y="10005"/>
                    <a:pt x="8327" y="9983"/>
                  </a:cubicBezTo>
                  <a:cubicBezTo>
                    <a:pt x="8324" y="9962"/>
                    <a:pt x="8328" y="9940"/>
                    <a:pt x="8339" y="9917"/>
                  </a:cubicBezTo>
                  <a:cubicBezTo>
                    <a:pt x="8346" y="9902"/>
                    <a:pt x="8354" y="9890"/>
                    <a:pt x="8364" y="9881"/>
                  </a:cubicBezTo>
                  <a:cubicBezTo>
                    <a:pt x="8373" y="9871"/>
                    <a:pt x="8385" y="9862"/>
                    <a:pt x="8400" y="9855"/>
                  </a:cubicBezTo>
                  <a:lnTo>
                    <a:pt x="8382" y="9815"/>
                  </a:lnTo>
                  <a:cubicBezTo>
                    <a:pt x="8365" y="9823"/>
                    <a:pt x="8350" y="9834"/>
                    <a:pt x="8336" y="9848"/>
                  </a:cubicBezTo>
                  <a:cubicBezTo>
                    <a:pt x="8323" y="9862"/>
                    <a:pt x="8311" y="9879"/>
                    <a:pt x="8302" y="9898"/>
                  </a:cubicBezTo>
                  <a:cubicBezTo>
                    <a:pt x="8290" y="9921"/>
                    <a:pt x="8284" y="9946"/>
                    <a:pt x="8285" y="9971"/>
                  </a:cubicBezTo>
                  <a:cubicBezTo>
                    <a:pt x="8285" y="9996"/>
                    <a:pt x="8290" y="10020"/>
                    <a:pt x="8301" y="10044"/>
                  </a:cubicBezTo>
                  <a:cubicBezTo>
                    <a:pt x="8312" y="10067"/>
                    <a:pt x="8328" y="10089"/>
                    <a:pt x="8348" y="10109"/>
                  </a:cubicBezTo>
                  <a:cubicBezTo>
                    <a:pt x="8369" y="10130"/>
                    <a:pt x="8394" y="10147"/>
                    <a:pt x="8423" y="10161"/>
                  </a:cubicBezTo>
                  <a:cubicBezTo>
                    <a:pt x="8452" y="10175"/>
                    <a:pt x="8481" y="10185"/>
                    <a:pt x="8510" y="10191"/>
                  </a:cubicBezTo>
                  <a:cubicBezTo>
                    <a:pt x="8539" y="10196"/>
                    <a:pt x="8567" y="10195"/>
                    <a:pt x="8594" y="10188"/>
                  </a:cubicBezTo>
                  <a:cubicBezTo>
                    <a:pt x="8619" y="10181"/>
                    <a:pt x="8640" y="10170"/>
                    <a:pt x="8659" y="10154"/>
                  </a:cubicBezTo>
                  <a:cubicBezTo>
                    <a:pt x="8677" y="10139"/>
                    <a:pt x="8692" y="10120"/>
                    <a:pt x="8702" y="10099"/>
                  </a:cubicBezTo>
                  <a:cubicBezTo>
                    <a:pt x="8712" y="10080"/>
                    <a:pt x="8718" y="10059"/>
                    <a:pt x="8722" y="10038"/>
                  </a:cubicBezTo>
                  <a:cubicBezTo>
                    <a:pt x="8726" y="10017"/>
                    <a:pt x="8726" y="9996"/>
                    <a:pt x="8724" y="9975"/>
                  </a:cubicBezTo>
                  <a:lnTo>
                    <a:pt x="8680" y="9984"/>
                  </a:lnTo>
                  <a:close/>
                  <a:moveTo>
                    <a:pt x="8916" y="9649"/>
                  </a:moveTo>
                  <a:lnTo>
                    <a:pt x="8525" y="9457"/>
                  </a:lnTo>
                  <a:lnTo>
                    <a:pt x="8502" y="9503"/>
                  </a:lnTo>
                  <a:lnTo>
                    <a:pt x="8666" y="9584"/>
                  </a:lnTo>
                  <a:lnTo>
                    <a:pt x="8585" y="9748"/>
                  </a:lnTo>
                  <a:lnTo>
                    <a:pt x="8421" y="9668"/>
                  </a:lnTo>
                  <a:lnTo>
                    <a:pt x="8399" y="9714"/>
                  </a:lnTo>
                  <a:lnTo>
                    <a:pt x="8789" y="9906"/>
                  </a:lnTo>
                  <a:lnTo>
                    <a:pt x="8812" y="9860"/>
                  </a:lnTo>
                  <a:lnTo>
                    <a:pt x="8623" y="9767"/>
                  </a:lnTo>
                  <a:lnTo>
                    <a:pt x="8704" y="9603"/>
                  </a:lnTo>
                  <a:lnTo>
                    <a:pt x="8893" y="9696"/>
                  </a:lnTo>
                  <a:lnTo>
                    <a:pt x="8916" y="9649"/>
                  </a:lnTo>
                  <a:close/>
                  <a:moveTo>
                    <a:pt x="5421" y="18254"/>
                  </a:moveTo>
                  <a:lnTo>
                    <a:pt x="5119" y="18105"/>
                  </a:lnTo>
                  <a:lnTo>
                    <a:pt x="5096" y="18151"/>
                  </a:lnTo>
                  <a:lnTo>
                    <a:pt x="5306" y="18254"/>
                  </a:lnTo>
                  <a:lnTo>
                    <a:pt x="5421" y="18254"/>
                  </a:lnTo>
                  <a:close/>
                  <a:moveTo>
                    <a:pt x="9002" y="10906"/>
                  </a:moveTo>
                  <a:lnTo>
                    <a:pt x="9002" y="10850"/>
                  </a:lnTo>
                  <a:lnTo>
                    <a:pt x="8789" y="10745"/>
                  </a:lnTo>
                  <a:lnTo>
                    <a:pt x="8841" y="10639"/>
                  </a:lnTo>
                  <a:lnTo>
                    <a:pt x="8803" y="10617"/>
                  </a:lnTo>
                  <a:lnTo>
                    <a:pt x="8676" y="10876"/>
                  </a:lnTo>
                  <a:lnTo>
                    <a:pt x="8715" y="10895"/>
                  </a:lnTo>
                  <a:lnTo>
                    <a:pt x="8767" y="10790"/>
                  </a:lnTo>
                  <a:lnTo>
                    <a:pt x="9002" y="10906"/>
                  </a:lnTo>
                  <a:close/>
                  <a:moveTo>
                    <a:pt x="9002" y="10631"/>
                  </a:moveTo>
                  <a:lnTo>
                    <a:pt x="9002" y="10573"/>
                  </a:lnTo>
                  <a:lnTo>
                    <a:pt x="8898" y="10522"/>
                  </a:lnTo>
                  <a:lnTo>
                    <a:pt x="8977" y="10361"/>
                  </a:lnTo>
                  <a:lnTo>
                    <a:pt x="8942" y="10336"/>
                  </a:lnTo>
                  <a:lnTo>
                    <a:pt x="8836" y="10550"/>
                  </a:lnTo>
                  <a:lnTo>
                    <a:pt x="9002" y="10631"/>
                  </a:lnTo>
                  <a:close/>
                  <a:moveTo>
                    <a:pt x="5626" y="17962"/>
                  </a:moveTo>
                  <a:lnTo>
                    <a:pt x="5550" y="18117"/>
                  </a:lnTo>
                  <a:lnTo>
                    <a:pt x="5198" y="17944"/>
                  </a:lnTo>
                  <a:lnTo>
                    <a:pt x="5175" y="17991"/>
                  </a:lnTo>
                  <a:lnTo>
                    <a:pt x="5566" y="18183"/>
                  </a:lnTo>
                  <a:lnTo>
                    <a:pt x="5662" y="17988"/>
                  </a:lnTo>
                  <a:lnTo>
                    <a:pt x="5626" y="17962"/>
                  </a:lnTo>
                  <a:close/>
                  <a:moveTo>
                    <a:pt x="5828" y="17650"/>
                  </a:moveTo>
                  <a:lnTo>
                    <a:pt x="5438" y="17457"/>
                  </a:lnTo>
                  <a:lnTo>
                    <a:pt x="5415" y="17504"/>
                  </a:lnTo>
                  <a:lnTo>
                    <a:pt x="5578" y="17584"/>
                  </a:lnTo>
                  <a:lnTo>
                    <a:pt x="5497" y="17749"/>
                  </a:lnTo>
                  <a:lnTo>
                    <a:pt x="5334" y="17669"/>
                  </a:lnTo>
                  <a:lnTo>
                    <a:pt x="5311" y="17714"/>
                  </a:lnTo>
                  <a:lnTo>
                    <a:pt x="5702" y="17906"/>
                  </a:lnTo>
                  <a:lnTo>
                    <a:pt x="5724" y="17861"/>
                  </a:lnTo>
                  <a:lnTo>
                    <a:pt x="5535" y="17768"/>
                  </a:lnTo>
                  <a:lnTo>
                    <a:pt x="5616" y="17603"/>
                  </a:lnTo>
                  <a:lnTo>
                    <a:pt x="5805" y="17696"/>
                  </a:lnTo>
                  <a:lnTo>
                    <a:pt x="5828" y="17650"/>
                  </a:lnTo>
                  <a:close/>
                  <a:moveTo>
                    <a:pt x="5993" y="17316"/>
                  </a:moveTo>
                  <a:lnTo>
                    <a:pt x="5952" y="17296"/>
                  </a:lnTo>
                  <a:lnTo>
                    <a:pt x="5868" y="17468"/>
                  </a:lnTo>
                  <a:lnTo>
                    <a:pt x="5725" y="17398"/>
                  </a:lnTo>
                  <a:lnTo>
                    <a:pt x="5790" y="17264"/>
                  </a:lnTo>
                  <a:lnTo>
                    <a:pt x="5750" y="17244"/>
                  </a:lnTo>
                  <a:lnTo>
                    <a:pt x="5684" y="17378"/>
                  </a:lnTo>
                  <a:lnTo>
                    <a:pt x="5556" y="17315"/>
                  </a:lnTo>
                  <a:lnTo>
                    <a:pt x="5635" y="17154"/>
                  </a:lnTo>
                  <a:lnTo>
                    <a:pt x="5599" y="17129"/>
                  </a:lnTo>
                  <a:lnTo>
                    <a:pt x="5494" y="17343"/>
                  </a:lnTo>
                  <a:lnTo>
                    <a:pt x="5885" y="17535"/>
                  </a:lnTo>
                  <a:lnTo>
                    <a:pt x="5993" y="17316"/>
                  </a:lnTo>
                  <a:close/>
                  <a:moveTo>
                    <a:pt x="6093" y="17013"/>
                  </a:moveTo>
                  <a:lnTo>
                    <a:pt x="6017" y="17167"/>
                  </a:lnTo>
                  <a:lnTo>
                    <a:pt x="5665" y="16994"/>
                  </a:lnTo>
                  <a:lnTo>
                    <a:pt x="5642" y="17041"/>
                  </a:lnTo>
                  <a:lnTo>
                    <a:pt x="6033" y="17233"/>
                  </a:lnTo>
                  <a:lnTo>
                    <a:pt x="6129" y="17038"/>
                  </a:lnTo>
                  <a:lnTo>
                    <a:pt x="6093" y="17013"/>
                  </a:lnTo>
                  <a:close/>
                  <a:moveTo>
                    <a:pt x="6352" y="16585"/>
                  </a:moveTo>
                  <a:lnTo>
                    <a:pt x="5945" y="16427"/>
                  </a:lnTo>
                  <a:lnTo>
                    <a:pt x="5911" y="16496"/>
                  </a:lnTo>
                  <a:lnTo>
                    <a:pt x="6134" y="16697"/>
                  </a:lnTo>
                  <a:cubicBezTo>
                    <a:pt x="6148" y="16709"/>
                    <a:pt x="6160" y="16719"/>
                    <a:pt x="6172" y="16728"/>
                  </a:cubicBezTo>
                  <a:cubicBezTo>
                    <a:pt x="6183" y="16736"/>
                    <a:pt x="6189" y="16741"/>
                    <a:pt x="6191" y="16742"/>
                  </a:cubicBezTo>
                  <a:cubicBezTo>
                    <a:pt x="6189" y="16742"/>
                    <a:pt x="6181" y="16740"/>
                    <a:pt x="6167" y="16736"/>
                  </a:cubicBezTo>
                  <a:cubicBezTo>
                    <a:pt x="6153" y="16732"/>
                    <a:pt x="6136" y="16728"/>
                    <a:pt x="6115" y="16724"/>
                  </a:cubicBezTo>
                  <a:lnTo>
                    <a:pt x="5825" y="16670"/>
                  </a:lnTo>
                  <a:lnTo>
                    <a:pt x="5791" y="16738"/>
                  </a:lnTo>
                  <a:lnTo>
                    <a:pt x="6165" y="16965"/>
                  </a:lnTo>
                  <a:lnTo>
                    <a:pt x="6187" y="16920"/>
                  </a:lnTo>
                  <a:lnTo>
                    <a:pt x="5920" y="16761"/>
                  </a:lnTo>
                  <a:cubicBezTo>
                    <a:pt x="5915" y="16758"/>
                    <a:pt x="5908" y="16754"/>
                    <a:pt x="5901" y="16750"/>
                  </a:cubicBezTo>
                  <a:cubicBezTo>
                    <a:pt x="5893" y="16746"/>
                    <a:pt x="5886" y="16741"/>
                    <a:pt x="5878" y="16737"/>
                  </a:cubicBezTo>
                  <a:cubicBezTo>
                    <a:pt x="5871" y="16733"/>
                    <a:pt x="5864" y="16729"/>
                    <a:pt x="5859" y="16726"/>
                  </a:cubicBezTo>
                  <a:cubicBezTo>
                    <a:pt x="5854" y="16723"/>
                    <a:pt x="5851" y="16722"/>
                    <a:pt x="5849" y="16721"/>
                  </a:cubicBezTo>
                  <a:cubicBezTo>
                    <a:pt x="5854" y="16722"/>
                    <a:pt x="5863" y="16724"/>
                    <a:pt x="5877" y="16727"/>
                  </a:cubicBezTo>
                  <a:cubicBezTo>
                    <a:pt x="5892" y="16730"/>
                    <a:pt x="5910" y="16733"/>
                    <a:pt x="5932" y="16738"/>
                  </a:cubicBezTo>
                  <a:lnTo>
                    <a:pt x="6248" y="16797"/>
                  </a:lnTo>
                  <a:lnTo>
                    <a:pt x="6268" y="16757"/>
                  </a:lnTo>
                  <a:lnTo>
                    <a:pt x="6017" y="16530"/>
                  </a:lnTo>
                  <a:cubicBezTo>
                    <a:pt x="6012" y="16525"/>
                    <a:pt x="6006" y="16520"/>
                    <a:pt x="6000" y="16515"/>
                  </a:cubicBezTo>
                  <a:cubicBezTo>
                    <a:pt x="5995" y="16510"/>
                    <a:pt x="5989" y="16506"/>
                    <a:pt x="5984" y="16501"/>
                  </a:cubicBezTo>
                  <a:cubicBezTo>
                    <a:pt x="5978" y="16497"/>
                    <a:pt x="5974" y="16493"/>
                    <a:pt x="5970" y="16490"/>
                  </a:cubicBezTo>
                  <a:cubicBezTo>
                    <a:pt x="5966" y="16487"/>
                    <a:pt x="5964" y="16485"/>
                    <a:pt x="5964" y="16484"/>
                  </a:cubicBezTo>
                  <a:cubicBezTo>
                    <a:pt x="5965" y="16485"/>
                    <a:pt x="5967" y="16486"/>
                    <a:pt x="5972" y="16488"/>
                  </a:cubicBezTo>
                  <a:cubicBezTo>
                    <a:pt x="5977" y="16490"/>
                    <a:pt x="5982" y="16492"/>
                    <a:pt x="5989" y="16496"/>
                  </a:cubicBezTo>
                  <a:cubicBezTo>
                    <a:pt x="5996" y="16499"/>
                    <a:pt x="6003" y="16502"/>
                    <a:pt x="6010" y="16505"/>
                  </a:cubicBezTo>
                  <a:cubicBezTo>
                    <a:pt x="6018" y="16508"/>
                    <a:pt x="6025" y="16511"/>
                    <a:pt x="6031" y="16514"/>
                  </a:cubicBezTo>
                  <a:lnTo>
                    <a:pt x="6329" y="16632"/>
                  </a:lnTo>
                  <a:lnTo>
                    <a:pt x="6352" y="16585"/>
                  </a:lnTo>
                  <a:close/>
                  <a:moveTo>
                    <a:pt x="6372" y="16174"/>
                  </a:moveTo>
                  <a:cubicBezTo>
                    <a:pt x="6357" y="16172"/>
                    <a:pt x="6343" y="16173"/>
                    <a:pt x="6330" y="16176"/>
                  </a:cubicBezTo>
                  <a:cubicBezTo>
                    <a:pt x="6317" y="16180"/>
                    <a:pt x="6305" y="16185"/>
                    <a:pt x="6294" y="16193"/>
                  </a:cubicBezTo>
                  <a:cubicBezTo>
                    <a:pt x="6283" y="16200"/>
                    <a:pt x="6271" y="16211"/>
                    <a:pt x="6257" y="16226"/>
                  </a:cubicBezTo>
                  <a:lnTo>
                    <a:pt x="6221" y="16264"/>
                  </a:lnTo>
                  <a:cubicBezTo>
                    <a:pt x="6202" y="16284"/>
                    <a:pt x="6185" y="16296"/>
                    <a:pt x="6171" y="16301"/>
                  </a:cubicBezTo>
                  <a:cubicBezTo>
                    <a:pt x="6156" y="16307"/>
                    <a:pt x="6141" y="16306"/>
                    <a:pt x="6125" y="16298"/>
                  </a:cubicBezTo>
                  <a:cubicBezTo>
                    <a:pt x="6105" y="16288"/>
                    <a:pt x="6092" y="16273"/>
                    <a:pt x="6088" y="16254"/>
                  </a:cubicBezTo>
                  <a:cubicBezTo>
                    <a:pt x="6083" y="16235"/>
                    <a:pt x="6087" y="16213"/>
                    <a:pt x="6099" y="16188"/>
                  </a:cubicBezTo>
                  <a:cubicBezTo>
                    <a:pt x="6103" y="16180"/>
                    <a:pt x="6107" y="16172"/>
                    <a:pt x="6112" y="16165"/>
                  </a:cubicBezTo>
                  <a:cubicBezTo>
                    <a:pt x="6117" y="16158"/>
                    <a:pt x="6123" y="16152"/>
                    <a:pt x="6129" y="16146"/>
                  </a:cubicBezTo>
                  <a:cubicBezTo>
                    <a:pt x="6135" y="16140"/>
                    <a:pt x="6142" y="16134"/>
                    <a:pt x="6151" y="16128"/>
                  </a:cubicBezTo>
                  <a:cubicBezTo>
                    <a:pt x="6159" y="16122"/>
                    <a:pt x="6168" y="16116"/>
                    <a:pt x="6179" y="16109"/>
                  </a:cubicBezTo>
                  <a:lnTo>
                    <a:pt x="6155" y="16072"/>
                  </a:lnTo>
                  <a:cubicBezTo>
                    <a:pt x="6112" y="16097"/>
                    <a:pt x="6080" y="16130"/>
                    <a:pt x="6060" y="16171"/>
                  </a:cubicBezTo>
                  <a:cubicBezTo>
                    <a:pt x="6050" y="16190"/>
                    <a:pt x="6045" y="16209"/>
                    <a:pt x="6042" y="16227"/>
                  </a:cubicBezTo>
                  <a:cubicBezTo>
                    <a:pt x="6040" y="16246"/>
                    <a:pt x="6041" y="16263"/>
                    <a:pt x="6046" y="16279"/>
                  </a:cubicBezTo>
                  <a:cubicBezTo>
                    <a:pt x="6050" y="16294"/>
                    <a:pt x="6058" y="16309"/>
                    <a:pt x="6069" y="16322"/>
                  </a:cubicBezTo>
                  <a:cubicBezTo>
                    <a:pt x="6079" y="16334"/>
                    <a:pt x="6093" y="16345"/>
                    <a:pt x="6110" y="16353"/>
                  </a:cubicBezTo>
                  <a:cubicBezTo>
                    <a:pt x="6135" y="16365"/>
                    <a:pt x="6160" y="16368"/>
                    <a:pt x="6186" y="16360"/>
                  </a:cubicBezTo>
                  <a:cubicBezTo>
                    <a:pt x="6197" y="16356"/>
                    <a:pt x="6208" y="16351"/>
                    <a:pt x="6218" y="16342"/>
                  </a:cubicBezTo>
                  <a:cubicBezTo>
                    <a:pt x="6228" y="16334"/>
                    <a:pt x="6240" y="16323"/>
                    <a:pt x="6254" y="16308"/>
                  </a:cubicBezTo>
                  <a:lnTo>
                    <a:pt x="6286" y="16274"/>
                  </a:lnTo>
                  <a:cubicBezTo>
                    <a:pt x="6323" y="16234"/>
                    <a:pt x="6359" y="16223"/>
                    <a:pt x="6393" y="16240"/>
                  </a:cubicBezTo>
                  <a:cubicBezTo>
                    <a:pt x="6416" y="16251"/>
                    <a:pt x="6430" y="16270"/>
                    <a:pt x="6435" y="16295"/>
                  </a:cubicBezTo>
                  <a:cubicBezTo>
                    <a:pt x="6438" y="16307"/>
                    <a:pt x="6438" y="16318"/>
                    <a:pt x="6436" y="16328"/>
                  </a:cubicBezTo>
                  <a:cubicBezTo>
                    <a:pt x="6434" y="16339"/>
                    <a:pt x="6429" y="16351"/>
                    <a:pt x="6422" y="16366"/>
                  </a:cubicBezTo>
                  <a:cubicBezTo>
                    <a:pt x="6412" y="16386"/>
                    <a:pt x="6400" y="16403"/>
                    <a:pt x="6387" y="16417"/>
                  </a:cubicBezTo>
                  <a:cubicBezTo>
                    <a:pt x="6373" y="16431"/>
                    <a:pt x="6356" y="16444"/>
                    <a:pt x="6337" y="16454"/>
                  </a:cubicBezTo>
                  <a:lnTo>
                    <a:pt x="6363" y="16493"/>
                  </a:lnTo>
                  <a:cubicBezTo>
                    <a:pt x="6385" y="16479"/>
                    <a:pt x="6403" y="16464"/>
                    <a:pt x="6419" y="16446"/>
                  </a:cubicBezTo>
                  <a:cubicBezTo>
                    <a:pt x="6435" y="16429"/>
                    <a:pt x="6448" y="16408"/>
                    <a:pt x="6460" y="16385"/>
                  </a:cubicBezTo>
                  <a:cubicBezTo>
                    <a:pt x="6469" y="16366"/>
                    <a:pt x="6475" y="16350"/>
                    <a:pt x="6478" y="16334"/>
                  </a:cubicBezTo>
                  <a:cubicBezTo>
                    <a:pt x="6481" y="16318"/>
                    <a:pt x="6481" y="16302"/>
                    <a:pt x="6479" y="16285"/>
                  </a:cubicBezTo>
                  <a:cubicBezTo>
                    <a:pt x="6477" y="16262"/>
                    <a:pt x="6470" y="16242"/>
                    <a:pt x="6457" y="16225"/>
                  </a:cubicBezTo>
                  <a:cubicBezTo>
                    <a:pt x="6445" y="16207"/>
                    <a:pt x="6430" y="16194"/>
                    <a:pt x="6412" y="16185"/>
                  </a:cubicBezTo>
                  <a:cubicBezTo>
                    <a:pt x="6400" y="16179"/>
                    <a:pt x="6386" y="16175"/>
                    <a:pt x="6372" y="16174"/>
                  </a:cubicBezTo>
                  <a:close/>
                  <a:moveTo>
                    <a:pt x="6486" y="15984"/>
                  </a:moveTo>
                  <a:lnTo>
                    <a:pt x="6443" y="15962"/>
                  </a:lnTo>
                  <a:lnTo>
                    <a:pt x="6389" y="16071"/>
                  </a:lnTo>
                  <a:lnTo>
                    <a:pt x="6433" y="16092"/>
                  </a:lnTo>
                  <a:lnTo>
                    <a:pt x="6486" y="15984"/>
                  </a:lnTo>
                  <a:close/>
                  <a:moveTo>
                    <a:pt x="6403" y="15496"/>
                  </a:moveTo>
                  <a:lnTo>
                    <a:pt x="6380" y="15542"/>
                  </a:lnTo>
                  <a:lnTo>
                    <a:pt x="6652" y="15676"/>
                  </a:lnTo>
                  <a:cubicBezTo>
                    <a:pt x="6665" y="15683"/>
                    <a:pt x="6676" y="15689"/>
                    <a:pt x="6685" y="15696"/>
                  </a:cubicBezTo>
                  <a:cubicBezTo>
                    <a:pt x="6693" y="15702"/>
                    <a:pt x="6700" y="15710"/>
                    <a:pt x="6706" y="15721"/>
                  </a:cubicBezTo>
                  <a:cubicBezTo>
                    <a:pt x="6711" y="15731"/>
                    <a:pt x="6712" y="15743"/>
                    <a:pt x="6711" y="15757"/>
                  </a:cubicBezTo>
                  <a:cubicBezTo>
                    <a:pt x="6709" y="15771"/>
                    <a:pt x="6704" y="15786"/>
                    <a:pt x="6696" y="15802"/>
                  </a:cubicBezTo>
                  <a:cubicBezTo>
                    <a:pt x="6690" y="15814"/>
                    <a:pt x="6684" y="15824"/>
                    <a:pt x="6678" y="15832"/>
                  </a:cubicBezTo>
                  <a:cubicBezTo>
                    <a:pt x="6671" y="15839"/>
                    <a:pt x="6664" y="15845"/>
                    <a:pt x="6657" y="15850"/>
                  </a:cubicBezTo>
                  <a:cubicBezTo>
                    <a:pt x="6651" y="15854"/>
                    <a:pt x="6644" y="15857"/>
                    <a:pt x="6638" y="15858"/>
                  </a:cubicBezTo>
                  <a:cubicBezTo>
                    <a:pt x="6631" y="15859"/>
                    <a:pt x="6626" y="15860"/>
                    <a:pt x="6621" y="15860"/>
                  </a:cubicBezTo>
                  <a:cubicBezTo>
                    <a:pt x="6613" y="15859"/>
                    <a:pt x="6604" y="15857"/>
                    <a:pt x="6593" y="15853"/>
                  </a:cubicBezTo>
                  <a:cubicBezTo>
                    <a:pt x="6581" y="15848"/>
                    <a:pt x="6571" y="15844"/>
                    <a:pt x="6561" y="15839"/>
                  </a:cubicBezTo>
                  <a:lnTo>
                    <a:pt x="6298" y="15709"/>
                  </a:lnTo>
                  <a:lnTo>
                    <a:pt x="6275" y="15755"/>
                  </a:lnTo>
                  <a:lnTo>
                    <a:pt x="6555" y="15893"/>
                  </a:lnTo>
                  <a:cubicBezTo>
                    <a:pt x="6564" y="15898"/>
                    <a:pt x="6574" y="15902"/>
                    <a:pt x="6586" y="15906"/>
                  </a:cubicBezTo>
                  <a:cubicBezTo>
                    <a:pt x="6598" y="15911"/>
                    <a:pt x="6610" y="15913"/>
                    <a:pt x="6622" y="15912"/>
                  </a:cubicBezTo>
                  <a:cubicBezTo>
                    <a:pt x="6646" y="15911"/>
                    <a:pt x="6668" y="15904"/>
                    <a:pt x="6686" y="15890"/>
                  </a:cubicBezTo>
                  <a:cubicBezTo>
                    <a:pt x="6704" y="15876"/>
                    <a:pt x="6720" y="15854"/>
                    <a:pt x="6735" y="15824"/>
                  </a:cubicBezTo>
                  <a:cubicBezTo>
                    <a:pt x="6747" y="15800"/>
                    <a:pt x="6754" y="15779"/>
                    <a:pt x="6757" y="15760"/>
                  </a:cubicBezTo>
                  <a:cubicBezTo>
                    <a:pt x="6760" y="15742"/>
                    <a:pt x="6760" y="15724"/>
                    <a:pt x="6755" y="15707"/>
                  </a:cubicBezTo>
                  <a:cubicBezTo>
                    <a:pt x="6751" y="15690"/>
                    <a:pt x="6744" y="15676"/>
                    <a:pt x="6733" y="15666"/>
                  </a:cubicBezTo>
                  <a:cubicBezTo>
                    <a:pt x="6721" y="15656"/>
                    <a:pt x="6704" y="15645"/>
                    <a:pt x="6681" y="15633"/>
                  </a:cubicBezTo>
                  <a:lnTo>
                    <a:pt x="6403" y="15496"/>
                  </a:lnTo>
                  <a:close/>
                  <a:moveTo>
                    <a:pt x="6977" y="15316"/>
                  </a:moveTo>
                  <a:lnTo>
                    <a:pt x="6586" y="15124"/>
                  </a:lnTo>
                  <a:lnTo>
                    <a:pt x="6563" y="15170"/>
                  </a:lnTo>
                  <a:lnTo>
                    <a:pt x="6776" y="15273"/>
                  </a:lnTo>
                  <a:cubicBezTo>
                    <a:pt x="6791" y="15280"/>
                    <a:pt x="6805" y="15286"/>
                    <a:pt x="6819" y="15293"/>
                  </a:cubicBezTo>
                  <a:cubicBezTo>
                    <a:pt x="6833" y="15299"/>
                    <a:pt x="6846" y="15305"/>
                    <a:pt x="6858" y="15309"/>
                  </a:cubicBezTo>
                  <a:cubicBezTo>
                    <a:pt x="6869" y="15314"/>
                    <a:pt x="6879" y="15318"/>
                    <a:pt x="6886" y="15321"/>
                  </a:cubicBezTo>
                  <a:cubicBezTo>
                    <a:pt x="6894" y="15324"/>
                    <a:pt x="6898" y="15326"/>
                    <a:pt x="6898" y="15326"/>
                  </a:cubicBezTo>
                  <a:cubicBezTo>
                    <a:pt x="6897" y="15326"/>
                    <a:pt x="6893" y="15326"/>
                    <a:pt x="6887" y="15325"/>
                  </a:cubicBezTo>
                  <a:cubicBezTo>
                    <a:pt x="6881" y="15325"/>
                    <a:pt x="6873" y="15324"/>
                    <a:pt x="6864" y="15324"/>
                  </a:cubicBezTo>
                  <a:cubicBezTo>
                    <a:pt x="6855" y="15323"/>
                    <a:pt x="6844" y="15323"/>
                    <a:pt x="6833" y="15322"/>
                  </a:cubicBezTo>
                  <a:cubicBezTo>
                    <a:pt x="6821" y="15322"/>
                    <a:pt x="6810" y="15322"/>
                    <a:pt x="6798" y="15322"/>
                  </a:cubicBezTo>
                  <a:lnTo>
                    <a:pt x="6485" y="15329"/>
                  </a:lnTo>
                  <a:lnTo>
                    <a:pt x="6458" y="15383"/>
                  </a:lnTo>
                  <a:lnTo>
                    <a:pt x="6849" y="15576"/>
                  </a:lnTo>
                  <a:lnTo>
                    <a:pt x="6873" y="15527"/>
                  </a:lnTo>
                  <a:lnTo>
                    <a:pt x="6645" y="15418"/>
                  </a:lnTo>
                  <a:cubicBezTo>
                    <a:pt x="6633" y="15412"/>
                    <a:pt x="6622" y="15407"/>
                    <a:pt x="6610" y="15402"/>
                  </a:cubicBezTo>
                  <a:cubicBezTo>
                    <a:pt x="6599" y="15397"/>
                    <a:pt x="6588" y="15392"/>
                    <a:pt x="6578" y="15388"/>
                  </a:cubicBezTo>
                  <a:cubicBezTo>
                    <a:pt x="6568" y="15384"/>
                    <a:pt x="6559" y="15380"/>
                    <a:pt x="6552" y="15377"/>
                  </a:cubicBezTo>
                  <a:cubicBezTo>
                    <a:pt x="6545" y="15374"/>
                    <a:pt x="6540" y="15372"/>
                    <a:pt x="6536" y="15371"/>
                  </a:cubicBezTo>
                  <a:cubicBezTo>
                    <a:pt x="6540" y="15372"/>
                    <a:pt x="6546" y="15372"/>
                    <a:pt x="6553" y="15372"/>
                  </a:cubicBezTo>
                  <a:cubicBezTo>
                    <a:pt x="6561" y="15373"/>
                    <a:pt x="6569" y="15373"/>
                    <a:pt x="6580" y="15373"/>
                  </a:cubicBezTo>
                  <a:cubicBezTo>
                    <a:pt x="6590" y="15373"/>
                    <a:pt x="6601" y="15373"/>
                    <a:pt x="6613" y="15373"/>
                  </a:cubicBezTo>
                  <a:cubicBezTo>
                    <a:pt x="6625" y="15373"/>
                    <a:pt x="6638" y="15373"/>
                    <a:pt x="6652" y="15373"/>
                  </a:cubicBezTo>
                  <a:lnTo>
                    <a:pt x="6953" y="15365"/>
                  </a:lnTo>
                  <a:lnTo>
                    <a:pt x="6977" y="15316"/>
                  </a:lnTo>
                  <a:close/>
                  <a:moveTo>
                    <a:pt x="7055" y="15156"/>
                  </a:moveTo>
                  <a:lnTo>
                    <a:pt x="6665" y="14964"/>
                  </a:lnTo>
                  <a:lnTo>
                    <a:pt x="6642" y="15009"/>
                  </a:lnTo>
                  <a:lnTo>
                    <a:pt x="7033" y="15202"/>
                  </a:lnTo>
                  <a:lnTo>
                    <a:pt x="7055" y="15156"/>
                  </a:lnTo>
                  <a:close/>
                  <a:moveTo>
                    <a:pt x="6855" y="14576"/>
                  </a:moveTo>
                  <a:lnTo>
                    <a:pt x="6832" y="14624"/>
                  </a:lnTo>
                  <a:lnTo>
                    <a:pt x="7048" y="14835"/>
                  </a:lnTo>
                  <a:cubicBezTo>
                    <a:pt x="7066" y="14852"/>
                    <a:pt x="7081" y="14866"/>
                    <a:pt x="7093" y="14877"/>
                  </a:cubicBezTo>
                  <a:cubicBezTo>
                    <a:pt x="7105" y="14888"/>
                    <a:pt x="7113" y="14895"/>
                    <a:pt x="7118" y="14899"/>
                  </a:cubicBezTo>
                  <a:cubicBezTo>
                    <a:pt x="7115" y="14898"/>
                    <a:pt x="7110" y="14896"/>
                    <a:pt x="7103" y="14895"/>
                  </a:cubicBezTo>
                  <a:cubicBezTo>
                    <a:pt x="7096" y="14893"/>
                    <a:pt x="7088" y="14891"/>
                    <a:pt x="7079" y="14889"/>
                  </a:cubicBezTo>
                  <a:cubicBezTo>
                    <a:pt x="7070" y="14887"/>
                    <a:pt x="7060" y="14885"/>
                    <a:pt x="7050" y="14884"/>
                  </a:cubicBezTo>
                  <a:cubicBezTo>
                    <a:pt x="7039" y="14882"/>
                    <a:pt x="7029" y="14880"/>
                    <a:pt x="7019" y="14879"/>
                  </a:cubicBezTo>
                  <a:lnTo>
                    <a:pt x="6727" y="14837"/>
                  </a:lnTo>
                  <a:lnTo>
                    <a:pt x="6702" y="14888"/>
                  </a:lnTo>
                  <a:lnTo>
                    <a:pt x="7157" y="14949"/>
                  </a:lnTo>
                  <a:lnTo>
                    <a:pt x="7180" y="14903"/>
                  </a:lnTo>
                  <a:lnTo>
                    <a:pt x="6855" y="14576"/>
                  </a:lnTo>
                  <a:close/>
                  <a:moveTo>
                    <a:pt x="7391" y="14474"/>
                  </a:moveTo>
                  <a:lnTo>
                    <a:pt x="7351" y="14454"/>
                  </a:lnTo>
                  <a:lnTo>
                    <a:pt x="7266" y="14626"/>
                  </a:lnTo>
                  <a:lnTo>
                    <a:pt x="7123" y="14556"/>
                  </a:lnTo>
                  <a:lnTo>
                    <a:pt x="7189" y="14422"/>
                  </a:lnTo>
                  <a:lnTo>
                    <a:pt x="7148" y="14402"/>
                  </a:lnTo>
                  <a:lnTo>
                    <a:pt x="7083" y="14536"/>
                  </a:lnTo>
                  <a:lnTo>
                    <a:pt x="6954" y="14473"/>
                  </a:lnTo>
                  <a:lnTo>
                    <a:pt x="7033" y="14312"/>
                  </a:lnTo>
                  <a:lnTo>
                    <a:pt x="6997" y="14287"/>
                  </a:lnTo>
                  <a:lnTo>
                    <a:pt x="6892" y="14501"/>
                  </a:lnTo>
                  <a:lnTo>
                    <a:pt x="7283" y="14693"/>
                  </a:lnTo>
                  <a:lnTo>
                    <a:pt x="7391" y="14474"/>
                  </a:lnTo>
                  <a:close/>
                  <a:moveTo>
                    <a:pt x="7554" y="14143"/>
                  </a:moveTo>
                  <a:lnTo>
                    <a:pt x="7518" y="14147"/>
                  </a:lnTo>
                  <a:cubicBezTo>
                    <a:pt x="7501" y="14150"/>
                    <a:pt x="7483" y="14152"/>
                    <a:pt x="7465" y="14155"/>
                  </a:cubicBezTo>
                  <a:cubicBezTo>
                    <a:pt x="7446" y="14157"/>
                    <a:pt x="7428" y="14160"/>
                    <a:pt x="7412" y="14162"/>
                  </a:cubicBezTo>
                  <a:cubicBezTo>
                    <a:pt x="7395" y="14164"/>
                    <a:pt x="7384" y="14166"/>
                    <a:pt x="7377" y="14167"/>
                  </a:cubicBezTo>
                  <a:cubicBezTo>
                    <a:pt x="7367" y="14169"/>
                    <a:pt x="7356" y="14172"/>
                    <a:pt x="7344" y="14175"/>
                  </a:cubicBezTo>
                  <a:cubicBezTo>
                    <a:pt x="7332" y="14178"/>
                    <a:pt x="7322" y="14181"/>
                    <a:pt x="7314" y="14185"/>
                  </a:cubicBezTo>
                  <a:lnTo>
                    <a:pt x="7317" y="14179"/>
                  </a:lnTo>
                  <a:cubicBezTo>
                    <a:pt x="7324" y="14164"/>
                    <a:pt x="7329" y="14148"/>
                    <a:pt x="7330" y="14133"/>
                  </a:cubicBezTo>
                  <a:cubicBezTo>
                    <a:pt x="7331" y="14118"/>
                    <a:pt x="7329" y="14103"/>
                    <a:pt x="7324" y="14090"/>
                  </a:cubicBezTo>
                  <a:cubicBezTo>
                    <a:pt x="7319" y="14076"/>
                    <a:pt x="7312" y="14063"/>
                    <a:pt x="7301" y="14052"/>
                  </a:cubicBezTo>
                  <a:cubicBezTo>
                    <a:pt x="7290" y="14040"/>
                    <a:pt x="7276" y="14031"/>
                    <a:pt x="7260" y="14023"/>
                  </a:cubicBezTo>
                  <a:cubicBezTo>
                    <a:pt x="7250" y="14018"/>
                    <a:pt x="7240" y="14015"/>
                    <a:pt x="7230" y="14013"/>
                  </a:cubicBezTo>
                  <a:cubicBezTo>
                    <a:pt x="7221" y="14011"/>
                    <a:pt x="7211" y="14010"/>
                    <a:pt x="7203" y="14011"/>
                  </a:cubicBezTo>
                  <a:cubicBezTo>
                    <a:pt x="7194" y="14011"/>
                    <a:pt x="7186" y="14012"/>
                    <a:pt x="7179" y="14014"/>
                  </a:cubicBezTo>
                  <a:cubicBezTo>
                    <a:pt x="7172" y="14016"/>
                    <a:pt x="7165" y="14018"/>
                    <a:pt x="7159" y="14021"/>
                  </a:cubicBezTo>
                  <a:cubicBezTo>
                    <a:pt x="7153" y="14024"/>
                    <a:pt x="7147" y="14028"/>
                    <a:pt x="7141" y="14032"/>
                  </a:cubicBezTo>
                  <a:cubicBezTo>
                    <a:pt x="7135" y="14036"/>
                    <a:pt x="7129" y="14042"/>
                    <a:pt x="7123" y="14049"/>
                  </a:cubicBezTo>
                  <a:cubicBezTo>
                    <a:pt x="7117" y="14055"/>
                    <a:pt x="7111" y="14063"/>
                    <a:pt x="7105" y="14073"/>
                  </a:cubicBezTo>
                  <a:cubicBezTo>
                    <a:pt x="7099" y="14083"/>
                    <a:pt x="7092" y="14094"/>
                    <a:pt x="7086" y="14108"/>
                  </a:cubicBezTo>
                  <a:lnTo>
                    <a:pt x="7041" y="14199"/>
                  </a:lnTo>
                  <a:lnTo>
                    <a:pt x="7432" y="14391"/>
                  </a:lnTo>
                  <a:lnTo>
                    <a:pt x="7454" y="14345"/>
                  </a:lnTo>
                  <a:lnTo>
                    <a:pt x="7278" y="14259"/>
                  </a:lnTo>
                  <a:cubicBezTo>
                    <a:pt x="7283" y="14249"/>
                    <a:pt x="7289" y="14242"/>
                    <a:pt x="7295" y="14237"/>
                  </a:cubicBezTo>
                  <a:cubicBezTo>
                    <a:pt x="7301" y="14233"/>
                    <a:pt x="7311" y="14229"/>
                    <a:pt x="7325" y="14226"/>
                  </a:cubicBezTo>
                  <a:cubicBezTo>
                    <a:pt x="7348" y="14222"/>
                    <a:pt x="7370" y="14218"/>
                    <a:pt x="7390" y="14214"/>
                  </a:cubicBezTo>
                  <a:cubicBezTo>
                    <a:pt x="7411" y="14211"/>
                    <a:pt x="7430" y="14208"/>
                    <a:pt x="7448" y="14206"/>
                  </a:cubicBezTo>
                  <a:cubicBezTo>
                    <a:pt x="7465" y="14204"/>
                    <a:pt x="7480" y="14203"/>
                    <a:pt x="7493" y="14202"/>
                  </a:cubicBezTo>
                  <a:cubicBezTo>
                    <a:pt x="7507" y="14201"/>
                    <a:pt x="7517" y="14201"/>
                    <a:pt x="7525" y="14201"/>
                  </a:cubicBezTo>
                  <a:lnTo>
                    <a:pt x="7554" y="14143"/>
                  </a:lnTo>
                  <a:close/>
                  <a:moveTo>
                    <a:pt x="7268" y="14094"/>
                  </a:moveTo>
                  <a:cubicBezTo>
                    <a:pt x="7276" y="14102"/>
                    <a:pt x="7282" y="14111"/>
                    <a:pt x="7285" y="14121"/>
                  </a:cubicBezTo>
                  <a:cubicBezTo>
                    <a:pt x="7288" y="14131"/>
                    <a:pt x="7288" y="14143"/>
                    <a:pt x="7286" y="14156"/>
                  </a:cubicBezTo>
                  <a:cubicBezTo>
                    <a:pt x="7284" y="14168"/>
                    <a:pt x="7278" y="14184"/>
                    <a:pt x="7270" y="14201"/>
                  </a:cubicBezTo>
                  <a:lnTo>
                    <a:pt x="7248" y="14244"/>
                  </a:lnTo>
                  <a:lnTo>
                    <a:pt x="7103" y="14173"/>
                  </a:lnTo>
                  <a:lnTo>
                    <a:pt x="7126" y="14126"/>
                  </a:lnTo>
                  <a:cubicBezTo>
                    <a:pt x="7131" y="14115"/>
                    <a:pt x="7136" y="14106"/>
                    <a:pt x="7141" y="14099"/>
                  </a:cubicBezTo>
                  <a:cubicBezTo>
                    <a:pt x="7146" y="14092"/>
                    <a:pt x="7152" y="14086"/>
                    <a:pt x="7158" y="14081"/>
                  </a:cubicBezTo>
                  <a:cubicBezTo>
                    <a:pt x="7168" y="14072"/>
                    <a:pt x="7180" y="14067"/>
                    <a:pt x="7195" y="14065"/>
                  </a:cubicBezTo>
                  <a:cubicBezTo>
                    <a:pt x="7209" y="14063"/>
                    <a:pt x="7223" y="14065"/>
                    <a:pt x="7236" y="14072"/>
                  </a:cubicBezTo>
                  <a:cubicBezTo>
                    <a:pt x="7249" y="14078"/>
                    <a:pt x="7259" y="14085"/>
                    <a:pt x="7268" y="14094"/>
                  </a:cubicBezTo>
                  <a:close/>
                  <a:moveTo>
                    <a:pt x="7565" y="13749"/>
                  </a:moveTo>
                  <a:cubicBezTo>
                    <a:pt x="7550" y="13747"/>
                    <a:pt x="7537" y="13748"/>
                    <a:pt x="7523" y="13752"/>
                  </a:cubicBezTo>
                  <a:cubicBezTo>
                    <a:pt x="7510" y="13755"/>
                    <a:pt x="7498" y="13761"/>
                    <a:pt x="7488" y="13768"/>
                  </a:cubicBezTo>
                  <a:cubicBezTo>
                    <a:pt x="7477" y="13775"/>
                    <a:pt x="7464" y="13786"/>
                    <a:pt x="7450" y="13801"/>
                  </a:cubicBezTo>
                  <a:lnTo>
                    <a:pt x="7414" y="13839"/>
                  </a:lnTo>
                  <a:cubicBezTo>
                    <a:pt x="7395" y="13859"/>
                    <a:pt x="7378" y="13871"/>
                    <a:pt x="7364" y="13876"/>
                  </a:cubicBezTo>
                  <a:cubicBezTo>
                    <a:pt x="7349" y="13882"/>
                    <a:pt x="7334" y="13881"/>
                    <a:pt x="7318" y="13873"/>
                  </a:cubicBezTo>
                  <a:cubicBezTo>
                    <a:pt x="7298" y="13863"/>
                    <a:pt x="7286" y="13848"/>
                    <a:pt x="7281" y="13829"/>
                  </a:cubicBezTo>
                  <a:cubicBezTo>
                    <a:pt x="7276" y="13810"/>
                    <a:pt x="7280" y="13788"/>
                    <a:pt x="7292" y="13763"/>
                  </a:cubicBezTo>
                  <a:cubicBezTo>
                    <a:pt x="7296" y="13755"/>
                    <a:pt x="7301" y="13747"/>
                    <a:pt x="7305" y="13740"/>
                  </a:cubicBezTo>
                  <a:cubicBezTo>
                    <a:pt x="7310" y="13733"/>
                    <a:pt x="7316" y="13727"/>
                    <a:pt x="7322" y="13721"/>
                  </a:cubicBezTo>
                  <a:cubicBezTo>
                    <a:pt x="7328" y="13715"/>
                    <a:pt x="7336" y="13709"/>
                    <a:pt x="7344" y="13703"/>
                  </a:cubicBezTo>
                  <a:cubicBezTo>
                    <a:pt x="7352" y="13697"/>
                    <a:pt x="7361" y="13691"/>
                    <a:pt x="7372" y="13684"/>
                  </a:cubicBezTo>
                  <a:lnTo>
                    <a:pt x="7348" y="13647"/>
                  </a:lnTo>
                  <a:cubicBezTo>
                    <a:pt x="7305" y="13672"/>
                    <a:pt x="7273" y="13705"/>
                    <a:pt x="7253" y="13747"/>
                  </a:cubicBezTo>
                  <a:cubicBezTo>
                    <a:pt x="7243" y="13766"/>
                    <a:pt x="7238" y="13784"/>
                    <a:pt x="7236" y="13802"/>
                  </a:cubicBezTo>
                  <a:cubicBezTo>
                    <a:pt x="7233" y="13821"/>
                    <a:pt x="7235" y="13838"/>
                    <a:pt x="7239" y="13854"/>
                  </a:cubicBezTo>
                  <a:cubicBezTo>
                    <a:pt x="7243" y="13870"/>
                    <a:pt x="7251" y="13884"/>
                    <a:pt x="7262" y="13897"/>
                  </a:cubicBezTo>
                  <a:cubicBezTo>
                    <a:pt x="7272" y="13910"/>
                    <a:pt x="7286" y="13920"/>
                    <a:pt x="7303" y="13928"/>
                  </a:cubicBezTo>
                  <a:cubicBezTo>
                    <a:pt x="7328" y="13941"/>
                    <a:pt x="7353" y="13943"/>
                    <a:pt x="7379" y="13935"/>
                  </a:cubicBezTo>
                  <a:cubicBezTo>
                    <a:pt x="7390" y="13931"/>
                    <a:pt x="7401" y="13926"/>
                    <a:pt x="7411" y="13918"/>
                  </a:cubicBezTo>
                  <a:cubicBezTo>
                    <a:pt x="7421" y="13910"/>
                    <a:pt x="7434" y="13898"/>
                    <a:pt x="7448" y="13883"/>
                  </a:cubicBezTo>
                  <a:lnTo>
                    <a:pt x="7479" y="13849"/>
                  </a:lnTo>
                  <a:cubicBezTo>
                    <a:pt x="7516" y="13810"/>
                    <a:pt x="7552" y="13798"/>
                    <a:pt x="7586" y="13815"/>
                  </a:cubicBezTo>
                  <a:cubicBezTo>
                    <a:pt x="7610" y="13827"/>
                    <a:pt x="7624" y="13845"/>
                    <a:pt x="7628" y="13871"/>
                  </a:cubicBezTo>
                  <a:cubicBezTo>
                    <a:pt x="7631" y="13882"/>
                    <a:pt x="7631" y="13893"/>
                    <a:pt x="7629" y="13903"/>
                  </a:cubicBezTo>
                  <a:cubicBezTo>
                    <a:pt x="7627" y="13914"/>
                    <a:pt x="7622" y="13926"/>
                    <a:pt x="7615" y="13941"/>
                  </a:cubicBezTo>
                  <a:cubicBezTo>
                    <a:pt x="7605" y="13961"/>
                    <a:pt x="7594" y="13978"/>
                    <a:pt x="7580" y="13992"/>
                  </a:cubicBezTo>
                  <a:cubicBezTo>
                    <a:pt x="7566" y="14006"/>
                    <a:pt x="7550" y="14019"/>
                    <a:pt x="7530" y="14029"/>
                  </a:cubicBezTo>
                  <a:lnTo>
                    <a:pt x="7556" y="14068"/>
                  </a:lnTo>
                  <a:cubicBezTo>
                    <a:pt x="7578" y="14054"/>
                    <a:pt x="7597" y="14039"/>
                    <a:pt x="7612" y="14021"/>
                  </a:cubicBezTo>
                  <a:cubicBezTo>
                    <a:pt x="7628" y="14004"/>
                    <a:pt x="7642" y="13983"/>
                    <a:pt x="7653" y="13960"/>
                  </a:cubicBezTo>
                  <a:cubicBezTo>
                    <a:pt x="7662" y="13942"/>
                    <a:pt x="7668" y="13925"/>
                    <a:pt x="7671" y="13909"/>
                  </a:cubicBezTo>
                  <a:cubicBezTo>
                    <a:pt x="7674" y="13894"/>
                    <a:pt x="7674" y="13877"/>
                    <a:pt x="7672" y="13860"/>
                  </a:cubicBezTo>
                  <a:cubicBezTo>
                    <a:pt x="7670" y="13837"/>
                    <a:pt x="7663" y="13817"/>
                    <a:pt x="7651" y="13800"/>
                  </a:cubicBezTo>
                  <a:cubicBezTo>
                    <a:pt x="7638" y="13782"/>
                    <a:pt x="7623" y="13769"/>
                    <a:pt x="7605" y="13760"/>
                  </a:cubicBezTo>
                  <a:cubicBezTo>
                    <a:pt x="7593" y="13754"/>
                    <a:pt x="7580" y="13750"/>
                    <a:pt x="7565" y="13749"/>
                  </a:cubicBezTo>
                  <a:close/>
                  <a:moveTo>
                    <a:pt x="7783" y="13678"/>
                  </a:moveTo>
                  <a:lnTo>
                    <a:pt x="7392" y="13486"/>
                  </a:lnTo>
                  <a:lnTo>
                    <a:pt x="7369" y="13532"/>
                  </a:lnTo>
                  <a:lnTo>
                    <a:pt x="7760" y="13724"/>
                  </a:lnTo>
                  <a:lnTo>
                    <a:pt x="7783" y="13678"/>
                  </a:lnTo>
                  <a:close/>
                  <a:moveTo>
                    <a:pt x="7558" y="13149"/>
                  </a:moveTo>
                  <a:lnTo>
                    <a:pt x="7430" y="13407"/>
                  </a:lnTo>
                  <a:lnTo>
                    <a:pt x="7470" y="13427"/>
                  </a:lnTo>
                  <a:lnTo>
                    <a:pt x="7521" y="13322"/>
                  </a:lnTo>
                  <a:lnTo>
                    <a:pt x="7873" y="13495"/>
                  </a:lnTo>
                  <a:lnTo>
                    <a:pt x="7895" y="13450"/>
                  </a:lnTo>
                  <a:lnTo>
                    <a:pt x="7543" y="13277"/>
                  </a:lnTo>
                  <a:lnTo>
                    <a:pt x="7595" y="13171"/>
                  </a:lnTo>
                  <a:lnTo>
                    <a:pt x="7558" y="13149"/>
                  </a:lnTo>
                  <a:close/>
                  <a:moveTo>
                    <a:pt x="8100" y="13032"/>
                  </a:moveTo>
                  <a:lnTo>
                    <a:pt x="7646" y="12969"/>
                  </a:lnTo>
                  <a:lnTo>
                    <a:pt x="7616" y="13030"/>
                  </a:lnTo>
                  <a:lnTo>
                    <a:pt x="7943" y="13353"/>
                  </a:lnTo>
                  <a:lnTo>
                    <a:pt x="7966" y="13306"/>
                  </a:lnTo>
                  <a:lnTo>
                    <a:pt x="7864" y="13209"/>
                  </a:lnTo>
                  <a:lnTo>
                    <a:pt x="7936" y="13063"/>
                  </a:lnTo>
                  <a:lnTo>
                    <a:pt x="8074" y="13085"/>
                  </a:lnTo>
                  <a:lnTo>
                    <a:pt x="8100" y="13032"/>
                  </a:lnTo>
                  <a:close/>
                  <a:moveTo>
                    <a:pt x="7892" y="13056"/>
                  </a:moveTo>
                  <a:lnTo>
                    <a:pt x="7832" y="13178"/>
                  </a:lnTo>
                  <a:lnTo>
                    <a:pt x="7671" y="13022"/>
                  </a:lnTo>
                  <a:lnTo>
                    <a:pt x="7892" y="13056"/>
                  </a:lnTo>
                  <a:close/>
                  <a:moveTo>
                    <a:pt x="7538" y="13000"/>
                  </a:moveTo>
                  <a:cubicBezTo>
                    <a:pt x="7529" y="13003"/>
                    <a:pt x="7523" y="13009"/>
                    <a:pt x="7519" y="13017"/>
                  </a:cubicBezTo>
                  <a:cubicBezTo>
                    <a:pt x="7515" y="13025"/>
                    <a:pt x="7515" y="13033"/>
                    <a:pt x="7517" y="13042"/>
                  </a:cubicBezTo>
                  <a:cubicBezTo>
                    <a:pt x="7520" y="13050"/>
                    <a:pt x="7526" y="13057"/>
                    <a:pt x="7534" y="13060"/>
                  </a:cubicBezTo>
                  <a:cubicBezTo>
                    <a:pt x="7542" y="13065"/>
                    <a:pt x="7551" y="13065"/>
                    <a:pt x="7559" y="13062"/>
                  </a:cubicBezTo>
                  <a:cubicBezTo>
                    <a:pt x="7568" y="13060"/>
                    <a:pt x="7574" y="13054"/>
                    <a:pt x="7579" y="13046"/>
                  </a:cubicBezTo>
                  <a:cubicBezTo>
                    <a:pt x="7583" y="13037"/>
                    <a:pt x="7583" y="13029"/>
                    <a:pt x="7580" y="13021"/>
                  </a:cubicBezTo>
                  <a:cubicBezTo>
                    <a:pt x="7577" y="13012"/>
                    <a:pt x="7571" y="13006"/>
                    <a:pt x="7563" y="13002"/>
                  </a:cubicBezTo>
                  <a:cubicBezTo>
                    <a:pt x="7555" y="12998"/>
                    <a:pt x="7546" y="12997"/>
                    <a:pt x="7538" y="13000"/>
                  </a:cubicBezTo>
                  <a:close/>
                  <a:moveTo>
                    <a:pt x="7596" y="12883"/>
                  </a:moveTo>
                  <a:cubicBezTo>
                    <a:pt x="7587" y="12886"/>
                    <a:pt x="7581" y="12891"/>
                    <a:pt x="7577" y="12900"/>
                  </a:cubicBezTo>
                  <a:cubicBezTo>
                    <a:pt x="7573" y="12908"/>
                    <a:pt x="7572" y="12916"/>
                    <a:pt x="7575" y="12924"/>
                  </a:cubicBezTo>
                  <a:cubicBezTo>
                    <a:pt x="7578" y="12933"/>
                    <a:pt x="7584" y="12939"/>
                    <a:pt x="7592" y="12943"/>
                  </a:cubicBezTo>
                  <a:cubicBezTo>
                    <a:pt x="7600" y="12947"/>
                    <a:pt x="7608" y="12948"/>
                    <a:pt x="7617" y="12945"/>
                  </a:cubicBezTo>
                  <a:cubicBezTo>
                    <a:pt x="7626" y="12942"/>
                    <a:pt x="7632" y="12937"/>
                    <a:pt x="7636" y="12928"/>
                  </a:cubicBezTo>
                  <a:cubicBezTo>
                    <a:pt x="7640" y="12920"/>
                    <a:pt x="7641" y="12912"/>
                    <a:pt x="7638" y="12903"/>
                  </a:cubicBezTo>
                  <a:cubicBezTo>
                    <a:pt x="7635" y="12895"/>
                    <a:pt x="7629" y="12889"/>
                    <a:pt x="7620" y="12884"/>
                  </a:cubicBezTo>
                  <a:cubicBezTo>
                    <a:pt x="7612" y="12880"/>
                    <a:pt x="7604" y="12880"/>
                    <a:pt x="7596" y="12883"/>
                  </a:cubicBezTo>
                  <a:close/>
                  <a:moveTo>
                    <a:pt x="7837" y="12580"/>
                  </a:moveTo>
                  <a:lnTo>
                    <a:pt x="7710" y="12839"/>
                  </a:lnTo>
                  <a:lnTo>
                    <a:pt x="7750" y="12858"/>
                  </a:lnTo>
                  <a:lnTo>
                    <a:pt x="7801" y="12753"/>
                  </a:lnTo>
                  <a:lnTo>
                    <a:pt x="8153" y="12926"/>
                  </a:lnTo>
                  <a:lnTo>
                    <a:pt x="8175" y="12881"/>
                  </a:lnTo>
                  <a:lnTo>
                    <a:pt x="7823" y="12708"/>
                  </a:lnTo>
                  <a:lnTo>
                    <a:pt x="7875" y="12602"/>
                  </a:lnTo>
                  <a:lnTo>
                    <a:pt x="7837" y="12580"/>
                  </a:lnTo>
                  <a:close/>
                  <a:moveTo>
                    <a:pt x="8503" y="12213"/>
                  </a:moveTo>
                  <a:lnTo>
                    <a:pt x="8096" y="12055"/>
                  </a:lnTo>
                  <a:lnTo>
                    <a:pt x="8062" y="12124"/>
                  </a:lnTo>
                  <a:lnTo>
                    <a:pt x="8286" y="12325"/>
                  </a:lnTo>
                  <a:cubicBezTo>
                    <a:pt x="8299" y="12337"/>
                    <a:pt x="8312" y="12347"/>
                    <a:pt x="8323" y="12356"/>
                  </a:cubicBezTo>
                  <a:cubicBezTo>
                    <a:pt x="8334" y="12364"/>
                    <a:pt x="8341" y="12369"/>
                    <a:pt x="8342" y="12370"/>
                  </a:cubicBezTo>
                  <a:cubicBezTo>
                    <a:pt x="8340" y="12370"/>
                    <a:pt x="8332" y="12368"/>
                    <a:pt x="8318" y="12364"/>
                  </a:cubicBezTo>
                  <a:cubicBezTo>
                    <a:pt x="8304" y="12360"/>
                    <a:pt x="8287" y="12356"/>
                    <a:pt x="8267" y="12352"/>
                  </a:cubicBezTo>
                  <a:lnTo>
                    <a:pt x="7976" y="12298"/>
                  </a:lnTo>
                  <a:lnTo>
                    <a:pt x="7943" y="12366"/>
                  </a:lnTo>
                  <a:lnTo>
                    <a:pt x="8317" y="12593"/>
                  </a:lnTo>
                  <a:lnTo>
                    <a:pt x="8339" y="12548"/>
                  </a:lnTo>
                  <a:lnTo>
                    <a:pt x="8071" y="12389"/>
                  </a:lnTo>
                  <a:cubicBezTo>
                    <a:pt x="8066" y="12386"/>
                    <a:pt x="8059" y="12382"/>
                    <a:pt x="8052" y="12378"/>
                  </a:cubicBezTo>
                  <a:cubicBezTo>
                    <a:pt x="8044" y="12374"/>
                    <a:pt x="8037" y="12369"/>
                    <a:pt x="8030" y="12365"/>
                  </a:cubicBezTo>
                  <a:cubicBezTo>
                    <a:pt x="8022" y="12361"/>
                    <a:pt x="8016" y="12357"/>
                    <a:pt x="8010" y="12354"/>
                  </a:cubicBezTo>
                  <a:cubicBezTo>
                    <a:pt x="8005" y="12351"/>
                    <a:pt x="8002" y="12350"/>
                    <a:pt x="8001" y="12349"/>
                  </a:cubicBezTo>
                  <a:cubicBezTo>
                    <a:pt x="8005" y="12350"/>
                    <a:pt x="8014" y="12352"/>
                    <a:pt x="8028" y="12355"/>
                  </a:cubicBezTo>
                  <a:cubicBezTo>
                    <a:pt x="8043" y="12358"/>
                    <a:pt x="8062" y="12361"/>
                    <a:pt x="8084" y="12366"/>
                  </a:cubicBezTo>
                  <a:lnTo>
                    <a:pt x="8399" y="12425"/>
                  </a:lnTo>
                  <a:lnTo>
                    <a:pt x="8419" y="12385"/>
                  </a:lnTo>
                  <a:lnTo>
                    <a:pt x="8168" y="12158"/>
                  </a:lnTo>
                  <a:cubicBezTo>
                    <a:pt x="8163" y="12153"/>
                    <a:pt x="8158" y="12148"/>
                    <a:pt x="8152" y="12143"/>
                  </a:cubicBezTo>
                  <a:cubicBezTo>
                    <a:pt x="8146" y="12138"/>
                    <a:pt x="8140" y="12134"/>
                    <a:pt x="8135" y="12129"/>
                  </a:cubicBezTo>
                  <a:cubicBezTo>
                    <a:pt x="8130" y="12125"/>
                    <a:pt x="8125" y="12121"/>
                    <a:pt x="8122" y="12118"/>
                  </a:cubicBezTo>
                  <a:cubicBezTo>
                    <a:pt x="8118" y="12115"/>
                    <a:pt x="8116" y="12113"/>
                    <a:pt x="8115" y="12112"/>
                  </a:cubicBezTo>
                  <a:cubicBezTo>
                    <a:pt x="8116" y="12112"/>
                    <a:pt x="8119" y="12114"/>
                    <a:pt x="8123" y="12116"/>
                  </a:cubicBezTo>
                  <a:cubicBezTo>
                    <a:pt x="8128" y="12118"/>
                    <a:pt x="8134" y="12120"/>
                    <a:pt x="8140" y="12123"/>
                  </a:cubicBezTo>
                  <a:cubicBezTo>
                    <a:pt x="8147" y="12127"/>
                    <a:pt x="8154" y="12130"/>
                    <a:pt x="8162" y="12133"/>
                  </a:cubicBezTo>
                  <a:cubicBezTo>
                    <a:pt x="8169" y="12136"/>
                    <a:pt x="8176" y="12139"/>
                    <a:pt x="8183" y="12142"/>
                  </a:cubicBezTo>
                  <a:lnTo>
                    <a:pt x="8480" y="12260"/>
                  </a:lnTo>
                  <a:lnTo>
                    <a:pt x="8503" y="12213"/>
                  </a:lnTo>
                  <a:close/>
                  <a:moveTo>
                    <a:pt x="8288" y="11665"/>
                  </a:moveTo>
                  <a:lnTo>
                    <a:pt x="8265" y="11711"/>
                  </a:lnTo>
                  <a:lnTo>
                    <a:pt x="8537" y="11845"/>
                  </a:lnTo>
                  <a:cubicBezTo>
                    <a:pt x="8551" y="11851"/>
                    <a:pt x="8562" y="11858"/>
                    <a:pt x="8570" y="11864"/>
                  </a:cubicBezTo>
                  <a:cubicBezTo>
                    <a:pt x="8579" y="11870"/>
                    <a:pt x="8586" y="11879"/>
                    <a:pt x="8591" y="11890"/>
                  </a:cubicBezTo>
                  <a:cubicBezTo>
                    <a:pt x="8596" y="11900"/>
                    <a:pt x="8598" y="11912"/>
                    <a:pt x="8596" y="11925"/>
                  </a:cubicBezTo>
                  <a:cubicBezTo>
                    <a:pt x="8595" y="11939"/>
                    <a:pt x="8590" y="11954"/>
                    <a:pt x="8582" y="11971"/>
                  </a:cubicBezTo>
                  <a:cubicBezTo>
                    <a:pt x="8576" y="11983"/>
                    <a:pt x="8569" y="11993"/>
                    <a:pt x="8563" y="12000"/>
                  </a:cubicBezTo>
                  <a:cubicBezTo>
                    <a:pt x="8556" y="12008"/>
                    <a:pt x="8550" y="12014"/>
                    <a:pt x="8543" y="12018"/>
                  </a:cubicBezTo>
                  <a:cubicBezTo>
                    <a:pt x="8536" y="12022"/>
                    <a:pt x="8529" y="12025"/>
                    <a:pt x="8523" y="12026"/>
                  </a:cubicBezTo>
                  <a:cubicBezTo>
                    <a:pt x="8517" y="12028"/>
                    <a:pt x="8511" y="12028"/>
                    <a:pt x="8506" y="12028"/>
                  </a:cubicBezTo>
                  <a:cubicBezTo>
                    <a:pt x="8499" y="12028"/>
                    <a:pt x="8489" y="12026"/>
                    <a:pt x="8478" y="12021"/>
                  </a:cubicBezTo>
                  <a:cubicBezTo>
                    <a:pt x="8467" y="12017"/>
                    <a:pt x="8456" y="12012"/>
                    <a:pt x="8446" y="12007"/>
                  </a:cubicBezTo>
                  <a:lnTo>
                    <a:pt x="8183" y="11878"/>
                  </a:lnTo>
                  <a:lnTo>
                    <a:pt x="8160" y="11924"/>
                  </a:lnTo>
                  <a:lnTo>
                    <a:pt x="8441" y="12062"/>
                  </a:lnTo>
                  <a:cubicBezTo>
                    <a:pt x="8449" y="12066"/>
                    <a:pt x="8460" y="12071"/>
                    <a:pt x="8471" y="12075"/>
                  </a:cubicBezTo>
                  <a:cubicBezTo>
                    <a:pt x="8483" y="12079"/>
                    <a:pt x="8495" y="12081"/>
                    <a:pt x="8507" y="12081"/>
                  </a:cubicBezTo>
                  <a:cubicBezTo>
                    <a:pt x="8532" y="12079"/>
                    <a:pt x="8553" y="12072"/>
                    <a:pt x="8571" y="12059"/>
                  </a:cubicBezTo>
                  <a:cubicBezTo>
                    <a:pt x="8589" y="12045"/>
                    <a:pt x="8605" y="12023"/>
                    <a:pt x="8620" y="11993"/>
                  </a:cubicBezTo>
                  <a:cubicBezTo>
                    <a:pt x="8632" y="11969"/>
                    <a:pt x="8640" y="11947"/>
                    <a:pt x="8643" y="11929"/>
                  </a:cubicBezTo>
                  <a:cubicBezTo>
                    <a:pt x="8646" y="11910"/>
                    <a:pt x="8645" y="11892"/>
                    <a:pt x="8641" y="11875"/>
                  </a:cubicBezTo>
                  <a:cubicBezTo>
                    <a:pt x="8637" y="11859"/>
                    <a:pt x="8629" y="11845"/>
                    <a:pt x="8618" y="11835"/>
                  </a:cubicBezTo>
                  <a:cubicBezTo>
                    <a:pt x="8607" y="11824"/>
                    <a:pt x="8589" y="11813"/>
                    <a:pt x="8566" y="11802"/>
                  </a:cubicBezTo>
                  <a:lnTo>
                    <a:pt x="8288" y="11665"/>
                  </a:lnTo>
                  <a:close/>
                  <a:moveTo>
                    <a:pt x="8131" y="11796"/>
                  </a:moveTo>
                  <a:cubicBezTo>
                    <a:pt x="8122" y="11798"/>
                    <a:pt x="8116" y="11804"/>
                    <a:pt x="8112" y="11812"/>
                  </a:cubicBezTo>
                  <a:cubicBezTo>
                    <a:pt x="8108" y="11820"/>
                    <a:pt x="8107" y="11829"/>
                    <a:pt x="8110" y="11837"/>
                  </a:cubicBezTo>
                  <a:cubicBezTo>
                    <a:pt x="8113" y="11846"/>
                    <a:pt x="8119" y="11852"/>
                    <a:pt x="8127" y="11856"/>
                  </a:cubicBezTo>
                  <a:cubicBezTo>
                    <a:pt x="8135" y="11860"/>
                    <a:pt x="8143" y="11861"/>
                    <a:pt x="8152" y="11858"/>
                  </a:cubicBezTo>
                  <a:cubicBezTo>
                    <a:pt x="8161" y="11855"/>
                    <a:pt x="8167" y="11849"/>
                    <a:pt x="8171" y="11841"/>
                  </a:cubicBezTo>
                  <a:cubicBezTo>
                    <a:pt x="8175" y="11833"/>
                    <a:pt x="8176" y="11824"/>
                    <a:pt x="8173" y="11816"/>
                  </a:cubicBezTo>
                  <a:cubicBezTo>
                    <a:pt x="8170" y="11807"/>
                    <a:pt x="8164" y="11801"/>
                    <a:pt x="8155" y="11797"/>
                  </a:cubicBezTo>
                  <a:cubicBezTo>
                    <a:pt x="8147" y="11793"/>
                    <a:pt x="8139" y="11793"/>
                    <a:pt x="8131" y="11796"/>
                  </a:cubicBezTo>
                  <a:close/>
                  <a:moveTo>
                    <a:pt x="8188" y="11679"/>
                  </a:moveTo>
                  <a:cubicBezTo>
                    <a:pt x="8180" y="11682"/>
                    <a:pt x="8173" y="11687"/>
                    <a:pt x="8169" y="11696"/>
                  </a:cubicBezTo>
                  <a:cubicBezTo>
                    <a:pt x="8165" y="11704"/>
                    <a:pt x="8165" y="11712"/>
                    <a:pt x="8168" y="11720"/>
                  </a:cubicBezTo>
                  <a:cubicBezTo>
                    <a:pt x="8171" y="11729"/>
                    <a:pt x="8176" y="11735"/>
                    <a:pt x="8184" y="11739"/>
                  </a:cubicBezTo>
                  <a:cubicBezTo>
                    <a:pt x="8192" y="11743"/>
                    <a:pt x="8201" y="11744"/>
                    <a:pt x="8210" y="11741"/>
                  </a:cubicBezTo>
                  <a:cubicBezTo>
                    <a:pt x="8218" y="11738"/>
                    <a:pt x="8225" y="11733"/>
                    <a:pt x="8229" y="11724"/>
                  </a:cubicBezTo>
                  <a:cubicBezTo>
                    <a:pt x="8233" y="11716"/>
                    <a:pt x="8233" y="11707"/>
                    <a:pt x="8230" y="11699"/>
                  </a:cubicBezTo>
                  <a:cubicBezTo>
                    <a:pt x="8227" y="11691"/>
                    <a:pt x="8221" y="11684"/>
                    <a:pt x="8213" y="11680"/>
                  </a:cubicBezTo>
                  <a:cubicBezTo>
                    <a:pt x="8205" y="11676"/>
                    <a:pt x="8197" y="11676"/>
                    <a:pt x="8188" y="11679"/>
                  </a:cubicBezTo>
                  <a:close/>
                  <a:moveTo>
                    <a:pt x="8862" y="11485"/>
                  </a:moveTo>
                  <a:lnTo>
                    <a:pt x="8471" y="11292"/>
                  </a:lnTo>
                  <a:lnTo>
                    <a:pt x="8448" y="11338"/>
                  </a:lnTo>
                  <a:lnTo>
                    <a:pt x="8662" y="11441"/>
                  </a:lnTo>
                  <a:cubicBezTo>
                    <a:pt x="8676" y="11448"/>
                    <a:pt x="8690" y="11455"/>
                    <a:pt x="8704" y="11461"/>
                  </a:cubicBezTo>
                  <a:cubicBezTo>
                    <a:pt x="8719" y="11467"/>
                    <a:pt x="8732" y="11473"/>
                    <a:pt x="8743" y="11478"/>
                  </a:cubicBezTo>
                  <a:cubicBezTo>
                    <a:pt x="8755" y="11483"/>
                    <a:pt x="8764" y="11487"/>
                    <a:pt x="8772" y="11490"/>
                  </a:cubicBezTo>
                  <a:cubicBezTo>
                    <a:pt x="8779" y="11493"/>
                    <a:pt x="8783" y="11495"/>
                    <a:pt x="8783" y="11495"/>
                  </a:cubicBezTo>
                  <a:cubicBezTo>
                    <a:pt x="8782" y="11495"/>
                    <a:pt x="8778" y="11494"/>
                    <a:pt x="8772" y="11494"/>
                  </a:cubicBezTo>
                  <a:cubicBezTo>
                    <a:pt x="8766" y="11493"/>
                    <a:pt x="8758" y="11493"/>
                    <a:pt x="8749" y="11492"/>
                  </a:cubicBezTo>
                  <a:cubicBezTo>
                    <a:pt x="8740" y="11492"/>
                    <a:pt x="8730" y="11491"/>
                    <a:pt x="8718" y="11491"/>
                  </a:cubicBezTo>
                  <a:cubicBezTo>
                    <a:pt x="8706" y="11490"/>
                    <a:pt x="8695" y="11490"/>
                    <a:pt x="8683" y="11491"/>
                  </a:cubicBezTo>
                  <a:lnTo>
                    <a:pt x="8370" y="11498"/>
                  </a:lnTo>
                  <a:lnTo>
                    <a:pt x="8343" y="11552"/>
                  </a:lnTo>
                  <a:lnTo>
                    <a:pt x="8734" y="11744"/>
                  </a:lnTo>
                  <a:lnTo>
                    <a:pt x="8758" y="11696"/>
                  </a:lnTo>
                  <a:lnTo>
                    <a:pt x="8530" y="11587"/>
                  </a:lnTo>
                  <a:cubicBezTo>
                    <a:pt x="8519" y="11581"/>
                    <a:pt x="8507" y="11576"/>
                    <a:pt x="8495" y="11571"/>
                  </a:cubicBezTo>
                  <a:cubicBezTo>
                    <a:pt x="8484" y="11566"/>
                    <a:pt x="8473" y="11561"/>
                    <a:pt x="8463" y="11557"/>
                  </a:cubicBezTo>
                  <a:cubicBezTo>
                    <a:pt x="8453" y="11553"/>
                    <a:pt x="8444" y="11549"/>
                    <a:pt x="8437" y="11546"/>
                  </a:cubicBezTo>
                  <a:cubicBezTo>
                    <a:pt x="8430" y="11543"/>
                    <a:pt x="8425" y="11541"/>
                    <a:pt x="8422" y="11540"/>
                  </a:cubicBezTo>
                  <a:cubicBezTo>
                    <a:pt x="8426" y="11540"/>
                    <a:pt x="8431" y="11541"/>
                    <a:pt x="8439" y="11541"/>
                  </a:cubicBezTo>
                  <a:cubicBezTo>
                    <a:pt x="8446" y="11541"/>
                    <a:pt x="8455" y="11541"/>
                    <a:pt x="8465" y="11541"/>
                  </a:cubicBezTo>
                  <a:cubicBezTo>
                    <a:pt x="8475" y="11541"/>
                    <a:pt x="8486" y="11542"/>
                    <a:pt x="8498" y="11542"/>
                  </a:cubicBezTo>
                  <a:cubicBezTo>
                    <a:pt x="8511" y="11542"/>
                    <a:pt x="8523" y="11542"/>
                    <a:pt x="8537" y="11541"/>
                  </a:cubicBezTo>
                  <a:lnTo>
                    <a:pt x="8838" y="11534"/>
                  </a:lnTo>
                  <a:lnTo>
                    <a:pt x="8862" y="11485"/>
                  </a:lnTo>
                  <a:close/>
                  <a:moveTo>
                    <a:pt x="8886" y="11064"/>
                  </a:moveTo>
                  <a:cubicBezTo>
                    <a:pt x="8872" y="11062"/>
                    <a:pt x="8858" y="11063"/>
                    <a:pt x="8845" y="11067"/>
                  </a:cubicBezTo>
                  <a:cubicBezTo>
                    <a:pt x="8832" y="11070"/>
                    <a:pt x="8820" y="11076"/>
                    <a:pt x="8809" y="11083"/>
                  </a:cubicBezTo>
                  <a:cubicBezTo>
                    <a:pt x="8798" y="11090"/>
                    <a:pt x="8785" y="11101"/>
                    <a:pt x="8771" y="11116"/>
                  </a:cubicBezTo>
                  <a:lnTo>
                    <a:pt x="8735" y="11154"/>
                  </a:lnTo>
                  <a:cubicBezTo>
                    <a:pt x="8716" y="11174"/>
                    <a:pt x="8699" y="11186"/>
                    <a:pt x="8685" y="11192"/>
                  </a:cubicBezTo>
                  <a:cubicBezTo>
                    <a:pt x="8670" y="11197"/>
                    <a:pt x="8655" y="11196"/>
                    <a:pt x="8639" y="11188"/>
                  </a:cubicBezTo>
                  <a:cubicBezTo>
                    <a:pt x="8619" y="11178"/>
                    <a:pt x="8607" y="11163"/>
                    <a:pt x="8602" y="11144"/>
                  </a:cubicBezTo>
                  <a:cubicBezTo>
                    <a:pt x="8597" y="11125"/>
                    <a:pt x="8601" y="11103"/>
                    <a:pt x="8613" y="11078"/>
                  </a:cubicBezTo>
                  <a:cubicBezTo>
                    <a:pt x="8617" y="11070"/>
                    <a:pt x="8622" y="11062"/>
                    <a:pt x="8627" y="11055"/>
                  </a:cubicBezTo>
                  <a:cubicBezTo>
                    <a:pt x="8631" y="11048"/>
                    <a:pt x="8637" y="11042"/>
                    <a:pt x="8643" y="11036"/>
                  </a:cubicBezTo>
                  <a:cubicBezTo>
                    <a:pt x="8650" y="11030"/>
                    <a:pt x="8657" y="11024"/>
                    <a:pt x="8665" y="11018"/>
                  </a:cubicBezTo>
                  <a:cubicBezTo>
                    <a:pt x="8673" y="11012"/>
                    <a:pt x="8682" y="11006"/>
                    <a:pt x="8693" y="10999"/>
                  </a:cubicBezTo>
                  <a:lnTo>
                    <a:pt x="8670" y="10962"/>
                  </a:lnTo>
                  <a:cubicBezTo>
                    <a:pt x="8626" y="10987"/>
                    <a:pt x="8594" y="11020"/>
                    <a:pt x="8574" y="11062"/>
                  </a:cubicBezTo>
                  <a:cubicBezTo>
                    <a:pt x="8565" y="11081"/>
                    <a:pt x="8559" y="11099"/>
                    <a:pt x="8557" y="11117"/>
                  </a:cubicBezTo>
                  <a:cubicBezTo>
                    <a:pt x="8555" y="11136"/>
                    <a:pt x="8556" y="11153"/>
                    <a:pt x="8560" y="11169"/>
                  </a:cubicBezTo>
                  <a:cubicBezTo>
                    <a:pt x="8565" y="11185"/>
                    <a:pt x="8572" y="11199"/>
                    <a:pt x="8583" y="11212"/>
                  </a:cubicBezTo>
                  <a:cubicBezTo>
                    <a:pt x="8594" y="11225"/>
                    <a:pt x="8607" y="11235"/>
                    <a:pt x="8624" y="11243"/>
                  </a:cubicBezTo>
                  <a:cubicBezTo>
                    <a:pt x="8649" y="11256"/>
                    <a:pt x="8674" y="11258"/>
                    <a:pt x="8700" y="11250"/>
                  </a:cubicBezTo>
                  <a:cubicBezTo>
                    <a:pt x="8712" y="11247"/>
                    <a:pt x="8722" y="11241"/>
                    <a:pt x="8733" y="11233"/>
                  </a:cubicBezTo>
                  <a:cubicBezTo>
                    <a:pt x="8743" y="11225"/>
                    <a:pt x="8755" y="11213"/>
                    <a:pt x="8769" y="11198"/>
                  </a:cubicBezTo>
                  <a:lnTo>
                    <a:pt x="8800" y="11164"/>
                  </a:lnTo>
                  <a:cubicBezTo>
                    <a:pt x="8837" y="11125"/>
                    <a:pt x="8873" y="11113"/>
                    <a:pt x="8908" y="11130"/>
                  </a:cubicBezTo>
                  <a:cubicBezTo>
                    <a:pt x="8931" y="11142"/>
                    <a:pt x="8945" y="11160"/>
                    <a:pt x="8950" y="11186"/>
                  </a:cubicBezTo>
                  <a:cubicBezTo>
                    <a:pt x="8952" y="11197"/>
                    <a:pt x="8952" y="11208"/>
                    <a:pt x="8950" y="11218"/>
                  </a:cubicBezTo>
                  <a:cubicBezTo>
                    <a:pt x="8948" y="11229"/>
                    <a:pt x="8943" y="11241"/>
                    <a:pt x="8936" y="11256"/>
                  </a:cubicBezTo>
                  <a:cubicBezTo>
                    <a:pt x="8926" y="11276"/>
                    <a:pt x="8915" y="11293"/>
                    <a:pt x="8901" y="11307"/>
                  </a:cubicBezTo>
                  <a:cubicBezTo>
                    <a:pt x="8888" y="11321"/>
                    <a:pt x="8871" y="11334"/>
                    <a:pt x="8851" y="11344"/>
                  </a:cubicBezTo>
                  <a:lnTo>
                    <a:pt x="8877" y="11383"/>
                  </a:lnTo>
                  <a:cubicBezTo>
                    <a:pt x="8899" y="11369"/>
                    <a:pt x="8918" y="11354"/>
                    <a:pt x="8933" y="11336"/>
                  </a:cubicBezTo>
                  <a:cubicBezTo>
                    <a:pt x="8949" y="11319"/>
                    <a:pt x="8963" y="11298"/>
                    <a:pt x="8974" y="11275"/>
                  </a:cubicBezTo>
                  <a:cubicBezTo>
                    <a:pt x="8983" y="11257"/>
                    <a:pt x="8989" y="11240"/>
                    <a:pt x="8992" y="11224"/>
                  </a:cubicBezTo>
                  <a:cubicBezTo>
                    <a:pt x="8995" y="11209"/>
                    <a:pt x="8996" y="11192"/>
                    <a:pt x="8994" y="11175"/>
                  </a:cubicBezTo>
                  <a:cubicBezTo>
                    <a:pt x="8991" y="11152"/>
                    <a:pt x="8984" y="11132"/>
                    <a:pt x="8972" y="11115"/>
                  </a:cubicBezTo>
                  <a:cubicBezTo>
                    <a:pt x="8960" y="11097"/>
                    <a:pt x="8944" y="11084"/>
                    <a:pt x="8926" y="11075"/>
                  </a:cubicBezTo>
                  <a:cubicBezTo>
                    <a:pt x="8914" y="11069"/>
                    <a:pt x="8901" y="11065"/>
                    <a:pt x="8886" y="11064"/>
                  </a:cubicBezTo>
                  <a:close/>
                  <a:moveTo>
                    <a:pt x="6440" y="18132"/>
                  </a:moveTo>
                  <a:lnTo>
                    <a:pt x="6404" y="18137"/>
                  </a:lnTo>
                  <a:cubicBezTo>
                    <a:pt x="6387" y="18139"/>
                    <a:pt x="6370" y="18141"/>
                    <a:pt x="6351" y="18144"/>
                  </a:cubicBezTo>
                  <a:cubicBezTo>
                    <a:pt x="6332" y="18147"/>
                    <a:pt x="6315" y="18149"/>
                    <a:pt x="6298" y="18151"/>
                  </a:cubicBezTo>
                  <a:cubicBezTo>
                    <a:pt x="6282" y="18154"/>
                    <a:pt x="6270" y="18155"/>
                    <a:pt x="6263" y="18157"/>
                  </a:cubicBezTo>
                  <a:cubicBezTo>
                    <a:pt x="6253" y="18159"/>
                    <a:pt x="6242" y="18161"/>
                    <a:pt x="6231" y="18164"/>
                  </a:cubicBezTo>
                  <a:cubicBezTo>
                    <a:pt x="6219" y="18167"/>
                    <a:pt x="6208" y="18171"/>
                    <a:pt x="6200" y="18175"/>
                  </a:cubicBezTo>
                  <a:lnTo>
                    <a:pt x="6203" y="18169"/>
                  </a:lnTo>
                  <a:cubicBezTo>
                    <a:pt x="6210" y="18153"/>
                    <a:pt x="6215" y="18138"/>
                    <a:pt x="6216" y="18123"/>
                  </a:cubicBezTo>
                  <a:cubicBezTo>
                    <a:pt x="6217" y="18107"/>
                    <a:pt x="6215" y="18093"/>
                    <a:pt x="6210" y="18079"/>
                  </a:cubicBezTo>
                  <a:cubicBezTo>
                    <a:pt x="6206" y="18065"/>
                    <a:pt x="6198" y="18053"/>
                    <a:pt x="6187" y="18041"/>
                  </a:cubicBezTo>
                  <a:cubicBezTo>
                    <a:pt x="6176" y="18030"/>
                    <a:pt x="6163" y="18020"/>
                    <a:pt x="6147" y="18012"/>
                  </a:cubicBezTo>
                  <a:cubicBezTo>
                    <a:pt x="6136" y="18007"/>
                    <a:pt x="6126" y="18004"/>
                    <a:pt x="6117" y="18002"/>
                  </a:cubicBezTo>
                  <a:cubicBezTo>
                    <a:pt x="6107" y="18001"/>
                    <a:pt x="6098" y="18000"/>
                    <a:pt x="6089" y="18000"/>
                  </a:cubicBezTo>
                  <a:cubicBezTo>
                    <a:pt x="6080" y="18000"/>
                    <a:pt x="6072" y="18001"/>
                    <a:pt x="6065" y="18003"/>
                  </a:cubicBezTo>
                  <a:cubicBezTo>
                    <a:pt x="6058" y="18005"/>
                    <a:pt x="6051" y="18008"/>
                    <a:pt x="6046" y="18011"/>
                  </a:cubicBezTo>
                  <a:cubicBezTo>
                    <a:pt x="6039" y="18013"/>
                    <a:pt x="6034" y="18017"/>
                    <a:pt x="6028" y="18021"/>
                  </a:cubicBezTo>
                  <a:cubicBezTo>
                    <a:pt x="6022" y="18026"/>
                    <a:pt x="6016" y="18031"/>
                    <a:pt x="6010" y="18038"/>
                  </a:cubicBezTo>
                  <a:cubicBezTo>
                    <a:pt x="6003" y="18045"/>
                    <a:pt x="5997" y="18053"/>
                    <a:pt x="5991" y="18063"/>
                  </a:cubicBezTo>
                  <a:cubicBezTo>
                    <a:pt x="5985" y="18072"/>
                    <a:pt x="5978" y="18084"/>
                    <a:pt x="5972" y="18097"/>
                  </a:cubicBezTo>
                  <a:lnTo>
                    <a:pt x="5927" y="18188"/>
                  </a:lnTo>
                  <a:lnTo>
                    <a:pt x="6061" y="18254"/>
                  </a:lnTo>
                  <a:lnTo>
                    <a:pt x="6176" y="18254"/>
                  </a:lnTo>
                  <a:lnTo>
                    <a:pt x="6164" y="18248"/>
                  </a:lnTo>
                  <a:cubicBezTo>
                    <a:pt x="6169" y="18238"/>
                    <a:pt x="6175" y="18231"/>
                    <a:pt x="6181" y="18227"/>
                  </a:cubicBezTo>
                  <a:cubicBezTo>
                    <a:pt x="6187" y="18222"/>
                    <a:pt x="6197" y="18219"/>
                    <a:pt x="6211" y="18216"/>
                  </a:cubicBezTo>
                  <a:cubicBezTo>
                    <a:pt x="6234" y="18211"/>
                    <a:pt x="6256" y="18207"/>
                    <a:pt x="6277" y="18204"/>
                  </a:cubicBezTo>
                  <a:cubicBezTo>
                    <a:pt x="6297" y="18200"/>
                    <a:pt x="6316" y="18197"/>
                    <a:pt x="6334" y="18195"/>
                  </a:cubicBezTo>
                  <a:cubicBezTo>
                    <a:pt x="6351" y="18193"/>
                    <a:pt x="6366" y="18192"/>
                    <a:pt x="6380" y="18191"/>
                  </a:cubicBezTo>
                  <a:cubicBezTo>
                    <a:pt x="6393" y="18191"/>
                    <a:pt x="6403" y="18191"/>
                    <a:pt x="6411" y="18191"/>
                  </a:cubicBezTo>
                  <a:lnTo>
                    <a:pt x="6440" y="18132"/>
                  </a:lnTo>
                  <a:close/>
                  <a:moveTo>
                    <a:pt x="9002" y="12831"/>
                  </a:moveTo>
                  <a:lnTo>
                    <a:pt x="9002" y="12772"/>
                  </a:lnTo>
                  <a:lnTo>
                    <a:pt x="8835" y="12692"/>
                  </a:lnTo>
                  <a:cubicBezTo>
                    <a:pt x="8824" y="12686"/>
                    <a:pt x="8813" y="12681"/>
                    <a:pt x="8801" y="12676"/>
                  </a:cubicBezTo>
                  <a:cubicBezTo>
                    <a:pt x="8789" y="12671"/>
                    <a:pt x="8778" y="12666"/>
                    <a:pt x="8768" y="12662"/>
                  </a:cubicBezTo>
                  <a:cubicBezTo>
                    <a:pt x="8758" y="12658"/>
                    <a:pt x="8750" y="12654"/>
                    <a:pt x="8742" y="12651"/>
                  </a:cubicBezTo>
                  <a:cubicBezTo>
                    <a:pt x="8735" y="12648"/>
                    <a:pt x="8730" y="12646"/>
                    <a:pt x="8727" y="12645"/>
                  </a:cubicBezTo>
                  <a:cubicBezTo>
                    <a:pt x="8731" y="12645"/>
                    <a:pt x="8737" y="12646"/>
                    <a:pt x="8744" y="12646"/>
                  </a:cubicBezTo>
                  <a:cubicBezTo>
                    <a:pt x="8751" y="12647"/>
                    <a:pt x="8760" y="12647"/>
                    <a:pt x="8770" y="12647"/>
                  </a:cubicBezTo>
                  <a:cubicBezTo>
                    <a:pt x="8780" y="12647"/>
                    <a:pt x="8792" y="12647"/>
                    <a:pt x="8804" y="12647"/>
                  </a:cubicBezTo>
                  <a:cubicBezTo>
                    <a:pt x="8816" y="12647"/>
                    <a:pt x="8829" y="12647"/>
                    <a:pt x="8842" y="12646"/>
                  </a:cubicBezTo>
                  <a:lnTo>
                    <a:pt x="9002" y="12642"/>
                  </a:lnTo>
                  <a:lnTo>
                    <a:pt x="9002" y="12596"/>
                  </a:lnTo>
                  <a:cubicBezTo>
                    <a:pt x="8998" y="12596"/>
                    <a:pt x="8993" y="12596"/>
                    <a:pt x="8989" y="12596"/>
                  </a:cubicBezTo>
                  <a:lnTo>
                    <a:pt x="8675" y="12603"/>
                  </a:lnTo>
                  <a:lnTo>
                    <a:pt x="8649" y="12657"/>
                  </a:lnTo>
                  <a:lnTo>
                    <a:pt x="9002" y="12831"/>
                  </a:lnTo>
                  <a:close/>
                  <a:moveTo>
                    <a:pt x="9002" y="12563"/>
                  </a:moveTo>
                  <a:lnTo>
                    <a:pt x="9002" y="12508"/>
                  </a:lnTo>
                  <a:lnTo>
                    <a:pt x="8776" y="12398"/>
                  </a:lnTo>
                  <a:lnTo>
                    <a:pt x="8754" y="12444"/>
                  </a:lnTo>
                  <a:lnTo>
                    <a:pt x="8967" y="12547"/>
                  </a:lnTo>
                  <a:cubicBezTo>
                    <a:pt x="8979" y="12552"/>
                    <a:pt x="8990" y="12558"/>
                    <a:pt x="9002" y="12563"/>
                  </a:cubicBezTo>
                  <a:close/>
                  <a:moveTo>
                    <a:pt x="9002" y="12356"/>
                  </a:moveTo>
                  <a:lnTo>
                    <a:pt x="9002" y="12291"/>
                  </a:lnTo>
                  <a:cubicBezTo>
                    <a:pt x="8998" y="12294"/>
                    <a:pt x="8994" y="12295"/>
                    <a:pt x="8990" y="12297"/>
                  </a:cubicBezTo>
                  <a:cubicBezTo>
                    <a:pt x="8976" y="12302"/>
                    <a:pt x="8961" y="12301"/>
                    <a:pt x="8945" y="12293"/>
                  </a:cubicBezTo>
                  <a:cubicBezTo>
                    <a:pt x="8925" y="12283"/>
                    <a:pt x="8912" y="12269"/>
                    <a:pt x="8907" y="12249"/>
                  </a:cubicBezTo>
                  <a:cubicBezTo>
                    <a:pt x="8903" y="12230"/>
                    <a:pt x="8906" y="12208"/>
                    <a:pt x="8919" y="12183"/>
                  </a:cubicBezTo>
                  <a:cubicBezTo>
                    <a:pt x="8923" y="12175"/>
                    <a:pt x="8927" y="12167"/>
                    <a:pt x="8932" y="12161"/>
                  </a:cubicBezTo>
                  <a:cubicBezTo>
                    <a:pt x="8937" y="12154"/>
                    <a:pt x="8942" y="12147"/>
                    <a:pt x="8949" y="12141"/>
                  </a:cubicBezTo>
                  <a:cubicBezTo>
                    <a:pt x="8955" y="12135"/>
                    <a:pt x="8962" y="12129"/>
                    <a:pt x="8970" y="12123"/>
                  </a:cubicBezTo>
                  <a:cubicBezTo>
                    <a:pt x="8978" y="12117"/>
                    <a:pt x="8988" y="12111"/>
                    <a:pt x="8999" y="12104"/>
                  </a:cubicBezTo>
                  <a:lnTo>
                    <a:pt x="8975" y="12067"/>
                  </a:lnTo>
                  <a:cubicBezTo>
                    <a:pt x="8932" y="12092"/>
                    <a:pt x="8900" y="12125"/>
                    <a:pt x="8879" y="12167"/>
                  </a:cubicBezTo>
                  <a:cubicBezTo>
                    <a:pt x="8870" y="12186"/>
                    <a:pt x="8864" y="12205"/>
                    <a:pt x="8862" y="12223"/>
                  </a:cubicBezTo>
                  <a:cubicBezTo>
                    <a:pt x="8860" y="12241"/>
                    <a:pt x="8861" y="12258"/>
                    <a:pt x="8866" y="12274"/>
                  </a:cubicBezTo>
                  <a:cubicBezTo>
                    <a:pt x="8870" y="12290"/>
                    <a:pt x="8878" y="12304"/>
                    <a:pt x="8888" y="12317"/>
                  </a:cubicBezTo>
                  <a:cubicBezTo>
                    <a:pt x="8899" y="12330"/>
                    <a:pt x="8913" y="12340"/>
                    <a:pt x="8929" y="12349"/>
                  </a:cubicBezTo>
                  <a:cubicBezTo>
                    <a:pt x="8953" y="12360"/>
                    <a:pt x="8978" y="12363"/>
                    <a:pt x="9002" y="12356"/>
                  </a:cubicBezTo>
                  <a:close/>
                  <a:moveTo>
                    <a:pt x="6154" y="18083"/>
                  </a:moveTo>
                  <a:cubicBezTo>
                    <a:pt x="6162" y="18092"/>
                    <a:pt x="6168" y="18101"/>
                    <a:pt x="6171" y="18110"/>
                  </a:cubicBezTo>
                  <a:cubicBezTo>
                    <a:pt x="6174" y="18121"/>
                    <a:pt x="6174" y="18133"/>
                    <a:pt x="6172" y="18145"/>
                  </a:cubicBezTo>
                  <a:cubicBezTo>
                    <a:pt x="6170" y="18158"/>
                    <a:pt x="6165" y="18173"/>
                    <a:pt x="6156" y="18190"/>
                  </a:cubicBezTo>
                  <a:lnTo>
                    <a:pt x="6135" y="18234"/>
                  </a:lnTo>
                  <a:lnTo>
                    <a:pt x="5989" y="18162"/>
                  </a:lnTo>
                  <a:lnTo>
                    <a:pt x="6012" y="18115"/>
                  </a:lnTo>
                  <a:cubicBezTo>
                    <a:pt x="6017" y="18105"/>
                    <a:pt x="6022" y="18096"/>
                    <a:pt x="6027" y="18089"/>
                  </a:cubicBezTo>
                  <a:cubicBezTo>
                    <a:pt x="6033" y="18081"/>
                    <a:pt x="6038" y="18075"/>
                    <a:pt x="6044" y="18070"/>
                  </a:cubicBezTo>
                  <a:cubicBezTo>
                    <a:pt x="6054" y="18061"/>
                    <a:pt x="6066" y="18056"/>
                    <a:pt x="6081" y="18054"/>
                  </a:cubicBezTo>
                  <a:cubicBezTo>
                    <a:pt x="6095" y="18053"/>
                    <a:pt x="6109" y="18055"/>
                    <a:pt x="6122" y="18061"/>
                  </a:cubicBezTo>
                  <a:cubicBezTo>
                    <a:pt x="6135" y="18067"/>
                    <a:pt x="6146" y="18075"/>
                    <a:pt x="6154" y="18083"/>
                  </a:cubicBezTo>
                  <a:close/>
                  <a:moveTo>
                    <a:pt x="6652" y="17921"/>
                  </a:moveTo>
                  <a:lnTo>
                    <a:pt x="6103" y="17650"/>
                  </a:lnTo>
                  <a:lnTo>
                    <a:pt x="6084" y="17688"/>
                  </a:lnTo>
                  <a:lnTo>
                    <a:pt x="6634" y="17958"/>
                  </a:lnTo>
                  <a:lnTo>
                    <a:pt x="6652" y="17921"/>
                  </a:lnTo>
                  <a:close/>
                  <a:moveTo>
                    <a:pt x="6427" y="17173"/>
                  </a:moveTo>
                  <a:lnTo>
                    <a:pt x="6404" y="17219"/>
                  </a:lnTo>
                  <a:lnTo>
                    <a:pt x="6676" y="17353"/>
                  </a:lnTo>
                  <a:cubicBezTo>
                    <a:pt x="6690" y="17360"/>
                    <a:pt x="6701" y="17366"/>
                    <a:pt x="6709" y="17372"/>
                  </a:cubicBezTo>
                  <a:cubicBezTo>
                    <a:pt x="6717" y="17379"/>
                    <a:pt x="6724" y="17387"/>
                    <a:pt x="6730" y="17398"/>
                  </a:cubicBezTo>
                  <a:cubicBezTo>
                    <a:pt x="6735" y="17408"/>
                    <a:pt x="6737" y="17420"/>
                    <a:pt x="6735" y="17434"/>
                  </a:cubicBezTo>
                  <a:cubicBezTo>
                    <a:pt x="6733" y="17447"/>
                    <a:pt x="6729" y="17463"/>
                    <a:pt x="6721" y="17479"/>
                  </a:cubicBezTo>
                  <a:cubicBezTo>
                    <a:pt x="6715" y="17491"/>
                    <a:pt x="6708" y="17501"/>
                    <a:pt x="6702" y="17509"/>
                  </a:cubicBezTo>
                  <a:cubicBezTo>
                    <a:pt x="6695" y="17516"/>
                    <a:pt x="6688" y="17522"/>
                    <a:pt x="6682" y="17526"/>
                  </a:cubicBezTo>
                  <a:cubicBezTo>
                    <a:pt x="6675" y="17530"/>
                    <a:pt x="6668" y="17533"/>
                    <a:pt x="6662" y="17535"/>
                  </a:cubicBezTo>
                  <a:cubicBezTo>
                    <a:pt x="6656" y="17536"/>
                    <a:pt x="6650" y="17537"/>
                    <a:pt x="6645" y="17536"/>
                  </a:cubicBezTo>
                  <a:cubicBezTo>
                    <a:pt x="6637" y="17536"/>
                    <a:pt x="6628" y="17534"/>
                    <a:pt x="6617" y="17529"/>
                  </a:cubicBezTo>
                  <a:cubicBezTo>
                    <a:pt x="6606" y="17525"/>
                    <a:pt x="6595" y="17520"/>
                    <a:pt x="6585" y="17516"/>
                  </a:cubicBezTo>
                  <a:lnTo>
                    <a:pt x="6322" y="17386"/>
                  </a:lnTo>
                  <a:lnTo>
                    <a:pt x="6299" y="17432"/>
                  </a:lnTo>
                  <a:lnTo>
                    <a:pt x="6579" y="17570"/>
                  </a:lnTo>
                  <a:cubicBezTo>
                    <a:pt x="6588" y="17574"/>
                    <a:pt x="6598" y="17579"/>
                    <a:pt x="6610" y="17583"/>
                  </a:cubicBezTo>
                  <a:cubicBezTo>
                    <a:pt x="6622" y="17587"/>
                    <a:pt x="6634" y="17589"/>
                    <a:pt x="6646" y="17589"/>
                  </a:cubicBezTo>
                  <a:cubicBezTo>
                    <a:pt x="6671" y="17588"/>
                    <a:pt x="6692" y="17580"/>
                    <a:pt x="6710" y="17567"/>
                  </a:cubicBezTo>
                  <a:cubicBezTo>
                    <a:pt x="6728" y="17553"/>
                    <a:pt x="6744" y="17531"/>
                    <a:pt x="6759" y="17501"/>
                  </a:cubicBezTo>
                  <a:cubicBezTo>
                    <a:pt x="6771" y="17477"/>
                    <a:pt x="6779" y="17456"/>
                    <a:pt x="6782" y="17437"/>
                  </a:cubicBezTo>
                  <a:cubicBezTo>
                    <a:pt x="6785" y="17418"/>
                    <a:pt x="6784" y="17401"/>
                    <a:pt x="6780" y="17383"/>
                  </a:cubicBezTo>
                  <a:cubicBezTo>
                    <a:pt x="6776" y="17367"/>
                    <a:pt x="6768" y="17353"/>
                    <a:pt x="6757" y="17343"/>
                  </a:cubicBezTo>
                  <a:cubicBezTo>
                    <a:pt x="6746" y="17332"/>
                    <a:pt x="6728" y="17321"/>
                    <a:pt x="6705" y="17310"/>
                  </a:cubicBezTo>
                  <a:lnTo>
                    <a:pt x="6427" y="17173"/>
                  </a:lnTo>
                  <a:close/>
                  <a:moveTo>
                    <a:pt x="7001" y="16993"/>
                  </a:moveTo>
                  <a:lnTo>
                    <a:pt x="6610" y="16800"/>
                  </a:lnTo>
                  <a:lnTo>
                    <a:pt x="6587" y="16846"/>
                  </a:lnTo>
                  <a:lnTo>
                    <a:pt x="6801" y="16949"/>
                  </a:lnTo>
                  <a:cubicBezTo>
                    <a:pt x="6815" y="16956"/>
                    <a:pt x="6829" y="16963"/>
                    <a:pt x="6843" y="16969"/>
                  </a:cubicBezTo>
                  <a:cubicBezTo>
                    <a:pt x="6858" y="16976"/>
                    <a:pt x="6871" y="16981"/>
                    <a:pt x="6882" y="16986"/>
                  </a:cubicBezTo>
                  <a:cubicBezTo>
                    <a:pt x="6893" y="16991"/>
                    <a:pt x="6903" y="16995"/>
                    <a:pt x="6910" y="16998"/>
                  </a:cubicBezTo>
                  <a:cubicBezTo>
                    <a:pt x="6918" y="17001"/>
                    <a:pt x="6922" y="17003"/>
                    <a:pt x="6922" y="17003"/>
                  </a:cubicBezTo>
                  <a:cubicBezTo>
                    <a:pt x="6921" y="17003"/>
                    <a:pt x="6917" y="17002"/>
                    <a:pt x="6911" y="17002"/>
                  </a:cubicBezTo>
                  <a:cubicBezTo>
                    <a:pt x="6905" y="17001"/>
                    <a:pt x="6897" y="17001"/>
                    <a:pt x="6888" y="17000"/>
                  </a:cubicBezTo>
                  <a:cubicBezTo>
                    <a:pt x="6879" y="17000"/>
                    <a:pt x="6868" y="16999"/>
                    <a:pt x="6857" y="16999"/>
                  </a:cubicBezTo>
                  <a:cubicBezTo>
                    <a:pt x="6845" y="16998"/>
                    <a:pt x="6834" y="16998"/>
                    <a:pt x="6822" y="16999"/>
                  </a:cubicBezTo>
                  <a:lnTo>
                    <a:pt x="6509" y="17006"/>
                  </a:lnTo>
                  <a:lnTo>
                    <a:pt x="6482" y="17060"/>
                  </a:lnTo>
                  <a:lnTo>
                    <a:pt x="6873" y="17252"/>
                  </a:lnTo>
                  <a:lnTo>
                    <a:pt x="6897" y="17204"/>
                  </a:lnTo>
                  <a:lnTo>
                    <a:pt x="6669" y="17095"/>
                  </a:lnTo>
                  <a:cubicBezTo>
                    <a:pt x="6658" y="17089"/>
                    <a:pt x="6646" y="17084"/>
                    <a:pt x="6634" y="17079"/>
                  </a:cubicBezTo>
                  <a:cubicBezTo>
                    <a:pt x="6623" y="17074"/>
                    <a:pt x="6612" y="17069"/>
                    <a:pt x="6602" y="17065"/>
                  </a:cubicBezTo>
                  <a:cubicBezTo>
                    <a:pt x="6592" y="17061"/>
                    <a:pt x="6583" y="17057"/>
                    <a:pt x="6576" y="17054"/>
                  </a:cubicBezTo>
                  <a:cubicBezTo>
                    <a:pt x="6569" y="17051"/>
                    <a:pt x="6564" y="17049"/>
                    <a:pt x="6560" y="17048"/>
                  </a:cubicBezTo>
                  <a:cubicBezTo>
                    <a:pt x="6564" y="17048"/>
                    <a:pt x="6570" y="17049"/>
                    <a:pt x="6578" y="17049"/>
                  </a:cubicBezTo>
                  <a:cubicBezTo>
                    <a:pt x="6585" y="17049"/>
                    <a:pt x="6594" y="17050"/>
                    <a:pt x="6604" y="17050"/>
                  </a:cubicBezTo>
                  <a:cubicBezTo>
                    <a:pt x="6614" y="17050"/>
                    <a:pt x="6625" y="17050"/>
                    <a:pt x="6637" y="17050"/>
                  </a:cubicBezTo>
                  <a:cubicBezTo>
                    <a:pt x="6650" y="17050"/>
                    <a:pt x="6662" y="17050"/>
                    <a:pt x="6676" y="17049"/>
                  </a:cubicBezTo>
                  <a:lnTo>
                    <a:pt x="6977" y="17042"/>
                  </a:lnTo>
                  <a:lnTo>
                    <a:pt x="7001" y="16993"/>
                  </a:lnTo>
                  <a:close/>
                  <a:moveTo>
                    <a:pt x="7080" y="16833"/>
                  </a:moveTo>
                  <a:lnTo>
                    <a:pt x="6689" y="16640"/>
                  </a:lnTo>
                  <a:lnTo>
                    <a:pt x="6666" y="16686"/>
                  </a:lnTo>
                  <a:lnTo>
                    <a:pt x="7057" y="16878"/>
                  </a:lnTo>
                  <a:lnTo>
                    <a:pt x="7080" y="16833"/>
                  </a:lnTo>
                  <a:close/>
                  <a:moveTo>
                    <a:pt x="6879" y="16253"/>
                  </a:moveTo>
                  <a:lnTo>
                    <a:pt x="6856" y="16301"/>
                  </a:lnTo>
                  <a:lnTo>
                    <a:pt x="7072" y="16511"/>
                  </a:lnTo>
                  <a:cubicBezTo>
                    <a:pt x="7090" y="16529"/>
                    <a:pt x="7105" y="16543"/>
                    <a:pt x="7117" y="16554"/>
                  </a:cubicBezTo>
                  <a:cubicBezTo>
                    <a:pt x="7129" y="16565"/>
                    <a:pt x="7137" y="16572"/>
                    <a:pt x="7142" y="16575"/>
                  </a:cubicBezTo>
                  <a:cubicBezTo>
                    <a:pt x="7139" y="16575"/>
                    <a:pt x="7134" y="16573"/>
                    <a:pt x="7127" y="16571"/>
                  </a:cubicBezTo>
                  <a:cubicBezTo>
                    <a:pt x="7120" y="16570"/>
                    <a:pt x="7112" y="16568"/>
                    <a:pt x="7103" y="16566"/>
                  </a:cubicBezTo>
                  <a:cubicBezTo>
                    <a:pt x="7094" y="16564"/>
                    <a:pt x="7084" y="16562"/>
                    <a:pt x="7074" y="16560"/>
                  </a:cubicBezTo>
                  <a:cubicBezTo>
                    <a:pt x="7064" y="16559"/>
                    <a:pt x="7053" y="16557"/>
                    <a:pt x="7043" y="16555"/>
                  </a:cubicBezTo>
                  <a:lnTo>
                    <a:pt x="6751" y="16514"/>
                  </a:lnTo>
                  <a:lnTo>
                    <a:pt x="6726" y="16565"/>
                  </a:lnTo>
                  <a:lnTo>
                    <a:pt x="7182" y="16625"/>
                  </a:lnTo>
                  <a:lnTo>
                    <a:pt x="7204" y="16579"/>
                  </a:lnTo>
                  <a:lnTo>
                    <a:pt x="6879" y="16253"/>
                  </a:lnTo>
                  <a:close/>
                  <a:moveTo>
                    <a:pt x="7415" y="16150"/>
                  </a:moveTo>
                  <a:lnTo>
                    <a:pt x="7375" y="16131"/>
                  </a:lnTo>
                  <a:lnTo>
                    <a:pt x="7290" y="16303"/>
                  </a:lnTo>
                  <a:lnTo>
                    <a:pt x="7147" y="16232"/>
                  </a:lnTo>
                  <a:lnTo>
                    <a:pt x="7213" y="16098"/>
                  </a:lnTo>
                  <a:lnTo>
                    <a:pt x="7173" y="16078"/>
                  </a:lnTo>
                  <a:lnTo>
                    <a:pt x="7107" y="16212"/>
                  </a:lnTo>
                  <a:lnTo>
                    <a:pt x="6979" y="16149"/>
                  </a:lnTo>
                  <a:lnTo>
                    <a:pt x="7057" y="15989"/>
                  </a:lnTo>
                  <a:lnTo>
                    <a:pt x="7022" y="15964"/>
                  </a:lnTo>
                  <a:lnTo>
                    <a:pt x="6916" y="16177"/>
                  </a:lnTo>
                  <a:lnTo>
                    <a:pt x="7307" y="16370"/>
                  </a:lnTo>
                  <a:lnTo>
                    <a:pt x="7415" y="16150"/>
                  </a:lnTo>
                  <a:close/>
                  <a:moveTo>
                    <a:pt x="7578" y="15819"/>
                  </a:moveTo>
                  <a:lnTo>
                    <a:pt x="7542" y="15824"/>
                  </a:lnTo>
                  <a:cubicBezTo>
                    <a:pt x="7525" y="15826"/>
                    <a:pt x="7508" y="15829"/>
                    <a:pt x="7489" y="15831"/>
                  </a:cubicBezTo>
                  <a:cubicBezTo>
                    <a:pt x="7470" y="15834"/>
                    <a:pt x="7453" y="15836"/>
                    <a:pt x="7436" y="15839"/>
                  </a:cubicBezTo>
                  <a:cubicBezTo>
                    <a:pt x="7420" y="15841"/>
                    <a:pt x="7408" y="15843"/>
                    <a:pt x="7401" y="15844"/>
                  </a:cubicBezTo>
                  <a:cubicBezTo>
                    <a:pt x="7391" y="15846"/>
                    <a:pt x="7380" y="15848"/>
                    <a:pt x="7369" y="15851"/>
                  </a:cubicBezTo>
                  <a:cubicBezTo>
                    <a:pt x="7357" y="15854"/>
                    <a:pt x="7346" y="15858"/>
                    <a:pt x="7338" y="15862"/>
                  </a:cubicBezTo>
                  <a:lnTo>
                    <a:pt x="7341" y="15856"/>
                  </a:lnTo>
                  <a:cubicBezTo>
                    <a:pt x="7348" y="15841"/>
                    <a:pt x="7353" y="15825"/>
                    <a:pt x="7354" y="15810"/>
                  </a:cubicBezTo>
                  <a:cubicBezTo>
                    <a:pt x="7355" y="15795"/>
                    <a:pt x="7353" y="15780"/>
                    <a:pt x="7348" y="15766"/>
                  </a:cubicBezTo>
                  <a:cubicBezTo>
                    <a:pt x="7344" y="15753"/>
                    <a:pt x="7336" y="15740"/>
                    <a:pt x="7325" y="15729"/>
                  </a:cubicBezTo>
                  <a:cubicBezTo>
                    <a:pt x="7314" y="15717"/>
                    <a:pt x="7301" y="15708"/>
                    <a:pt x="7285" y="15700"/>
                  </a:cubicBezTo>
                  <a:cubicBezTo>
                    <a:pt x="7274" y="15695"/>
                    <a:pt x="7264" y="15691"/>
                    <a:pt x="7255" y="15690"/>
                  </a:cubicBezTo>
                  <a:cubicBezTo>
                    <a:pt x="7245" y="15688"/>
                    <a:pt x="7236" y="15687"/>
                    <a:pt x="7227" y="15687"/>
                  </a:cubicBezTo>
                  <a:cubicBezTo>
                    <a:pt x="7218" y="15688"/>
                    <a:pt x="7210" y="15689"/>
                    <a:pt x="7203" y="15691"/>
                  </a:cubicBezTo>
                  <a:cubicBezTo>
                    <a:pt x="7196" y="15693"/>
                    <a:pt x="7189" y="15695"/>
                    <a:pt x="7184" y="15698"/>
                  </a:cubicBezTo>
                  <a:cubicBezTo>
                    <a:pt x="7178" y="15701"/>
                    <a:pt x="7172" y="15704"/>
                    <a:pt x="7166" y="15709"/>
                  </a:cubicBezTo>
                  <a:cubicBezTo>
                    <a:pt x="7160" y="15713"/>
                    <a:pt x="7154" y="15719"/>
                    <a:pt x="7148" y="15725"/>
                  </a:cubicBezTo>
                  <a:cubicBezTo>
                    <a:pt x="7141" y="15732"/>
                    <a:pt x="7135" y="15740"/>
                    <a:pt x="7129" y="15750"/>
                  </a:cubicBezTo>
                  <a:cubicBezTo>
                    <a:pt x="7123" y="15760"/>
                    <a:pt x="7117" y="15771"/>
                    <a:pt x="7110" y="15784"/>
                  </a:cubicBezTo>
                  <a:lnTo>
                    <a:pt x="7065" y="15875"/>
                  </a:lnTo>
                  <a:lnTo>
                    <a:pt x="7456" y="16068"/>
                  </a:lnTo>
                  <a:lnTo>
                    <a:pt x="7478" y="16022"/>
                  </a:lnTo>
                  <a:lnTo>
                    <a:pt x="7302" y="15935"/>
                  </a:lnTo>
                  <a:cubicBezTo>
                    <a:pt x="7307" y="15926"/>
                    <a:pt x="7313" y="15919"/>
                    <a:pt x="7319" y="15914"/>
                  </a:cubicBezTo>
                  <a:cubicBezTo>
                    <a:pt x="7325" y="15910"/>
                    <a:pt x="7335" y="15906"/>
                    <a:pt x="7349" y="15903"/>
                  </a:cubicBezTo>
                  <a:cubicBezTo>
                    <a:pt x="7372" y="15899"/>
                    <a:pt x="7394" y="15894"/>
                    <a:pt x="7415" y="15891"/>
                  </a:cubicBezTo>
                  <a:cubicBezTo>
                    <a:pt x="7435" y="15888"/>
                    <a:pt x="7454" y="15885"/>
                    <a:pt x="7472" y="15883"/>
                  </a:cubicBezTo>
                  <a:cubicBezTo>
                    <a:pt x="7489" y="15881"/>
                    <a:pt x="7504" y="15879"/>
                    <a:pt x="7518" y="15879"/>
                  </a:cubicBezTo>
                  <a:cubicBezTo>
                    <a:pt x="7531" y="15878"/>
                    <a:pt x="7541" y="15878"/>
                    <a:pt x="7549" y="15878"/>
                  </a:cubicBezTo>
                  <a:lnTo>
                    <a:pt x="7578" y="15819"/>
                  </a:lnTo>
                  <a:close/>
                  <a:moveTo>
                    <a:pt x="7292" y="15770"/>
                  </a:moveTo>
                  <a:cubicBezTo>
                    <a:pt x="7300" y="15779"/>
                    <a:pt x="7306" y="15788"/>
                    <a:pt x="7309" y="15797"/>
                  </a:cubicBezTo>
                  <a:cubicBezTo>
                    <a:pt x="7312" y="15808"/>
                    <a:pt x="7312" y="15820"/>
                    <a:pt x="7310" y="15833"/>
                  </a:cubicBezTo>
                  <a:cubicBezTo>
                    <a:pt x="7308" y="15845"/>
                    <a:pt x="7303" y="15860"/>
                    <a:pt x="7294" y="15878"/>
                  </a:cubicBezTo>
                  <a:lnTo>
                    <a:pt x="7273" y="15921"/>
                  </a:lnTo>
                  <a:lnTo>
                    <a:pt x="7127" y="15849"/>
                  </a:lnTo>
                  <a:lnTo>
                    <a:pt x="7150" y="15802"/>
                  </a:lnTo>
                  <a:cubicBezTo>
                    <a:pt x="7155" y="15792"/>
                    <a:pt x="7160" y="15783"/>
                    <a:pt x="7165" y="15776"/>
                  </a:cubicBezTo>
                  <a:cubicBezTo>
                    <a:pt x="7171" y="15769"/>
                    <a:pt x="7176" y="15763"/>
                    <a:pt x="7182" y="15757"/>
                  </a:cubicBezTo>
                  <a:cubicBezTo>
                    <a:pt x="7192" y="15749"/>
                    <a:pt x="7204" y="15743"/>
                    <a:pt x="7219" y="15742"/>
                  </a:cubicBezTo>
                  <a:cubicBezTo>
                    <a:pt x="7233" y="15740"/>
                    <a:pt x="7247" y="15742"/>
                    <a:pt x="7260" y="15748"/>
                  </a:cubicBezTo>
                  <a:cubicBezTo>
                    <a:pt x="7273" y="15755"/>
                    <a:pt x="7284" y="15762"/>
                    <a:pt x="7292" y="15770"/>
                  </a:cubicBezTo>
                  <a:close/>
                  <a:moveTo>
                    <a:pt x="7589" y="15425"/>
                  </a:moveTo>
                  <a:cubicBezTo>
                    <a:pt x="7575" y="15424"/>
                    <a:pt x="7561" y="15425"/>
                    <a:pt x="7548" y="15428"/>
                  </a:cubicBezTo>
                  <a:cubicBezTo>
                    <a:pt x="7535" y="15432"/>
                    <a:pt x="7523" y="15437"/>
                    <a:pt x="7512" y="15445"/>
                  </a:cubicBezTo>
                  <a:cubicBezTo>
                    <a:pt x="7501" y="15452"/>
                    <a:pt x="7488" y="15463"/>
                    <a:pt x="7474" y="15478"/>
                  </a:cubicBezTo>
                  <a:lnTo>
                    <a:pt x="7438" y="15516"/>
                  </a:lnTo>
                  <a:cubicBezTo>
                    <a:pt x="7419" y="15535"/>
                    <a:pt x="7402" y="15548"/>
                    <a:pt x="7388" y="15553"/>
                  </a:cubicBezTo>
                  <a:cubicBezTo>
                    <a:pt x="7373" y="15559"/>
                    <a:pt x="7358" y="15557"/>
                    <a:pt x="7342" y="15550"/>
                  </a:cubicBezTo>
                  <a:cubicBezTo>
                    <a:pt x="7322" y="15540"/>
                    <a:pt x="7310" y="15525"/>
                    <a:pt x="7305" y="15506"/>
                  </a:cubicBezTo>
                  <a:cubicBezTo>
                    <a:pt x="7300" y="15486"/>
                    <a:pt x="7304" y="15464"/>
                    <a:pt x="7316" y="15440"/>
                  </a:cubicBezTo>
                  <a:cubicBezTo>
                    <a:pt x="7320" y="15431"/>
                    <a:pt x="7325" y="15424"/>
                    <a:pt x="7330" y="15417"/>
                  </a:cubicBezTo>
                  <a:cubicBezTo>
                    <a:pt x="7334" y="15410"/>
                    <a:pt x="7340" y="15404"/>
                    <a:pt x="7346" y="15398"/>
                  </a:cubicBezTo>
                  <a:cubicBezTo>
                    <a:pt x="7353" y="15391"/>
                    <a:pt x="7360" y="15385"/>
                    <a:pt x="7368" y="15380"/>
                  </a:cubicBezTo>
                  <a:cubicBezTo>
                    <a:pt x="7376" y="15374"/>
                    <a:pt x="7385" y="15367"/>
                    <a:pt x="7396" y="15361"/>
                  </a:cubicBezTo>
                  <a:lnTo>
                    <a:pt x="7373" y="15324"/>
                  </a:lnTo>
                  <a:cubicBezTo>
                    <a:pt x="7329" y="15349"/>
                    <a:pt x="7297" y="15382"/>
                    <a:pt x="7277" y="15423"/>
                  </a:cubicBezTo>
                  <a:cubicBezTo>
                    <a:pt x="7268" y="15442"/>
                    <a:pt x="7262" y="15461"/>
                    <a:pt x="7260" y="15479"/>
                  </a:cubicBezTo>
                  <a:cubicBezTo>
                    <a:pt x="7258" y="15497"/>
                    <a:pt x="7259" y="15515"/>
                    <a:pt x="7263" y="15530"/>
                  </a:cubicBezTo>
                  <a:cubicBezTo>
                    <a:pt x="7268" y="15546"/>
                    <a:pt x="7275" y="15561"/>
                    <a:pt x="7286" y="15573"/>
                  </a:cubicBezTo>
                  <a:cubicBezTo>
                    <a:pt x="7297" y="15586"/>
                    <a:pt x="7310" y="15597"/>
                    <a:pt x="7327" y="15605"/>
                  </a:cubicBezTo>
                  <a:cubicBezTo>
                    <a:pt x="7352" y="15617"/>
                    <a:pt x="7377" y="15620"/>
                    <a:pt x="7403" y="15612"/>
                  </a:cubicBezTo>
                  <a:cubicBezTo>
                    <a:pt x="7415" y="15608"/>
                    <a:pt x="7426" y="15602"/>
                    <a:pt x="7436" y="15594"/>
                  </a:cubicBezTo>
                  <a:cubicBezTo>
                    <a:pt x="7446" y="15586"/>
                    <a:pt x="7458" y="15575"/>
                    <a:pt x="7472" y="15559"/>
                  </a:cubicBezTo>
                  <a:lnTo>
                    <a:pt x="7503" y="15526"/>
                  </a:lnTo>
                  <a:cubicBezTo>
                    <a:pt x="7540" y="15486"/>
                    <a:pt x="7576" y="15475"/>
                    <a:pt x="7611" y="15492"/>
                  </a:cubicBezTo>
                  <a:cubicBezTo>
                    <a:pt x="7634" y="15503"/>
                    <a:pt x="7648" y="15522"/>
                    <a:pt x="7653" y="15547"/>
                  </a:cubicBezTo>
                  <a:cubicBezTo>
                    <a:pt x="7655" y="15559"/>
                    <a:pt x="7655" y="15570"/>
                    <a:pt x="7653" y="15580"/>
                  </a:cubicBezTo>
                  <a:cubicBezTo>
                    <a:pt x="7651" y="15590"/>
                    <a:pt x="7647" y="15603"/>
                    <a:pt x="7639" y="15618"/>
                  </a:cubicBezTo>
                  <a:cubicBezTo>
                    <a:pt x="7629" y="15637"/>
                    <a:pt x="7618" y="15655"/>
                    <a:pt x="7604" y="15669"/>
                  </a:cubicBezTo>
                  <a:cubicBezTo>
                    <a:pt x="7591" y="15683"/>
                    <a:pt x="7574" y="15696"/>
                    <a:pt x="7554" y="15706"/>
                  </a:cubicBezTo>
                  <a:lnTo>
                    <a:pt x="7580" y="15744"/>
                  </a:lnTo>
                  <a:cubicBezTo>
                    <a:pt x="7602" y="15731"/>
                    <a:pt x="7621" y="15716"/>
                    <a:pt x="7636" y="15698"/>
                  </a:cubicBezTo>
                  <a:cubicBezTo>
                    <a:pt x="7652" y="15681"/>
                    <a:pt x="7666" y="15660"/>
                    <a:pt x="7677" y="15637"/>
                  </a:cubicBezTo>
                  <a:cubicBezTo>
                    <a:pt x="7686" y="15618"/>
                    <a:pt x="7692" y="15601"/>
                    <a:pt x="7695" y="15586"/>
                  </a:cubicBezTo>
                  <a:cubicBezTo>
                    <a:pt x="7698" y="15570"/>
                    <a:pt x="7699" y="15554"/>
                    <a:pt x="7697" y="15537"/>
                  </a:cubicBezTo>
                  <a:cubicBezTo>
                    <a:pt x="7694" y="15514"/>
                    <a:pt x="7687" y="15494"/>
                    <a:pt x="7675" y="15476"/>
                  </a:cubicBezTo>
                  <a:cubicBezTo>
                    <a:pt x="7663" y="15459"/>
                    <a:pt x="7647" y="15446"/>
                    <a:pt x="7629" y="15437"/>
                  </a:cubicBezTo>
                  <a:cubicBezTo>
                    <a:pt x="7617" y="15431"/>
                    <a:pt x="7604" y="15427"/>
                    <a:pt x="7589" y="15425"/>
                  </a:cubicBezTo>
                  <a:close/>
                  <a:moveTo>
                    <a:pt x="7807" y="15355"/>
                  </a:moveTo>
                  <a:lnTo>
                    <a:pt x="7416" y="15163"/>
                  </a:lnTo>
                  <a:lnTo>
                    <a:pt x="7393" y="15208"/>
                  </a:lnTo>
                  <a:lnTo>
                    <a:pt x="7784" y="15401"/>
                  </a:lnTo>
                  <a:lnTo>
                    <a:pt x="7807" y="15355"/>
                  </a:lnTo>
                  <a:close/>
                  <a:moveTo>
                    <a:pt x="7582" y="14826"/>
                  </a:moveTo>
                  <a:lnTo>
                    <a:pt x="7454" y="15084"/>
                  </a:lnTo>
                  <a:lnTo>
                    <a:pt x="7494" y="15104"/>
                  </a:lnTo>
                  <a:lnTo>
                    <a:pt x="7545" y="14999"/>
                  </a:lnTo>
                  <a:lnTo>
                    <a:pt x="7897" y="15172"/>
                  </a:lnTo>
                  <a:lnTo>
                    <a:pt x="7919" y="15127"/>
                  </a:lnTo>
                  <a:lnTo>
                    <a:pt x="7568" y="14954"/>
                  </a:lnTo>
                  <a:lnTo>
                    <a:pt x="7620" y="14848"/>
                  </a:lnTo>
                  <a:lnTo>
                    <a:pt x="7582" y="14826"/>
                  </a:lnTo>
                  <a:close/>
                  <a:moveTo>
                    <a:pt x="7749" y="14485"/>
                  </a:moveTo>
                  <a:lnTo>
                    <a:pt x="7723" y="14539"/>
                  </a:lnTo>
                  <a:lnTo>
                    <a:pt x="7835" y="14687"/>
                  </a:lnTo>
                  <a:cubicBezTo>
                    <a:pt x="7842" y="14698"/>
                    <a:pt x="7849" y="14707"/>
                    <a:pt x="7856" y="14715"/>
                  </a:cubicBezTo>
                  <a:cubicBezTo>
                    <a:pt x="7863" y="14723"/>
                    <a:pt x="7867" y="14728"/>
                    <a:pt x="7869" y="14730"/>
                  </a:cubicBezTo>
                  <a:cubicBezTo>
                    <a:pt x="7859" y="14730"/>
                    <a:pt x="7850" y="14729"/>
                    <a:pt x="7842" y="14729"/>
                  </a:cubicBezTo>
                  <a:cubicBezTo>
                    <a:pt x="7833" y="14729"/>
                    <a:pt x="7824" y="14728"/>
                    <a:pt x="7815" y="14728"/>
                  </a:cubicBezTo>
                  <a:lnTo>
                    <a:pt x="7629" y="14729"/>
                  </a:lnTo>
                  <a:lnTo>
                    <a:pt x="7601" y="14787"/>
                  </a:lnTo>
                  <a:lnTo>
                    <a:pt x="7899" y="14777"/>
                  </a:lnTo>
                  <a:lnTo>
                    <a:pt x="8054" y="14853"/>
                  </a:lnTo>
                  <a:lnTo>
                    <a:pt x="8078" y="14805"/>
                  </a:lnTo>
                  <a:lnTo>
                    <a:pt x="7925" y="14730"/>
                  </a:lnTo>
                  <a:lnTo>
                    <a:pt x="7749" y="14485"/>
                  </a:lnTo>
                  <a:close/>
                  <a:moveTo>
                    <a:pt x="8109" y="14056"/>
                  </a:moveTo>
                  <a:cubicBezTo>
                    <a:pt x="8082" y="14050"/>
                    <a:pt x="8057" y="14049"/>
                    <a:pt x="8033" y="14052"/>
                  </a:cubicBezTo>
                  <a:cubicBezTo>
                    <a:pt x="8024" y="14053"/>
                    <a:pt x="8014" y="14056"/>
                    <a:pt x="8003" y="14059"/>
                  </a:cubicBezTo>
                  <a:cubicBezTo>
                    <a:pt x="7992" y="14063"/>
                    <a:pt x="7980" y="14068"/>
                    <a:pt x="7969" y="14075"/>
                  </a:cubicBezTo>
                  <a:cubicBezTo>
                    <a:pt x="7958" y="14081"/>
                    <a:pt x="7947" y="14090"/>
                    <a:pt x="7937" y="14102"/>
                  </a:cubicBezTo>
                  <a:cubicBezTo>
                    <a:pt x="7927" y="14113"/>
                    <a:pt x="7917" y="14127"/>
                    <a:pt x="7909" y="14144"/>
                  </a:cubicBezTo>
                  <a:cubicBezTo>
                    <a:pt x="7897" y="14168"/>
                    <a:pt x="7891" y="14192"/>
                    <a:pt x="7891" y="14216"/>
                  </a:cubicBezTo>
                  <a:cubicBezTo>
                    <a:pt x="7890" y="14240"/>
                    <a:pt x="7896" y="14263"/>
                    <a:pt x="7906" y="14284"/>
                  </a:cubicBezTo>
                  <a:cubicBezTo>
                    <a:pt x="7917" y="14306"/>
                    <a:pt x="7933" y="14327"/>
                    <a:pt x="7954" y="14346"/>
                  </a:cubicBezTo>
                  <a:cubicBezTo>
                    <a:pt x="7975" y="14365"/>
                    <a:pt x="8002" y="14383"/>
                    <a:pt x="8033" y="14398"/>
                  </a:cubicBezTo>
                  <a:cubicBezTo>
                    <a:pt x="8100" y="14431"/>
                    <a:pt x="8160" y="14441"/>
                    <a:pt x="8211" y="14428"/>
                  </a:cubicBezTo>
                  <a:cubicBezTo>
                    <a:pt x="8232" y="14422"/>
                    <a:pt x="8252" y="14412"/>
                    <a:pt x="8270" y="14398"/>
                  </a:cubicBezTo>
                  <a:cubicBezTo>
                    <a:pt x="8288" y="14384"/>
                    <a:pt x="8303" y="14365"/>
                    <a:pt x="8315" y="14341"/>
                  </a:cubicBezTo>
                  <a:cubicBezTo>
                    <a:pt x="8325" y="14320"/>
                    <a:pt x="8331" y="14301"/>
                    <a:pt x="8333" y="14283"/>
                  </a:cubicBezTo>
                  <a:cubicBezTo>
                    <a:pt x="8334" y="14264"/>
                    <a:pt x="8332" y="14244"/>
                    <a:pt x="8326" y="14223"/>
                  </a:cubicBezTo>
                  <a:cubicBezTo>
                    <a:pt x="8318" y="14195"/>
                    <a:pt x="8303" y="14170"/>
                    <a:pt x="8282" y="14148"/>
                  </a:cubicBezTo>
                  <a:cubicBezTo>
                    <a:pt x="8262" y="14127"/>
                    <a:pt x="8233" y="14107"/>
                    <a:pt x="8195" y="14088"/>
                  </a:cubicBezTo>
                  <a:cubicBezTo>
                    <a:pt x="8164" y="14073"/>
                    <a:pt x="8135" y="14062"/>
                    <a:pt x="8109" y="14056"/>
                  </a:cubicBezTo>
                  <a:close/>
                  <a:moveTo>
                    <a:pt x="8218" y="14167"/>
                  </a:moveTo>
                  <a:cubicBezTo>
                    <a:pt x="8230" y="14174"/>
                    <a:pt x="8240" y="14181"/>
                    <a:pt x="8248" y="14188"/>
                  </a:cubicBezTo>
                  <a:cubicBezTo>
                    <a:pt x="8256" y="14195"/>
                    <a:pt x="8263" y="14202"/>
                    <a:pt x="8269" y="14209"/>
                  </a:cubicBezTo>
                  <a:cubicBezTo>
                    <a:pt x="8274" y="14216"/>
                    <a:pt x="8279" y="14224"/>
                    <a:pt x="8282" y="14232"/>
                  </a:cubicBezTo>
                  <a:cubicBezTo>
                    <a:pt x="8289" y="14246"/>
                    <a:pt x="8292" y="14260"/>
                    <a:pt x="8292" y="14275"/>
                  </a:cubicBezTo>
                  <a:cubicBezTo>
                    <a:pt x="8292" y="14290"/>
                    <a:pt x="8288" y="14305"/>
                    <a:pt x="8280" y="14321"/>
                  </a:cubicBezTo>
                  <a:cubicBezTo>
                    <a:pt x="8276" y="14329"/>
                    <a:pt x="8271" y="14337"/>
                    <a:pt x="8265" y="14344"/>
                  </a:cubicBezTo>
                  <a:cubicBezTo>
                    <a:pt x="8259" y="14351"/>
                    <a:pt x="8252" y="14358"/>
                    <a:pt x="8245" y="14363"/>
                  </a:cubicBezTo>
                  <a:cubicBezTo>
                    <a:pt x="8237" y="14369"/>
                    <a:pt x="8230" y="14374"/>
                    <a:pt x="8222" y="14377"/>
                  </a:cubicBezTo>
                  <a:cubicBezTo>
                    <a:pt x="8214" y="14381"/>
                    <a:pt x="8205" y="14383"/>
                    <a:pt x="8197" y="14383"/>
                  </a:cubicBezTo>
                  <a:cubicBezTo>
                    <a:pt x="8180" y="14385"/>
                    <a:pt x="8158" y="14381"/>
                    <a:pt x="8132" y="14374"/>
                  </a:cubicBezTo>
                  <a:cubicBezTo>
                    <a:pt x="8106" y="14367"/>
                    <a:pt x="8078" y="14356"/>
                    <a:pt x="8048" y="14342"/>
                  </a:cubicBezTo>
                  <a:cubicBezTo>
                    <a:pt x="8024" y="14330"/>
                    <a:pt x="8004" y="14318"/>
                    <a:pt x="7988" y="14306"/>
                  </a:cubicBezTo>
                  <a:cubicBezTo>
                    <a:pt x="7973" y="14294"/>
                    <a:pt x="7960" y="14282"/>
                    <a:pt x="7951" y="14269"/>
                  </a:cubicBezTo>
                  <a:cubicBezTo>
                    <a:pt x="7940" y="14254"/>
                    <a:pt x="7935" y="14237"/>
                    <a:pt x="7934" y="14218"/>
                  </a:cubicBezTo>
                  <a:cubicBezTo>
                    <a:pt x="7933" y="14199"/>
                    <a:pt x="7937" y="14181"/>
                    <a:pt x="7946" y="14162"/>
                  </a:cubicBezTo>
                  <a:cubicBezTo>
                    <a:pt x="7957" y="14140"/>
                    <a:pt x="7972" y="14124"/>
                    <a:pt x="7990" y="14115"/>
                  </a:cubicBezTo>
                  <a:cubicBezTo>
                    <a:pt x="8007" y="14106"/>
                    <a:pt x="8025" y="14101"/>
                    <a:pt x="8043" y="14102"/>
                  </a:cubicBezTo>
                  <a:cubicBezTo>
                    <a:pt x="8060" y="14102"/>
                    <a:pt x="8079" y="14105"/>
                    <a:pt x="8100" y="14112"/>
                  </a:cubicBezTo>
                  <a:cubicBezTo>
                    <a:pt x="8122" y="14119"/>
                    <a:pt x="8147" y="14130"/>
                    <a:pt x="8176" y="14144"/>
                  </a:cubicBezTo>
                  <a:cubicBezTo>
                    <a:pt x="8192" y="14152"/>
                    <a:pt x="8206" y="14159"/>
                    <a:pt x="8218" y="14167"/>
                  </a:cubicBezTo>
                  <a:close/>
                  <a:moveTo>
                    <a:pt x="8143" y="13685"/>
                  </a:moveTo>
                  <a:lnTo>
                    <a:pt x="8042" y="13891"/>
                  </a:lnTo>
                  <a:lnTo>
                    <a:pt x="8432" y="14083"/>
                  </a:lnTo>
                  <a:lnTo>
                    <a:pt x="8456" y="14036"/>
                  </a:lnTo>
                  <a:lnTo>
                    <a:pt x="8270" y="13945"/>
                  </a:lnTo>
                  <a:lnTo>
                    <a:pt x="8332" y="13819"/>
                  </a:lnTo>
                  <a:lnTo>
                    <a:pt x="8294" y="13800"/>
                  </a:lnTo>
                  <a:lnTo>
                    <a:pt x="8232" y="13926"/>
                  </a:lnTo>
                  <a:lnTo>
                    <a:pt x="8104" y="13863"/>
                  </a:lnTo>
                  <a:lnTo>
                    <a:pt x="8178" y="13712"/>
                  </a:lnTo>
                  <a:lnTo>
                    <a:pt x="8143" y="13685"/>
                  </a:lnTo>
                  <a:close/>
                  <a:moveTo>
                    <a:pt x="8809" y="13319"/>
                  </a:moveTo>
                  <a:lnTo>
                    <a:pt x="8401" y="13160"/>
                  </a:lnTo>
                  <a:lnTo>
                    <a:pt x="8367" y="13229"/>
                  </a:lnTo>
                  <a:lnTo>
                    <a:pt x="8591" y="13430"/>
                  </a:lnTo>
                  <a:cubicBezTo>
                    <a:pt x="8605" y="13442"/>
                    <a:pt x="8617" y="13452"/>
                    <a:pt x="8628" y="13461"/>
                  </a:cubicBezTo>
                  <a:cubicBezTo>
                    <a:pt x="8640" y="13470"/>
                    <a:pt x="8646" y="13474"/>
                    <a:pt x="8647" y="13476"/>
                  </a:cubicBezTo>
                  <a:cubicBezTo>
                    <a:pt x="8645" y="13475"/>
                    <a:pt x="8637" y="13473"/>
                    <a:pt x="8624" y="13469"/>
                  </a:cubicBezTo>
                  <a:cubicBezTo>
                    <a:pt x="8610" y="13465"/>
                    <a:pt x="8593" y="13462"/>
                    <a:pt x="8572" y="13458"/>
                  </a:cubicBezTo>
                  <a:lnTo>
                    <a:pt x="8282" y="13403"/>
                  </a:lnTo>
                  <a:lnTo>
                    <a:pt x="8248" y="13472"/>
                  </a:lnTo>
                  <a:lnTo>
                    <a:pt x="8622" y="13698"/>
                  </a:lnTo>
                  <a:lnTo>
                    <a:pt x="8644" y="13653"/>
                  </a:lnTo>
                  <a:lnTo>
                    <a:pt x="8377" y="13495"/>
                  </a:lnTo>
                  <a:cubicBezTo>
                    <a:pt x="8371" y="13491"/>
                    <a:pt x="8365" y="13488"/>
                    <a:pt x="8357" y="13483"/>
                  </a:cubicBezTo>
                  <a:cubicBezTo>
                    <a:pt x="8350" y="13479"/>
                    <a:pt x="8342" y="13475"/>
                    <a:pt x="8335" y="13470"/>
                  </a:cubicBezTo>
                  <a:cubicBezTo>
                    <a:pt x="8327" y="13466"/>
                    <a:pt x="8321" y="13463"/>
                    <a:pt x="8316" y="13459"/>
                  </a:cubicBezTo>
                  <a:cubicBezTo>
                    <a:pt x="8311" y="13457"/>
                    <a:pt x="8308" y="13455"/>
                    <a:pt x="8306" y="13454"/>
                  </a:cubicBezTo>
                  <a:cubicBezTo>
                    <a:pt x="8311" y="13455"/>
                    <a:pt x="8320" y="13457"/>
                    <a:pt x="8334" y="13460"/>
                  </a:cubicBezTo>
                  <a:cubicBezTo>
                    <a:pt x="8349" y="13463"/>
                    <a:pt x="8367" y="13467"/>
                    <a:pt x="8389" y="13471"/>
                  </a:cubicBezTo>
                  <a:lnTo>
                    <a:pt x="8705" y="13530"/>
                  </a:lnTo>
                  <a:lnTo>
                    <a:pt x="8724" y="13490"/>
                  </a:lnTo>
                  <a:lnTo>
                    <a:pt x="8474" y="13263"/>
                  </a:lnTo>
                  <a:cubicBezTo>
                    <a:pt x="8469" y="13258"/>
                    <a:pt x="8463" y="13254"/>
                    <a:pt x="8457" y="13249"/>
                  </a:cubicBezTo>
                  <a:cubicBezTo>
                    <a:pt x="8451" y="13244"/>
                    <a:pt x="8446" y="13239"/>
                    <a:pt x="8440" y="13234"/>
                  </a:cubicBezTo>
                  <a:cubicBezTo>
                    <a:pt x="8435" y="13230"/>
                    <a:pt x="8431" y="13226"/>
                    <a:pt x="8427" y="13223"/>
                  </a:cubicBezTo>
                  <a:cubicBezTo>
                    <a:pt x="8423" y="13220"/>
                    <a:pt x="8421" y="13218"/>
                    <a:pt x="8420" y="13217"/>
                  </a:cubicBezTo>
                  <a:cubicBezTo>
                    <a:pt x="8421" y="13218"/>
                    <a:pt x="8424" y="13219"/>
                    <a:pt x="8429" y="13221"/>
                  </a:cubicBezTo>
                  <a:cubicBezTo>
                    <a:pt x="8433" y="13223"/>
                    <a:pt x="8439" y="13226"/>
                    <a:pt x="8446" y="13229"/>
                  </a:cubicBezTo>
                  <a:cubicBezTo>
                    <a:pt x="8452" y="13232"/>
                    <a:pt x="8460" y="13235"/>
                    <a:pt x="8467" y="13238"/>
                  </a:cubicBezTo>
                  <a:cubicBezTo>
                    <a:pt x="8475" y="13242"/>
                    <a:pt x="8482" y="13244"/>
                    <a:pt x="8488" y="13247"/>
                  </a:cubicBezTo>
                  <a:lnTo>
                    <a:pt x="8786" y="13365"/>
                  </a:lnTo>
                  <a:lnTo>
                    <a:pt x="8809" y="13319"/>
                  </a:lnTo>
                  <a:close/>
                  <a:moveTo>
                    <a:pt x="8593" y="12770"/>
                  </a:moveTo>
                  <a:lnTo>
                    <a:pt x="8570" y="12816"/>
                  </a:lnTo>
                  <a:lnTo>
                    <a:pt x="8843" y="12950"/>
                  </a:lnTo>
                  <a:cubicBezTo>
                    <a:pt x="8856" y="12957"/>
                    <a:pt x="8867" y="12963"/>
                    <a:pt x="8875" y="12969"/>
                  </a:cubicBezTo>
                  <a:cubicBezTo>
                    <a:pt x="8884" y="12976"/>
                    <a:pt x="8891" y="12984"/>
                    <a:pt x="8896" y="12995"/>
                  </a:cubicBezTo>
                  <a:cubicBezTo>
                    <a:pt x="8901" y="13005"/>
                    <a:pt x="8903" y="13017"/>
                    <a:pt x="8902" y="13031"/>
                  </a:cubicBezTo>
                  <a:cubicBezTo>
                    <a:pt x="8900" y="13045"/>
                    <a:pt x="8895" y="13060"/>
                    <a:pt x="8887" y="13076"/>
                  </a:cubicBezTo>
                  <a:cubicBezTo>
                    <a:pt x="8881" y="13088"/>
                    <a:pt x="8875" y="13098"/>
                    <a:pt x="8868" y="13106"/>
                  </a:cubicBezTo>
                  <a:cubicBezTo>
                    <a:pt x="8862" y="13113"/>
                    <a:pt x="8855" y="13119"/>
                    <a:pt x="8848" y="13123"/>
                  </a:cubicBezTo>
                  <a:cubicBezTo>
                    <a:pt x="8841" y="13128"/>
                    <a:pt x="8835" y="13130"/>
                    <a:pt x="8828" y="13132"/>
                  </a:cubicBezTo>
                  <a:cubicBezTo>
                    <a:pt x="8822" y="13133"/>
                    <a:pt x="8816" y="13134"/>
                    <a:pt x="8811" y="13134"/>
                  </a:cubicBezTo>
                  <a:cubicBezTo>
                    <a:pt x="8804" y="13133"/>
                    <a:pt x="8795" y="13131"/>
                    <a:pt x="8783" y="13127"/>
                  </a:cubicBezTo>
                  <a:cubicBezTo>
                    <a:pt x="8772" y="13122"/>
                    <a:pt x="8761" y="13118"/>
                    <a:pt x="8752" y="13113"/>
                  </a:cubicBezTo>
                  <a:lnTo>
                    <a:pt x="8488" y="12983"/>
                  </a:lnTo>
                  <a:lnTo>
                    <a:pt x="8466" y="13029"/>
                  </a:lnTo>
                  <a:lnTo>
                    <a:pt x="8746" y="13167"/>
                  </a:lnTo>
                  <a:cubicBezTo>
                    <a:pt x="8755" y="13172"/>
                    <a:pt x="8765" y="13176"/>
                    <a:pt x="8777" y="13180"/>
                  </a:cubicBezTo>
                  <a:cubicBezTo>
                    <a:pt x="8788" y="13185"/>
                    <a:pt x="8800" y="13186"/>
                    <a:pt x="8813" y="13186"/>
                  </a:cubicBezTo>
                  <a:cubicBezTo>
                    <a:pt x="8837" y="13185"/>
                    <a:pt x="8858" y="13177"/>
                    <a:pt x="8876" y="13164"/>
                  </a:cubicBezTo>
                  <a:cubicBezTo>
                    <a:pt x="8894" y="13150"/>
                    <a:pt x="8911" y="13128"/>
                    <a:pt x="8926" y="13098"/>
                  </a:cubicBezTo>
                  <a:cubicBezTo>
                    <a:pt x="8938" y="13074"/>
                    <a:pt x="8945" y="13053"/>
                    <a:pt x="8948" y="13034"/>
                  </a:cubicBezTo>
                  <a:cubicBezTo>
                    <a:pt x="8951" y="13016"/>
                    <a:pt x="8950" y="12998"/>
                    <a:pt x="8946" y="12981"/>
                  </a:cubicBezTo>
                  <a:cubicBezTo>
                    <a:pt x="8942" y="12964"/>
                    <a:pt x="8934" y="12950"/>
                    <a:pt x="8923" y="12940"/>
                  </a:cubicBezTo>
                  <a:cubicBezTo>
                    <a:pt x="8912" y="12929"/>
                    <a:pt x="8895" y="12918"/>
                    <a:pt x="8871" y="12907"/>
                  </a:cubicBezTo>
                  <a:lnTo>
                    <a:pt x="8593" y="12770"/>
                  </a:lnTo>
                  <a:close/>
                  <a:moveTo>
                    <a:pt x="8436" y="12901"/>
                  </a:moveTo>
                  <a:cubicBezTo>
                    <a:pt x="8428" y="12904"/>
                    <a:pt x="8421" y="12909"/>
                    <a:pt x="8417" y="12918"/>
                  </a:cubicBezTo>
                  <a:cubicBezTo>
                    <a:pt x="8413" y="12926"/>
                    <a:pt x="8413" y="12934"/>
                    <a:pt x="8416" y="12942"/>
                  </a:cubicBezTo>
                  <a:cubicBezTo>
                    <a:pt x="8419" y="12951"/>
                    <a:pt x="8424" y="12957"/>
                    <a:pt x="8432" y="12961"/>
                  </a:cubicBezTo>
                  <a:cubicBezTo>
                    <a:pt x="8440" y="12965"/>
                    <a:pt x="8449" y="12966"/>
                    <a:pt x="8458" y="12963"/>
                  </a:cubicBezTo>
                  <a:cubicBezTo>
                    <a:pt x="8466" y="12960"/>
                    <a:pt x="8473" y="12955"/>
                    <a:pt x="8477" y="12946"/>
                  </a:cubicBezTo>
                  <a:cubicBezTo>
                    <a:pt x="8481" y="12938"/>
                    <a:pt x="8481" y="12930"/>
                    <a:pt x="8478" y="12921"/>
                  </a:cubicBezTo>
                  <a:cubicBezTo>
                    <a:pt x="8475" y="12913"/>
                    <a:pt x="8469" y="12906"/>
                    <a:pt x="8461" y="12902"/>
                  </a:cubicBezTo>
                  <a:cubicBezTo>
                    <a:pt x="8453" y="12898"/>
                    <a:pt x="8445" y="12898"/>
                    <a:pt x="8436" y="12901"/>
                  </a:cubicBezTo>
                  <a:close/>
                  <a:moveTo>
                    <a:pt x="8494" y="12784"/>
                  </a:moveTo>
                  <a:cubicBezTo>
                    <a:pt x="8485" y="12787"/>
                    <a:pt x="8479" y="12793"/>
                    <a:pt x="8475" y="12801"/>
                  </a:cubicBezTo>
                  <a:cubicBezTo>
                    <a:pt x="8471" y="12809"/>
                    <a:pt x="8470" y="12817"/>
                    <a:pt x="8473" y="12826"/>
                  </a:cubicBezTo>
                  <a:cubicBezTo>
                    <a:pt x="8476" y="12834"/>
                    <a:pt x="8481" y="12840"/>
                    <a:pt x="8489" y="12844"/>
                  </a:cubicBezTo>
                  <a:cubicBezTo>
                    <a:pt x="8498" y="12848"/>
                    <a:pt x="8506" y="12849"/>
                    <a:pt x="8515" y="12846"/>
                  </a:cubicBezTo>
                  <a:cubicBezTo>
                    <a:pt x="8524" y="12843"/>
                    <a:pt x="8530" y="12838"/>
                    <a:pt x="8534" y="12830"/>
                  </a:cubicBezTo>
                  <a:cubicBezTo>
                    <a:pt x="8538" y="12821"/>
                    <a:pt x="8539" y="12813"/>
                    <a:pt x="8536" y="12804"/>
                  </a:cubicBezTo>
                  <a:cubicBezTo>
                    <a:pt x="8532" y="12796"/>
                    <a:pt x="8527" y="12790"/>
                    <a:pt x="8518" y="12786"/>
                  </a:cubicBezTo>
                  <a:cubicBezTo>
                    <a:pt x="8510" y="12782"/>
                    <a:pt x="8502" y="12781"/>
                    <a:pt x="8494" y="12784"/>
                  </a:cubicBezTo>
                  <a:close/>
                  <a:moveTo>
                    <a:pt x="6885" y="17967"/>
                  </a:moveTo>
                  <a:lnTo>
                    <a:pt x="6758" y="18226"/>
                  </a:lnTo>
                  <a:lnTo>
                    <a:pt x="6797" y="18245"/>
                  </a:lnTo>
                  <a:lnTo>
                    <a:pt x="6849" y="18140"/>
                  </a:lnTo>
                  <a:lnTo>
                    <a:pt x="7081" y="18254"/>
                  </a:lnTo>
                  <a:lnTo>
                    <a:pt x="7194" y="18254"/>
                  </a:lnTo>
                  <a:lnTo>
                    <a:pt x="6871" y="18095"/>
                  </a:lnTo>
                  <a:lnTo>
                    <a:pt x="6923" y="17989"/>
                  </a:lnTo>
                  <a:lnTo>
                    <a:pt x="6885" y="17967"/>
                  </a:lnTo>
                  <a:close/>
                  <a:moveTo>
                    <a:pt x="9002" y="14585"/>
                  </a:moveTo>
                  <a:lnTo>
                    <a:pt x="9002" y="14530"/>
                  </a:lnTo>
                  <a:cubicBezTo>
                    <a:pt x="8993" y="14536"/>
                    <a:pt x="8984" y="14542"/>
                    <a:pt x="8973" y="14548"/>
                  </a:cubicBezTo>
                  <a:lnTo>
                    <a:pt x="8999" y="14586"/>
                  </a:lnTo>
                  <a:lnTo>
                    <a:pt x="9002" y="14585"/>
                  </a:lnTo>
                  <a:close/>
                  <a:moveTo>
                    <a:pt x="9002" y="14326"/>
                  </a:moveTo>
                  <a:lnTo>
                    <a:pt x="9002" y="14267"/>
                  </a:lnTo>
                  <a:cubicBezTo>
                    <a:pt x="8990" y="14266"/>
                    <a:pt x="8978" y="14267"/>
                    <a:pt x="8967" y="14270"/>
                  </a:cubicBezTo>
                  <a:cubicBezTo>
                    <a:pt x="8954" y="14274"/>
                    <a:pt x="8942" y="14279"/>
                    <a:pt x="8931" y="14287"/>
                  </a:cubicBezTo>
                  <a:cubicBezTo>
                    <a:pt x="8920" y="14294"/>
                    <a:pt x="8907" y="14305"/>
                    <a:pt x="8894" y="14320"/>
                  </a:cubicBezTo>
                  <a:lnTo>
                    <a:pt x="8857" y="14358"/>
                  </a:lnTo>
                  <a:cubicBezTo>
                    <a:pt x="8838" y="14377"/>
                    <a:pt x="8821" y="14390"/>
                    <a:pt x="8807" y="14395"/>
                  </a:cubicBezTo>
                  <a:cubicBezTo>
                    <a:pt x="8793" y="14401"/>
                    <a:pt x="8777" y="14399"/>
                    <a:pt x="8761" y="14391"/>
                  </a:cubicBezTo>
                  <a:cubicBezTo>
                    <a:pt x="8741" y="14382"/>
                    <a:pt x="8729" y="14367"/>
                    <a:pt x="8724" y="14348"/>
                  </a:cubicBezTo>
                  <a:cubicBezTo>
                    <a:pt x="8720" y="14328"/>
                    <a:pt x="8723" y="14306"/>
                    <a:pt x="8735" y="14282"/>
                  </a:cubicBezTo>
                  <a:cubicBezTo>
                    <a:pt x="8739" y="14273"/>
                    <a:pt x="8744" y="14266"/>
                    <a:pt x="8749" y="14259"/>
                  </a:cubicBezTo>
                  <a:cubicBezTo>
                    <a:pt x="8754" y="14252"/>
                    <a:pt x="8759" y="14246"/>
                    <a:pt x="8765" y="14240"/>
                  </a:cubicBezTo>
                  <a:cubicBezTo>
                    <a:pt x="8772" y="14233"/>
                    <a:pt x="8779" y="14227"/>
                    <a:pt x="8787" y="14221"/>
                  </a:cubicBezTo>
                  <a:cubicBezTo>
                    <a:pt x="8795" y="14216"/>
                    <a:pt x="8804" y="14209"/>
                    <a:pt x="8815" y="14203"/>
                  </a:cubicBezTo>
                  <a:lnTo>
                    <a:pt x="8792" y="14166"/>
                  </a:lnTo>
                  <a:cubicBezTo>
                    <a:pt x="8748" y="14191"/>
                    <a:pt x="8716" y="14224"/>
                    <a:pt x="8696" y="14265"/>
                  </a:cubicBezTo>
                  <a:cubicBezTo>
                    <a:pt x="8687" y="14284"/>
                    <a:pt x="8681" y="14303"/>
                    <a:pt x="8679" y="14321"/>
                  </a:cubicBezTo>
                  <a:cubicBezTo>
                    <a:pt x="8677" y="14339"/>
                    <a:pt x="8678" y="14357"/>
                    <a:pt x="8682" y="14372"/>
                  </a:cubicBezTo>
                  <a:cubicBezTo>
                    <a:pt x="8687" y="14388"/>
                    <a:pt x="8694" y="14403"/>
                    <a:pt x="8705" y="14415"/>
                  </a:cubicBezTo>
                  <a:cubicBezTo>
                    <a:pt x="8716" y="14428"/>
                    <a:pt x="8729" y="14439"/>
                    <a:pt x="8746" y="14447"/>
                  </a:cubicBezTo>
                  <a:cubicBezTo>
                    <a:pt x="8771" y="14459"/>
                    <a:pt x="8796" y="14462"/>
                    <a:pt x="8822" y="14454"/>
                  </a:cubicBezTo>
                  <a:cubicBezTo>
                    <a:pt x="8834" y="14450"/>
                    <a:pt x="8845" y="14444"/>
                    <a:pt x="8855" y="14436"/>
                  </a:cubicBezTo>
                  <a:cubicBezTo>
                    <a:pt x="8865" y="14428"/>
                    <a:pt x="8877" y="14417"/>
                    <a:pt x="8891" y="14401"/>
                  </a:cubicBezTo>
                  <a:lnTo>
                    <a:pt x="8922" y="14368"/>
                  </a:lnTo>
                  <a:cubicBezTo>
                    <a:pt x="8949" y="14339"/>
                    <a:pt x="8976" y="14325"/>
                    <a:pt x="9002" y="14326"/>
                  </a:cubicBezTo>
                  <a:close/>
                  <a:moveTo>
                    <a:pt x="9002" y="14162"/>
                  </a:moveTo>
                  <a:lnTo>
                    <a:pt x="9002" y="14098"/>
                  </a:lnTo>
                  <a:cubicBezTo>
                    <a:pt x="8992" y="14092"/>
                    <a:pt x="8984" y="14087"/>
                    <a:pt x="8976" y="14081"/>
                  </a:cubicBezTo>
                  <a:cubicBezTo>
                    <a:pt x="8961" y="14071"/>
                    <a:pt x="8948" y="14059"/>
                    <a:pt x="8938" y="14047"/>
                  </a:cubicBezTo>
                  <a:cubicBezTo>
                    <a:pt x="8921" y="14027"/>
                    <a:pt x="8910" y="14006"/>
                    <a:pt x="8907" y="13984"/>
                  </a:cubicBezTo>
                  <a:cubicBezTo>
                    <a:pt x="8903" y="13963"/>
                    <a:pt x="8907" y="13940"/>
                    <a:pt x="8918" y="13918"/>
                  </a:cubicBezTo>
                  <a:cubicBezTo>
                    <a:pt x="8925" y="13903"/>
                    <a:pt x="8934" y="13891"/>
                    <a:pt x="8943" y="13881"/>
                  </a:cubicBezTo>
                  <a:cubicBezTo>
                    <a:pt x="8953" y="13872"/>
                    <a:pt x="8965" y="13863"/>
                    <a:pt x="8979" y="13856"/>
                  </a:cubicBezTo>
                  <a:lnTo>
                    <a:pt x="8961" y="13816"/>
                  </a:lnTo>
                  <a:cubicBezTo>
                    <a:pt x="8944" y="13824"/>
                    <a:pt x="8929" y="13835"/>
                    <a:pt x="8915" y="13849"/>
                  </a:cubicBezTo>
                  <a:cubicBezTo>
                    <a:pt x="8902" y="13863"/>
                    <a:pt x="8890" y="13880"/>
                    <a:pt x="8881" y="13899"/>
                  </a:cubicBezTo>
                  <a:cubicBezTo>
                    <a:pt x="8869" y="13922"/>
                    <a:pt x="8863" y="13946"/>
                    <a:pt x="8864" y="13971"/>
                  </a:cubicBezTo>
                  <a:cubicBezTo>
                    <a:pt x="8864" y="13997"/>
                    <a:pt x="8869" y="14021"/>
                    <a:pt x="8880" y="14044"/>
                  </a:cubicBezTo>
                  <a:cubicBezTo>
                    <a:pt x="8891" y="14068"/>
                    <a:pt x="8907" y="14090"/>
                    <a:pt x="8927" y="14110"/>
                  </a:cubicBezTo>
                  <a:cubicBezTo>
                    <a:pt x="8948" y="14130"/>
                    <a:pt x="8973" y="14148"/>
                    <a:pt x="9002" y="14162"/>
                  </a:cubicBezTo>
                  <a:close/>
                  <a:moveTo>
                    <a:pt x="7417" y="17873"/>
                  </a:moveTo>
                  <a:lnTo>
                    <a:pt x="7377" y="17853"/>
                  </a:lnTo>
                  <a:lnTo>
                    <a:pt x="7292" y="18025"/>
                  </a:lnTo>
                  <a:lnTo>
                    <a:pt x="7149" y="17954"/>
                  </a:lnTo>
                  <a:lnTo>
                    <a:pt x="7215" y="17821"/>
                  </a:lnTo>
                  <a:lnTo>
                    <a:pt x="7174" y="17801"/>
                  </a:lnTo>
                  <a:lnTo>
                    <a:pt x="7109" y="17935"/>
                  </a:lnTo>
                  <a:lnTo>
                    <a:pt x="6980" y="17871"/>
                  </a:lnTo>
                  <a:lnTo>
                    <a:pt x="7059" y="17711"/>
                  </a:lnTo>
                  <a:lnTo>
                    <a:pt x="7023" y="17686"/>
                  </a:lnTo>
                  <a:lnTo>
                    <a:pt x="6918" y="17900"/>
                  </a:lnTo>
                  <a:lnTo>
                    <a:pt x="7309" y="18092"/>
                  </a:lnTo>
                  <a:lnTo>
                    <a:pt x="7417" y="17873"/>
                  </a:lnTo>
                  <a:close/>
                  <a:moveTo>
                    <a:pt x="7580" y="17542"/>
                  </a:moveTo>
                  <a:lnTo>
                    <a:pt x="7544" y="17546"/>
                  </a:lnTo>
                  <a:cubicBezTo>
                    <a:pt x="7527" y="17549"/>
                    <a:pt x="7509" y="17551"/>
                    <a:pt x="7491" y="17553"/>
                  </a:cubicBezTo>
                  <a:cubicBezTo>
                    <a:pt x="7472" y="17556"/>
                    <a:pt x="7454" y="17559"/>
                    <a:pt x="7438" y="17561"/>
                  </a:cubicBezTo>
                  <a:cubicBezTo>
                    <a:pt x="7421" y="17563"/>
                    <a:pt x="7410" y="17565"/>
                    <a:pt x="7403" y="17566"/>
                  </a:cubicBezTo>
                  <a:cubicBezTo>
                    <a:pt x="7393" y="17568"/>
                    <a:pt x="7382" y="17570"/>
                    <a:pt x="7370" y="17574"/>
                  </a:cubicBezTo>
                  <a:cubicBezTo>
                    <a:pt x="7358" y="17577"/>
                    <a:pt x="7348" y="17580"/>
                    <a:pt x="7340" y="17584"/>
                  </a:cubicBezTo>
                  <a:lnTo>
                    <a:pt x="7343" y="17578"/>
                  </a:lnTo>
                  <a:cubicBezTo>
                    <a:pt x="7350" y="17563"/>
                    <a:pt x="7355" y="17547"/>
                    <a:pt x="7356" y="17532"/>
                  </a:cubicBezTo>
                  <a:cubicBezTo>
                    <a:pt x="7357" y="17517"/>
                    <a:pt x="7355" y="17502"/>
                    <a:pt x="7350" y="17489"/>
                  </a:cubicBezTo>
                  <a:cubicBezTo>
                    <a:pt x="7345" y="17475"/>
                    <a:pt x="7338" y="17462"/>
                    <a:pt x="7327" y="17451"/>
                  </a:cubicBezTo>
                  <a:cubicBezTo>
                    <a:pt x="7316" y="17439"/>
                    <a:pt x="7302" y="17430"/>
                    <a:pt x="7286" y="17422"/>
                  </a:cubicBezTo>
                  <a:cubicBezTo>
                    <a:pt x="7276" y="17417"/>
                    <a:pt x="7266" y="17413"/>
                    <a:pt x="7256" y="17412"/>
                  </a:cubicBezTo>
                  <a:cubicBezTo>
                    <a:pt x="7247" y="17410"/>
                    <a:pt x="7238" y="17409"/>
                    <a:pt x="7229" y="17409"/>
                  </a:cubicBezTo>
                  <a:cubicBezTo>
                    <a:pt x="7220" y="17410"/>
                    <a:pt x="7212" y="17411"/>
                    <a:pt x="7205" y="17413"/>
                  </a:cubicBezTo>
                  <a:cubicBezTo>
                    <a:pt x="7198" y="17415"/>
                    <a:pt x="7191" y="17417"/>
                    <a:pt x="7185" y="17420"/>
                  </a:cubicBezTo>
                  <a:cubicBezTo>
                    <a:pt x="7179" y="17423"/>
                    <a:pt x="7173" y="17426"/>
                    <a:pt x="7167" y="17431"/>
                  </a:cubicBezTo>
                  <a:cubicBezTo>
                    <a:pt x="7161" y="17435"/>
                    <a:pt x="7155" y="17441"/>
                    <a:pt x="7149" y="17447"/>
                  </a:cubicBezTo>
                  <a:cubicBezTo>
                    <a:pt x="7143" y="17454"/>
                    <a:pt x="7137" y="17462"/>
                    <a:pt x="7131" y="17472"/>
                  </a:cubicBezTo>
                  <a:cubicBezTo>
                    <a:pt x="7125" y="17482"/>
                    <a:pt x="7118" y="17493"/>
                    <a:pt x="7112" y="17506"/>
                  </a:cubicBezTo>
                  <a:lnTo>
                    <a:pt x="7067" y="17598"/>
                  </a:lnTo>
                  <a:lnTo>
                    <a:pt x="7458" y="17790"/>
                  </a:lnTo>
                  <a:lnTo>
                    <a:pt x="7480" y="17744"/>
                  </a:lnTo>
                  <a:lnTo>
                    <a:pt x="7304" y="17657"/>
                  </a:lnTo>
                  <a:cubicBezTo>
                    <a:pt x="7309" y="17648"/>
                    <a:pt x="7315" y="17641"/>
                    <a:pt x="7321" y="17636"/>
                  </a:cubicBezTo>
                  <a:cubicBezTo>
                    <a:pt x="7327" y="17632"/>
                    <a:pt x="7337" y="17628"/>
                    <a:pt x="7351" y="17625"/>
                  </a:cubicBezTo>
                  <a:cubicBezTo>
                    <a:pt x="7374" y="17621"/>
                    <a:pt x="7396" y="17617"/>
                    <a:pt x="7416" y="17613"/>
                  </a:cubicBezTo>
                  <a:cubicBezTo>
                    <a:pt x="7437" y="17610"/>
                    <a:pt x="7456" y="17607"/>
                    <a:pt x="7474" y="17605"/>
                  </a:cubicBezTo>
                  <a:cubicBezTo>
                    <a:pt x="7491" y="17603"/>
                    <a:pt x="7506" y="17601"/>
                    <a:pt x="7519" y="17601"/>
                  </a:cubicBezTo>
                  <a:cubicBezTo>
                    <a:pt x="7533" y="17600"/>
                    <a:pt x="7543" y="17600"/>
                    <a:pt x="7551" y="17600"/>
                  </a:cubicBezTo>
                  <a:lnTo>
                    <a:pt x="7580" y="17542"/>
                  </a:lnTo>
                  <a:close/>
                  <a:moveTo>
                    <a:pt x="7294" y="17493"/>
                  </a:moveTo>
                  <a:cubicBezTo>
                    <a:pt x="7302" y="17501"/>
                    <a:pt x="7308" y="17510"/>
                    <a:pt x="7311" y="17519"/>
                  </a:cubicBezTo>
                  <a:cubicBezTo>
                    <a:pt x="7314" y="17530"/>
                    <a:pt x="7314" y="17542"/>
                    <a:pt x="7312" y="17555"/>
                  </a:cubicBezTo>
                  <a:cubicBezTo>
                    <a:pt x="7310" y="17567"/>
                    <a:pt x="7304" y="17582"/>
                    <a:pt x="7296" y="17600"/>
                  </a:cubicBezTo>
                  <a:lnTo>
                    <a:pt x="7275" y="17643"/>
                  </a:lnTo>
                  <a:lnTo>
                    <a:pt x="7129" y="17571"/>
                  </a:lnTo>
                  <a:lnTo>
                    <a:pt x="7152" y="17525"/>
                  </a:lnTo>
                  <a:cubicBezTo>
                    <a:pt x="7157" y="17514"/>
                    <a:pt x="7162" y="17505"/>
                    <a:pt x="7167" y="17498"/>
                  </a:cubicBezTo>
                  <a:cubicBezTo>
                    <a:pt x="7172" y="17491"/>
                    <a:pt x="7178" y="17485"/>
                    <a:pt x="7184" y="17480"/>
                  </a:cubicBezTo>
                  <a:cubicBezTo>
                    <a:pt x="7194" y="17471"/>
                    <a:pt x="7206" y="17466"/>
                    <a:pt x="7221" y="17464"/>
                  </a:cubicBezTo>
                  <a:cubicBezTo>
                    <a:pt x="7235" y="17462"/>
                    <a:pt x="7249" y="17464"/>
                    <a:pt x="7262" y="17471"/>
                  </a:cubicBezTo>
                  <a:cubicBezTo>
                    <a:pt x="7275" y="17477"/>
                    <a:pt x="7285" y="17484"/>
                    <a:pt x="7294" y="17493"/>
                  </a:cubicBezTo>
                  <a:close/>
                  <a:moveTo>
                    <a:pt x="7792" y="17330"/>
                  </a:moveTo>
                  <a:lnTo>
                    <a:pt x="7243" y="17060"/>
                  </a:lnTo>
                  <a:lnTo>
                    <a:pt x="7224" y="17098"/>
                  </a:lnTo>
                  <a:lnTo>
                    <a:pt x="7773" y="17368"/>
                  </a:lnTo>
                  <a:lnTo>
                    <a:pt x="7792" y="17330"/>
                  </a:lnTo>
                  <a:close/>
                  <a:moveTo>
                    <a:pt x="7637" y="16439"/>
                  </a:moveTo>
                  <a:lnTo>
                    <a:pt x="7614" y="16485"/>
                  </a:lnTo>
                  <a:lnTo>
                    <a:pt x="7817" y="16645"/>
                  </a:lnTo>
                  <a:cubicBezTo>
                    <a:pt x="7830" y="16656"/>
                    <a:pt x="7843" y="16666"/>
                    <a:pt x="7856" y="16675"/>
                  </a:cubicBezTo>
                  <a:cubicBezTo>
                    <a:pt x="7868" y="16685"/>
                    <a:pt x="7880" y="16694"/>
                    <a:pt x="7890" y="16701"/>
                  </a:cubicBezTo>
                  <a:cubicBezTo>
                    <a:pt x="7900" y="16709"/>
                    <a:pt x="7909" y="16715"/>
                    <a:pt x="7915" y="16720"/>
                  </a:cubicBezTo>
                  <a:cubicBezTo>
                    <a:pt x="7920" y="16723"/>
                    <a:pt x="7924" y="16726"/>
                    <a:pt x="7925" y="16727"/>
                  </a:cubicBezTo>
                  <a:cubicBezTo>
                    <a:pt x="7923" y="16727"/>
                    <a:pt x="7920" y="16726"/>
                    <a:pt x="7916" y="16724"/>
                  </a:cubicBezTo>
                  <a:cubicBezTo>
                    <a:pt x="7910" y="16722"/>
                    <a:pt x="7901" y="16720"/>
                    <a:pt x="7891" y="16717"/>
                  </a:cubicBezTo>
                  <a:cubicBezTo>
                    <a:pt x="7881" y="16714"/>
                    <a:pt x="7869" y="16711"/>
                    <a:pt x="7856" y="16707"/>
                  </a:cubicBezTo>
                  <a:cubicBezTo>
                    <a:pt x="7843" y="16704"/>
                    <a:pt x="7828" y="16700"/>
                    <a:pt x="7812" y="16696"/>
                  </a:cubicBezTo>
                  <a:lnTo>
                    <a:pt x="7543" y="16631"/>
                  </a:lnTo>
                  <a:lnTo>
                    <a:pt x="7517" y="16684"/>
                  </a:lnTo>
                  <a:lnTo>
                    <a:pt x="7725" y="16851"/>
                  </a:lnTo>
                  <a:cubicBezTo>
                    <a:pt x="7735" y="16859"/>
                    <a:pt x="7746" y="16867"/>
                    <a:pt x="7758" y="16876"/>
                  </a:cubicBezTo>
                  <a:cubicBezTo>
                    <a:pt x="7769" y="16885"/>
                    <a:pt x="7780" y="16893"/>
                    <a:pt x="7790" y="16901"/>
                  </a:cubicBezTo>
                  <a:cubicBezTo>
                    <a:pt x="7800" y="16908"/>
                    <a:pt x="7808" y="16915"/>
                    <a:pt x="7815" y="16920"/>
                  </a:cubicBezTo>
                  <a:cubicBezTo>
                    <a:pt x="7823" y="16925"/>
                    <a:pt x="7826" y="16928"/>
                    <a:pt x="7827" y="16929"/>
                  </a:cubicBezTo>
                  <a:cubicBezTo>
                    <a:pt x="7825" y="16928"/>
                    <a:pt x="7820" y="16927"/>
                    <a:pt x="7812" y="16924"/>
                  </a:cubicBezTo>
                  <a:cubicBezTo>
                    <a:pt x="7803" y="16921"/>
                    <a:pt x="7793" y="16918"/>
                    <a:pt x="7781" y="16914"/>
                  </a:cubicBezTo>
                  <a:cubicBezTo>
                    <a:pt x="7768" y="16910"/>
                    <a:pt x="7755" y="16907"/>
                    <a:pt x="7740" y="16902"/>
                  </a:cubicBezTo>
                  <a:cubicBezTo>
                    <a:pt x="7726" y="16898"/>
                    <a:pt x="7712" y="16895"/>
                    <a:pt x="7698" y="16891"/>
                  </a:cubicBezTo>
                  <a:lnTo>
                    <a:pt x="7445" y="16828"/>
                  </a:lnTo>
                  <a:lnTo>
                    <a:pt x="7421" y="16879"/>
                  </a:lnTo>
                  <a:lnTo>
                    <a:pt x="7857" y="16979"/>
                  </a:lnTo>
                  <a:lnTo>
                    <a:pt x="7887" y="16918"/>
                  </a:lnTo>
                  <a:lnTo>
                    <a:pt x="7690" y="16762"/>
                  </a:lnTo>
                  <a:cubicBezTo>
                    <a:pt x="7678" y="16753"/>
                    <a:pt x="7667" y="16744"/>
                    <a:pt x="7656" y="16736"/>
                  </a:cubicBezTo>
                  <a:cubicBezTo>
                    <a:pt x="7645" y="16727"/>
                    <a:pt x="7635" y="16719"/>
                    <a:pt x="7625" y="16713"/>
                  </a:cubicBezTo>
                  <a:cubicBezTo>
                    <a:pt x="7616" y="16706"/>
                    <a:pt x="7609" y="16701"/>
                    <a:pt x="7603" y="16697"/>
                  </a:cubicBezTo>
                  <a:cubicBezTo>
                    <a:pt x="7597" y="16693"/>
                    <a:pt x="7594" y="16690"/>
                    <a:pt x="7593" y="16690"/>
                  </a:cubicBezTo>
                  <a:cubicBezTo>
                    <a:pt x="7595" y="16690"/>
                    <a:pt x="7599" y="16692"/>
                    <a:pt x="7606" y="16694"/>
                  </a:cubicBezTo>
                  <a:cubicBezTo>
                    <a:pt x="7612" y="16696"/>
                    <a:pt x="7621" y="16698"/>
                    <a:pt x="7632" y="16701"/>
                  </a:cubicBezTo>
                  <a:cubicBezTo>
                    <a:pt x="7642" y="16704"/>
                    <a:pt x="7654" y="16708"/>
                    <a:pt x="7668" y="16711"/>
                  </a:cubicBezTo>
                  <a:cubicBezTo>
                    <a:pt x="7682" y="16715"/>
                    <a:pt x="7697" y="16719"/>
                    <a:pt x="7713" y="16723"/>
                  </a:cubicBezTo>
                  <a:lnTo>
                    <a:pt x="7954" y="16782"/>
                  </a:lnTo>
                  <a:lnTo>
                    <a:pt x="7984" y="16721"/>
                  </a:lnTo>
                  <a:lnTo>
                    <a:pt x="7637" y="16439"/>
                  </a:lnTo>
                  <a:close/>
                  <a:moveTo>
                    <a:pt x="8175" y="16333"/>
                  </a:moveTo>
                  <a:lnTo>
                    <a:pt x="8134" y="16313"/>
                  </a:lnTo>
                  <a:lnTo>
                    <a:pt x="8049" y="16485"/>
                  </a:lnTo>
                  <a:lnTo>
                    <a:pt x="7906" y="16415"/>
                  </a:lnTo>
                  <a:lnTo>
                    <a:pt x="7972" y="16281"/>
                  </a:lnTo>
                  <a:lnTo>
                    <a:pt x="7932" y="16261"/>
                  </a:lnTo>
                  <a:lnTo>
                    <a:pt x="7866" y="16395"/>
                  </a:lnTo>
                  <a:lnTo>
                    <a:pt x="7738" y="16332"/>
                  </a:lnTo>
                  <a:lnTo>
                    <a:pt x="7817" y="16172"/>
                  </a:lnTo>
                  <a:lnTo>
                    <a:pt x="7781" y="16147"/>
                  </a:lnTo>
                  <a:lnTo>
                    <a:pt x="7676" y="16360"/>
                  </a:lnTo>
                  <a:lnTo>
                    <a:pt x="8067" y="16553"/>
                  </a:lnTo>
                  <a:lnTo>
                    <a:pt x="8175" y="16333"/>
                  </a:lnTo>
                  <a:close/>
                  <a:moveTo>
                    <a:pt x="8191" y="15929"/>
                  </a:moveTo>
                  <a:cubicBezTo>
                    <a:pt x="8176" y="15928"/>
                    <a:pt x="8162" y="15929"/>
                    <a:pt x="8149" y="15932"/>
                  </a:cubicBezTo>
                  <a:cubicBezTo>
                    <a:pt x="8136" y="15935"/>
                    <a:pt x="8124" y="15941"/>
                    <a:pt x="8113" y="15948"/>
                  </a:cubicBezTo>
                  <a:cubicBezTo>
                    <a:pt x="8102" y="15956"/>
                    <a:pt x="8090" y="15967"/>
                    <a:pt x="8076" y="15982"/>
                  </a:cubicBezTo>
                  <a:lnTo>
                    <a:pt x="8039" y="16020"/>
                  </a:lnTo>
                  <a:cubicBezTo>
                    <a:pt x="8020" y="16039"/>
                    <a:pt x="8004" y="16051"/>
                    <a:pt x="7989" y="16057"/>
                  </a:cubicBezTo>
                  <a:cubicBezTo>
                    <a:pt x="7975" y="16062"/>
                    <a:pt x="7960" y="16061"/>
                    <a:pt x="7944" y="16053"/>
                  </a:cubicBezTo>
                  <a:cubicBezTo>
                    <a:pt x="7924" y="16043"/>
                    <a:pt x="7911" y="16029"/>
                    <a:pt x="7906" y="16009"/>
                  </a:cubicBezTo>
                  <a:cubicBezTo>
                    <a:pt x="7902" y="15990"/>
                    <a:pt x="7906" y="15968"/>
                    <a:pt x="7918" y="15943"/>
                  </a:cubicBezTo>
                  <a:cubicBezTo>
                    <a:pt x="7922" y="15935"/>
                    <a:pt x="7926" y="15927"/>
                    <a:pt x="7931" y="15921"/>
                  </a:cubicBezTo>
                  <a:cubicBezTo>
                    <a:pt x="7936" y="15914"/>
                    <a:pt x="7941" y="15907"/>
                    <a:pt x="7948" y="15901"/>
                  </a:cubicBezTo>
                  <a:cubicBezTo>
                    <a:pt x="7954" y="15895"/>
                    <a:pt x="7961" y="15889"/>
                    <a:pt x="7969" y="15883"/>
                  </a:cubicBezTo>
                  <a:cubicBezTo>
                    <a:pt x="7977" y="15877"/>
                    <a:pt x="7987" y="15871"/>
                    <a:pt x="7998" y="15865"/>
                  </a:cubicBezTo>
                  <a:lnTo>
                    <a:pt x="7974" y="15827"/>
                  </a:lnTo>
                  <a:cubicBezTo>
                    <a:pt x="7931" y="15852"/>
                    <a:pt x="7899" y="15886"/>
                    <a:pt x="7878" y="15927"/>
                  </a:cubicBezTo>
                  <a:cubicBezTo>
                    <a:pt x="7869" y="15946"/>
                    <a:pt x="7863" y="15965"/>
                    <a:pt x="7861" y="15983"/>
                  </a:cubicBezTo>
                  <a:cubicBezTo>
                    <a:pt x="7859" y="16001"/>
                    <a:pt x="7860" y="16018"/>
                    <a:pt x="7865" y="16034"/>
                  </a:cubicBezTo>
                  <a:cubicBezTo>
                    <a:pt x="7869" y="16050"/>
                    <a:pt x="7877" y="16064"/>
                    <a:pt x="7887" y="16077"/>
                  </a:cubicBezTo>
                  <a:cubicBezTo>
                    <a:pt x="7898" y="16090"/>
                    <a:pt x="7912" y="16100"/>
                    <a:pt x="7928" y="16109"/>
                  </a:cubicBezTo>
                  <a:cubicBezTo>
                    <a:pt x="7954" y="16121"/>
                    <a:pt x="7979" y="16123"/>
                    <a:pt x="8004" y="16116"/>
                  </a:cubicBezTo>
                  <a:cubicBezTo>
                    <a:pt x="8016" y="16112"/>
                    <a:pt x="8027" y="16106"/>
                    <a:pt x="8037" y="16098"/>
                  </a:cubicBezTo>
                  <a:cubicBezTo>
                    <a:pt x="8047" y="16090"/>
                    <a:pt x="8059" y="16078"/>
                    <a:pt x="8073" y="16063"/>
                  </a:cubicBezTo>
                  <a:lnTo>
                    <a:pt x="8105" y="16030"/>
                  </a:lnTo>
                  <a:cubicBezTo>
                    <a:pt x="8142" y="15990"/>
                    <a:pt x="8177" y="15978"/>
                    <a:pt x="8212" y="15995"/>
                  </a:cubicBezTo>
                  <a:cubicBezTo>
                    <a:pt x="8235" y="16007"/>
                    <a:pt x="8249" y="16025"/>
                    <a:pt x="8254" y="16051"/>
                  </a:cubicBezTo>
                  <a:cubicBezTo>
                    <a:pt x="8256" y="16062"/>
                    <a:pt x="8257" y="16073"/>
                    <a:pt x="8255" y="16084"/>
                  </a:cubicBezTo>
                  <a:cubicBezTo>
                    <a:pt x="8253" y="16094"/>
                    <a:pt x="8248" y="16107"/>
                    <a:pt x="8241" y="16121"/>
                  </a:cubicBezTo>
                  <a:cubicBezTo>
                    <a:pt x="8231" y="16141"/>
                    <a:pt x="8219" y="16158"/>
                    <a:pt x="8206" y="16172"/>
                  </a:cubicBezTo>
                  <a:cubicBezTo>
                    <a:pt x="8192" y="16187"/>
                    <a:pt x="8175" y="16199"/>
                    <a:pt x="8155" y="16210"/>
                  </a:cubicBezTo>
                  <a:lnTo>
                    <a:pt x="8182" y="16248"/>
                  </a:lnTo>
                  <a:cubicBezTo>
                    <a:pt x="8204" y="16235"/>
                    <a:pt x="8222" y="16219"/>
                    <a:pt x="8238" y="16202"/>
                  </a:cubicBezTo>
                  <a:cubicBezTo>
                    <a:pt x="8254" y="16184"/>
                    <a:pt x="8267" y="16164"/>
                    <a:pt x="8279" y="16140"/>
                  </a:cubicBezTo>
                  <a:cubicBezTo>
                    <a:pt x="8288" y="16122"/>
                    <a:pt x="8294" y="16105"/>
                    <a:pt x="8297" y="16090"/>
                  </a:cubicBezTo>
                  <a:cubicBezTo>
                    <a:pt x="8300" y="16074"/>
                    <a:pt x="8300" y="16058"/>
                    <a:pt x="8298" y="16041"/>
                  </a:cubicBezTo>
                  <a:cubicBezTo>
                    <a:pt x="8296" y="16018"/>
                    <a:pt x="8288" y="15998"/>
                    <a:pt x="8276" y="15980"/>
                  </a:cubicBezTo>
                  <a:cubicBezTo>
                    <a:pt x="8264" y="15963"/>
                    <a:pt x="8249" y="15949"/>
                    <a:pt x="8231" y="15940"/>
                  </a:cubicBezTo>
                  <a:cubicBezTo>
                    <a:pt x="8219" y="15934"/>
                    <a:pt x="8205" y="15931"/>
                    <a:pt x="8191" y="15929"/>
                  </a:cubicBezTo>
                  <a:close/>
                  <a:moveTo>
                    <a:pt x="8108" y="15482"/>
                  </a:moveTo>
                  <a:lnTo>
                    <a:pt x="7981" y="15741"/>
                  </a:lnTo>
                  <a:lnTo>
                    <a:pt x="8020" y="15760"/>
                  </a:lnTo>
                  <a:lnTo>
                    <a:pt x="8071" y="15655"/>
                  </a:lnTo>
                  <a:lnTo>
                    <a:pt x="8423" y="15828"/>
                  </a:lnTo>
                  <a:lnTo>
                    <a:pt x="8445" y="15783"/>
                  </a:lnTo>
                  <a:lnTo>
                    <a:pt x="8094" y="15610"/>
                  </a:lnTo>
                  <a:lnTo>
                    <a:pt x="8146" y="15504"/>
                  </a:lnTo>
                  <a:lnTo>
                    <a:pt x="8108" y="15482"/>
                  </a:lnTo>
                  <a:close/>
                  <a:moveTo>
                    <a:pt x="8242" y="15209"/>
                  </a:moveTo>
                  <a:lnTo>
                    <a:pt x="8141" y="15415"/>
                  </a:lnTo>
                  <a:lnTo>
                    <a:pt x="8532" y="15607"/>
                  </a:lnTo>
                  <a:lnTo>
                    <a:pt x="8555" y="15560"/>
                  </a:lnTo>
                  <a:lnTo>
                    <a:pt x="8369" y="15469"/>
                  </a:lnTo>
                  <a:lnTo>
                    <a:pt x="8431" y="15343"/>
                  </a:lnTo>
                  <a:lnTo>
                    <a:pt x="8393" y="15325"/>
                  </a:lnTo>
                  <a:lnTo>
                    <a:pt x="8331" y="15450"/>
                  </a:lnTo>
                  <a:lnTo>
                    <a:pt x="8203" y="15387"/>
                  </a:lnTo>
                  <a:lnTo>
                    <a:pt x="8277" y="15236"/>
                  </a:lnTo>
                  <a:lnTo>
                    <a:pt x="8242" y="15209"/>
                  </a:lnTo>
                  <a:close/>
                  <a:moveTo>
                    <a:pt x="8789" y="15084"/>
                  </a:moveTo>
                  <a:lnTo>
                    <a:pt x="8335" y="15021"/>
                  </a:lnTo>
                  <a:lnTo>
                    <a:pt x="8305" y="15082"/>
                  </a:lnTo>
                  <a:lnTo>
                    <a:pt x="8631" y="15405"/>
                  </a:lnTo>
                  <a:lnTo>
                    <a:pt x="8655" y="15358"/>
                  </a:lnTo>
                  <a:lnTo>
                    <a:pt x="8553" y="15261"/>
                  </a:lnTo>
                  <a:lnTo>
                    <a:pt x="8625" y="15115"/>
                  </a:lnTo>
                  <a:lnTo>
                    <a:pt x="8763" y="15137"/>
                  </a:lnTo>
                  <a:lnTo>
                    <a:pt x="8789" y="15084"/>
                  </a:lnTo>
                  <a:close/>
                  <a:moveTo>
                    <a:pt x="8581" y="15108"/>
                  </a:moveTo>
                  <a:lnTo>
                    <a:pt x="8521" y="15230"/>
                  </a:lnTo>
                  <a:lnTo>
                    <a:pt x="8360" y="15074"/>
                  </a:lnTo>
                  <a:lnTo>
                    <a:pt x="8581" y="15108"/>
                  </a:lnTo>
                  <a:close/>
                  <a:moveTo>
                    <a:pt x="8227" y="15052"/>
                  </a:moveTo>
                  <a:cubicBezTo>
                    <a:pt x="8218" y="15055"/>
                    <a:pt x="8212" y="15061"/>
                    <a:pt x="8208" y="15069"/>
                  </a:cubicBezTo>
                  <a:cubicBezTo>
                    <a:pt x="8204" y="15077"/>
                    <a:pt x="8203" y="15085"/>
                    <a:pt x="8206" y="15094"/>
                  </a:cubicBezTo>
                  <a:cubicBezTo>
                    <a:pt x="8209" y="15102"/>
                    <a:pt x="8215" y="15108"/>
                    <a:pt x="8223" y="15112"/>
                  </a:cubicBezTo>
                  <a:cubicBezTo>
                    <a:pt x="8231" y="15117"/>
                    <a:pt x="8239" y="15117"/>
                    <a:pt x="8248" y="15114"/>
                  </a:cubicBezTo>
                  <a:cubicBezTo>
                    <a:pt x="8257" y="15112"/>
                    <a:pt x="8263" y="15106"/>
                    <a:pt x="8267" y="15098"/>
                  </a:cubicBezTo>
                  <a:cubicBezTo>
                    <a:pt x="8271" y="15089"/>
                    <a:pt x="8272" y="15081"/>
                    <a:pt x="8269" y="15073"/>
                  </a:cubicBezTo>
                  <a:cubicBezTo>
                    <a:pt x="8266" y="15064"/>
                    <a:pt x="8260" y="15058"/>
                    <a:pt x="8251" y="15054"/>
                  </a:cubicBezTo>
                  <a:cubicBezTo>
                    <a:pt x="8244" y="15050"/>
                    <a:pt x="8235" y="15049"/>
                    <a:pt x="8227" y="15052"/>
                  </a:cubicBezTo>
                  <a:close/>
                  <a:moveTo>
                    <a:pt x="8285" y="14935"/>
                  </a:moveTo>
                  <a:cubicBezTo>
                    <a:pt x="8276" y="14938"/>
                    <a:pt x="8270" y="14943"/>
                    <a:pt x="8266" y="14952"/>
                  </a:cubicBezTo>
                  <a:cubicBezTo>
                    <a:pt x="8262" y="14960"/>
                    <a:pt x="8261" y="14968"/>
                    <a:pt x="8264" y="14976"/>
                  </a:cubicBezTo>
                  <a:cubicBezTo>
                    <a:pt x="8267" y="14985"/>
                    <a:pt x="8272" y="14991"/>
                    <a:pt x="8280" y="14995"/>
                  </a:cubicBezTo>
                  <a:cubicBezTo>
                    <a:pt x="8289" y="14999"/>
                    <a:pt x="8297" y="15000"/>
                    <a:pt x="8306" y="14997"/>
                  </a:cubicBezTo>
                  <a:cubicBezTo>
                    <a:pt x="8315" y="14994"/>
                    <a:pt x="8321" y="14989"/>
                    <a:pt x="8325" y="14980"/>
                  </a:cubicBezTo>
                  <a:cubicBezTo>
                    <a:pt x="8329" y="14972"/>
                    <a:pt x="8330" y="14964"/>
                    <a:pt x="8327" y="14955"/>
                  </a:cubicBezTo>
                  <a:cubicBezTo>
                    <a:pt x="8323" y="14947"/>
                    <a:pt x="8318" y="14940"/>
                    <a:pt x="8309" y="14936"/>
                  </a:cubicBezTo>
                  <a:cubicBezTo>
                    <a:pt x="8301" y="14932"/>
                    <a:pt x="8293" y="14932"/>
                    <a:pt x="8285" y="14935"/>
                  </a:cubicBezTo>
                  <a:close/>
                  <a:moveTo>
                    <a:pt x="8885" y="14790"/>
                  </a:moveTo>
                  <a:lnTo>
                    <a:pt x="8809" y="14944"/>
                  </a:lnTo>
                  <a:lnTo>
                    <a:pt x="8458" y="14771"/>
                  </a:lnTo>
                  <a:lnTo>
                    <a:pt x="8435" y="14818"/>
                  </a:lnTo>
                  <a:lnTo>
                    <a:pt x="8826" y="15010"/>
                  </a:lnTo>
                  <a:lnTo>
                    <a:pt x="8922" y="14815"/>
                  </a:lnTo>
                  <a:lnTo>
                    <a:pt x="8885" y="14790"/>
                  </a:lnTo>
                  <a:close/>
                  <a:moveTo>
                    <a:pt x="8984" y="14688"/>
                  </a:moveTo>
                  <a:lnTo>
                    <a:pt x="8593" y="14496"/>
                  </a:lnTo>
                  <a:lnTo>
                    <a:pt x="8571" y="14541"/>
                  </a:lnTo>
                  <a:lnTo>
                    <a:pt x="8962" y="14734"/>
                  </a:lnTo>
                  <a:lnTo>
                    <a:pt x="8984" y="14688"/>
                  </a:lnTo>
                  <a:close/>
                  <a:moveTo>
                    <a:pt x="8151" y="18107"/>
                  </a:moveTo>
                  <a:lnTo>
                    <a:pt x="7760" y="17915"/>
                  </a:lnTo>
                  <a:lnTo>
                    <a:pt x="7737" y="17961"/>
                  </a:lnTo>
                  <a:lnTo>
                    <a:pt x="7901" y="18042"/>
                  </a:lnTo>
                  <a:lnTo>
                    <a:pt x="7820" y="18207"/>
                  </a:lnTo>
                  <a:lnTo>
                    <a:pt x="7656" y="18126"/>
                  </a:lnTo>
                  <a:lnTo>
                    <a:pt x="7634" y="18172"/>
                  </a:lnTo>
                  <a:lnTo>
                    <a:pt x="7801" y="18254"/>
                  </a:lnTo>
                  <a:lnTo>
                    <a:pt x="7916" y="18254"/>
                  </a:lnTo>
                  <a:lnTo>
                    <a:pt x="7858" y="18225"/>
                  </a:lnTo>
                  <a:lnTo>
                    <a:pt x="7939" y="18061"/>
                  </a:lnTo>
                  <a:lnTo>
                    <a:pt x="8128" y="18154"/>
                  </a:lnTo>
                  <a:lnTo>
                    <a:pt x="8151" y="18107"/>
                  </a:lnTo>
                  <a:close/>
                  <a:moveTo>
                    <a:pt x="9002" y="16378"/>
                  </a:moveTo>
                  <a:lnTo>
                    <a:pt x="9002" y="16376"/>
                  </a:lnTo>
                  <a:lnTo>
                    <a:pt x="8612" y="16184"/>
                  </a:lnTo>
                  <a:lnTo>
                    <a:pt x="8589" y="16230"/>
                  </a:lnTo>
                  <a:lnTo>
                    <a:pt x="8752" y="16311"/>
                  </a:lnTo>
                  <a:lnTo>
                    <a:pt x="8671" y="16476"/>
                  </a:lnTo>
                  <a:lnTo>
                    <a:pt x="8508" y="16395"/>
                  </a:lnTo>
                  <a:lnTo>
                    <a:pt x="8486" y="16441"/>
                  </a:lnTo>
                  <a:lnTo>
                    <a:pt x="8876" y="16633"/>
                  </a:lnTo>
                  <a:lnTo>
                    <a:pt x="8899" y="16587"/>
                  </a:lnTo>
                  <a:lnTo>
                    <a:pt x="8710" y="16494"/>
                  </a:lnTo>
                  <a:lnTo>
                    <a:pt x="8791" y="16330"/>
                  </a:lnTo>
                  <a:lnTo>
                    <a:pt x="8980" y="16423"/>
                  </a:lnTo>
                  <a:lnTo>
                    <a:pt x="9002" y="16378"/>
                  </a:lnTo>
                  <a:close/>
                  <a:moveTo>
                    <a:pt x="9002" y="16233"/>
                  </a:moveTo>
                  <a:lnTo>
                    <a:pt x="9002" y="16175"/>
                  </a:lnTo>
                  <a:lnTo>
                    <a:pt x="8899" y="16124"/>
                  </a:lnTo>
                  <a:lnTo>
                    <a:pt x="8965" y="15990"/>
                  </a:lnTo>
                  <a:lnTo>
                    <a:pt x="8924" y="15970"/>
                  </a:lnTo>
                  <a:lnTo>
                    <a:pt x="8858" y="16104"/>
                  </a:lnTo>
                  <a:lnTo>
                    <a:pt x="8730" y="16041"/>
                  </a:lnTo>
                  <a:lnTo>
                    <a:pt x="8809" y="15881"/>
                  </a:lnTo>
                  <a:lnTo>
                    <a:pt x="8773" y="15856"/>
                  </a:lnTo>
                  <a:lnTo>
                    <a:pt x="8668" y="16069"/>
                  </a:lnTo>
                  <a:lnTo>
                    <a:pt x="9002" y="16233"/>
                  </a:lnTo>
                  <a:close/>
                  <a:moveTo>
                    <a:pt x="9002" y="15858"/>
                  </a:moveTo>
                  <a:lnTo>
                    <a:pt x="9002" y="15800"/>
                  </a:lnTo>
                  <a:lnTo>
                    <a:pt x="8840" y="15721"/>
                  </a:lnTo>
                  <a:lnTo>
                    <a:pt x="8817" y="15767"/>
                  </a:lnTo>
                  <a:lnTo>
                    <a:pt x="9002" y="15858"/>
                  </a:lnTo>
                  <a:close/>
                  <a:moveTo>
                    <a:pt x="8315" y="17773"/>
                  </a:moveTo>
                  <a:lnTo>
                    <a:pt x="8275" y="17753"/>
                  </a:lnTo>
                  <a:lnTo>
                    <a:pt x="8190" y="17925"/>
                  </a:lnTo>
                  <a:lnTo>
                    <a:pt x="8047" y="17855"/>
                  </a:lnTo>
                  <a:lnTo>
                    <a:pt x="8113" y="17721"/>
                  </a:lnTo>
                  <a:lnTo>
                    <a:pt x="8073" y="17701"/>
                  </a:lnTo>
                  <a:lnTo>
                    <a:pt x="8007" y="17835"/>
                  </a:lnTo>
                  <a:lnTo>
                    <a:pt x="7879" y="17772"/>
                  </a:lnTo>
                  <a:lnTo>
                    <a:pt x="7957" y="17612"/>
                  </a:lnTo>
                  <a:lnTo>
                    <a:pt x="7922" y="17587"/>
                  </a:lnTo>
                  <a:lnTo>
                    <a:pt x="7817" y="17800"/>
                  </a:lnTo>
                  <a:lnTo>
                    <a:pt x="8207" y="17993"/>
                  </a:lnTo>
                  <a:lnTo>
                    <a:pt x="8315" y="17773"/>
                  </a:lnTo>
                  <a:close/>
                  <a:moveTo>
                    <a:pt x="8232" y="16956"/>
                  </a:moveTo>
                  <a:lnTo>
                    <a:pt x="8209" y="17003"/>
                  </a:lnTo>
                  <a:lnTo>
                    <a:pt x="8412" y="17163"/>
                  </a:lnTo>
                  <a:cubicBezTo>
                    <a:pt x="8425" y="17173"/>
                    <a:pt x="8438" y="17183"/>
                    <a:pt x="8450" y="17192"/>
                  </a:cubicBezTo>
                  <a:cubicBezTo>
                    <a:pt x="8463" y="17202"/>
                    <a:pt x="8474" y="17211"/>
                    <a:pt x="8485" y="17218"/>
                  </a:cubicBezTo>
                  <a:cubicBezTo>
                    <a:pt x="8495" y="17226"/>
                    <a:pt x="8503" y="17232"/>
                    <a:pt x="8510" y="17237"/>
                  </a:cubicBezTo>
                  <a:cubicBezTo>
                    <a:pt x="8515" y="17241"/>
                    <a:pt x="8518" y="17243"/>
                    <a:pt x="8520" y="17244"/>
                  </a:cubicBezTo>
                  <a:cubicBezTo>
                    <a:pt x="8518" y="17244"/>
                    <a:pt x="8515" y="17243"/>
                    <a:pt x="8510" y="17241"/>
                  </a:cubicBezTo>
                  <a:cubicBezTo>
                    <a:pt x="8504" y="17239"/>
                    <a:pt x="8496" y="17237"/>
                    <a:pt x="8486" y="17234"/>
                  </a:cubicBezTo>
                  <a:cubicBezTo>
                    <a:pt x="8476" y="17231"/>
                    <a:pt x="8464" y="17228"/>
                    <a:pt x="8451" y="17225"/>
                  </a:cubicBezTo>
                  <a:cubicBezTo>
                    <a:pt x="8437" y="17221"/>
                    <a:pt x="8423" y="17217"/>
                    <a:pt x="8407" y="17213"/>
                  </a:cubicBezTo>
                  <a:lnTo>
                    <a:pt x="8138" y="17148"/>
                  </a:lnTo>
                  <a:lnTo>
                    <a:pt x="8111" y="17201"/>
                  </a:lnTo>
                  <a:lnTo>
                    <a:pt x="8320" y="17368"/>
                  </a:lnTo>
                  <a:cubicBezTo>
                    <a:pt x="8330" y="17376"/>
                    <a:pt x="8341" y="17384"/>
                    <a:pt x="8352" y="17393"/>
                  </a:cubicBezTo>
                  <a:cubicBezTo>
                    <a:pt x="8364" y="17402"/>
                    <a:pt x="8375" y="17410"/>
                    <a:pt x="8385" y="17418"/>
                  </a:cubicBezTo>
                  <a:cubicBezTo>
                    <a:pt x="8395" y="17425"/>
                    <a:pt x="8403" y="17432"/>
                    <a:pt x="8410" y="17437"/>
                  </a:cubicBezTo>
                  <a:cubicBezTo>
                    <a:pt x="8417" y="17442"/>
                    <a:pt x="8421" y="17445"/>
                    <a:pt x="8422" y="17446"/>
                  </a:cubicBezTo>
                  <a:cubicBezTo>
                    <a:pt x="8420" y="17445"/>
                    <a:pt x="8415" y="17444"/>
                    <a:pt x="8407" y="17441"/>
                  </a:cubicBezTo>
                  <a:cubicBezTo>
                    <a:pt x="8398" y="17438"/>
                    <a:pt x="8388" y="17435"/>
                    <a:pt x="8375" y="17431"/>
                  </a:cubicBezTo>
                  <a:cubicBezTo>
                    <a:pt x="8363" y="17427"/>
                    <a:pt x="8350" y="17424"/>
                    <a:pt x="8335" y="17420"/>
                  </a:cubicBezTo>
                  <a:cubicBezTo>
                    <a:pt x="8321" y="17415"/>
                    <a:pt x="8307" y="17412"/>
                    <a:pt x="8293" y="17408"/>
                  </a:cubicBezTo>
                  <a:lnTo>
                    <a:pt x="8040" y="17346"/>
                  </a:lnTo>
                  <a:lnTo>
                    <a:pt x="8016" y="17396"/>
                  </a:lnTo>
                  <a:lnTo>
                    <a:pt x="8452" y="17496"/>
                  </a:lnTo>
                  <a:lnTo>
                    <a:pt x="8482" y="17435"/>
                  </a:lnTo>
                  <a:lnTo>
                    <a:pt x="8285" y="17279"/>
                  </a:lnTo>
                  <a:cubicBezTo>
                    <a:pt x="8273" y="17270"/>
                    <a:pt x="8262" y="17261"/>
                    <a:pt x="8250" y="17253"/>
                  </a:cubicBezTo>
                  <a:cubicBezTo>
                    <a:pt x="8239" y="17244"/>
                    <a:pt x="8229" y="17237"/>
                    <a:pt x="8220" y="17230"/>
                  </a:cubicBezTo>
                  <a:cubicBezTo>
                    <a:pt x="8211" y="17223"/>
                    <a:pt x="8204" y="17218"/>
                    <a:pt x="8198" y="17214"/>
                  </a:cubicBezTo>
                  <a:cubicBezTo>
                    <a:pt x="8192" y="17210"/>
                    <a:pt x="8189" y="17208"/>
                    <a:pt x="8188" y="17207"/>
                  </a:cubicBezTo>
                  <a:cubicBezTo>
                    <a:pt x="8189" y="17207"/>
                    <a:pt x="8194" y="17209"/>
                    <a:pt x="8200" y="17211"/>
                  </a:cubicBezTo>
                  <a:cubicBezTo>
                    <a:pt x="8207" y="17213"/>
                    <a:pt x="8216" y="17215"/>
                    <a:pt x="8226" y="17218"/>
                  </a:cubicBezTo>
                  <a:cubicBezTo>
                    <a:pt x="8237" y="17221"/>
                    <a:pt x="8249" y="17225"/>
                    <a:pt x="8263" y="17228"/>
                  </a:cubicBezTo>
                  <a:cubicBezTo>
                    <a:pt x="8277" y="17232"/>
                    <a:pt x="8292" y="17236"/>
                    <a:pt x="8308" y="17240"/>
                  </a:cubicBezTo>
                  <a:lnTo>
                    <a:pt x="8549" y="17299"/>
                  </a:lnTo>
                  <a:lnTo>
                    <a:pt x="8579" y="17238"/>
                  </a:lnTo>
                  <a:lnTo>
                    <a:pt x="8232" y="16956"/>
                  </a:lnTo>
                  <a:close/>
                  <a:moveTo>
                    <a:pt x="8684" y="17024"/>
                  </a:moveTo>
                  <a:lnTo>
                    <a:pt x="8293" y="16832"/>
                  </a:lnTo>
                  <a:lnTo>
                    <a:pt x="8271" y="16877"/>
                  </a:lnTo>
                  <a:lnTo>
                    <a:pt x="8661" y="17070"/>
                  </a:lnTo>
                  <a:lnTo>
                    <a:pt x="8684" y="17024"/>
                  </a:lnTo>
                  <a:close/>
                  <a:moveTo>
                    <a:pt x="8800" y="16689"/>
                  </a:moveTo>
                  <a:lnTo>
                    <a:pt x="8724" y="16843"/>
                  </a:lnTo>
                  <a:lnTo>
                    <a:pt x="8372" y="16670"/>
                  </a:lnTo>
                  <a:lnTo>
                    <a:pt x="8349" y="16717"/>
                  </a:lnTo>
                  <a:lnTo>
                    <a:pt x="8740" y="16909"/>
                  </a:lnTo>
                  <a:lnTo>
                    <a:pt x="8836" y="16715"/>
                  </a:lnTo>
                  <a:lnTo>
                    <a:pt x="8800" y="16689"/>
                  </a:lnTo>
                  <a:close/>
                  <a:moveTo>
                    <a:pt x="9002" y="17661"/>
                  </a:moveTo>
                  <a:lnTo>
                    <a:pt x="9002" y="17587"/>
                  </a:lnTo>
                  <a:cubicBezTo>
                    <a:pt x="8992" y="17594"/>
                    <a:pt x="8982" y="17604"/>
                    <a:pt x="8970" y="17617"/>
                  </a:cubicBezTo>
                  <a:lnTo>
                    <a:pt x="8933" y="17655"/>
                  </a:lnTo>
                  <a:cubicBezTo>
                    <a:pt x="8914" y="17674"/>
                    <a:pt x="8898" y="17687"/>
                    <a:pt x="8883" y="17692"/>
                  </a:cubicBezTo>
                  <a:cubicBezTo>
                    <a:pt x="8869" y="17698"/>
                    <a:pt x="8853" y="17696"/>
                    <a:pt x="8838" y="17689"/>
                  </a:cubicBezTo>
                  <a:cubicBezTo>
                    <a:pt x="8817" y="17679"/>
                    <a:pt x="8805" y="17664"/>
                    <a:pt x="8800" y="17645"/>
                  </a:cubicBezTo>
                  <a:cubicBezTo>
                    <a:pt x="8796" y="17625"/>
                    <a:pt x="8799" y="17603"/>
                    <a:pt x="8812" y="17579"/>
                  </a:cubicBezTo>
                  <a:cubicBezTo>
                    <a:pt x="8816" y="17570"/>
                    <a:pt x="8820" y="17563"/>
                    <a:pt x="8825" y="17556"/>
                  </a:cubicBezTo>
                  <a:cubicBezTo>
                    <a:pt x="8830" y="17549"/>
                    <a:pt x="8835" y="17543"/>
                    <a:pt x="8842" y="17537"/>
                  </a:cubicBezTo>
                  <a:cubicBezTo>
                    <a:pt x="8848" y="17530"/>
                    <a:pt x="8855" y="17524"/>
                    <a:pt x="8863" y="17519"/>
                  </a:cubicBezTo>
                  <a:cubicBezTo>
                    <a:pt x="8871" y="17513"/>
                    <a:pt x="8881" y="17506"/>
                    <a:pt x="8891" y="17500"/>
                  </a:cubicBezTo>
                  <a:lnTo>
                    <a:pt x="8868" y="17463"/>
                  </a:lnTo>
                  <a:cubicBezTo>
                    <a:pt x="8824" y="17488"/>
                    <a:pt x="8793" y="17521"/>
                    <a:pt x="8772" y="17562"/>
                  </a:cubicBezTo>
                  <a:cubicBezTo>
                    <a:pt x="8763" y="17581"/>
                    <a:pt x="8757" y="17600"/>
                    <a:pt x="8755" y="17618"/>
                  </a:cubicBezTo>
                  <a:cubicBezTo>
                    <a:pt x="8753" y="17637"/>
                    <a:pt x="8754" y="17654"/>
                    <a:pt x="8758" y="17669"/>
                  </a:cubicBezTo>
                  <a:cubicBezTo>
                    <a:pt x="8763" y="17685"/>
                    <a:pt x="8770" y="17700"/>
                    <a:pt x="8781" y="17712"/>
                  </a:cubicBezTo>
                  <a:cubicBezTo>
                    <a:pt x="8792" y="17725"/>
                    <a:pt x="8806" y="17736"/>
                    <a:pt x="8822" y="17744"/>
                  </a:cubicBezTo>
                  <a:cubicBezTo>
                    <a:pt x="8847" y="17756"/>
                    <a:pt x="8873" y="17759"/>
                    <a:pt x="8898" y="17751"/>
                  </a:cubicBezTo>
                  <a:cubicBezTo>
                    <a:pt x="8910" y="17747"/>
                    <a:pt x="8921" y="17741"/>
                    <a:pt x="8931" y="17733"/>
                  </a:cubicBezTo>
                  <a:cubicBezTo>
                    <a:pt x="8941" y="17725"/>
                    <a:pt x="8953" y="17714"/>
                    <a:pt x="8967" y="17699"/>
                  </a:cubicBezTo>
                  <a:lnTo>
                    <a:pt x="8998" y="17665"/>
                  </a:lnTo>
                  <a:lnTo>
                    <a:pt x="9002" y="17661"/>
                  </a:ln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 sz="1012"/>
            </a:p>
          </p:txBody>
        </p:sp>
      </p:grpSp>
    </p:spTree>
    <p:extLst>
      <p:ext uri="{BB962C8B-B14F-4D97-AF65-F5344CB8AC3E}">
        <p14:creationId xmlns:p14="http://schemas.microsoft.com/office/powerpoint/2010/main" val="13253659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20" userDrawn="1">
          <p15:clr>
            <a:srgbClr val="FBAE40"/>
          </p15:clr>
        </p15:guide>
        <p15:guide id="2" orient="horz" pos="2024" userDrawn="1">
          <p15:clr>
            <a:srgbClr val="FBAE40"/>
          </p15:clr>
        </p15:guide>
        <p15:guide id="3" pos="404" userDrawn="1">
          <p15:clr>
            <a:srgbClr val="FBAE40"/>
          </p15:clr>
        </p15:guide>
        <p15:guide id="4" pos="1326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Hintergrundbild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7985"/>
            <a:ext cx="12192000" cy="565405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59989" y="1943101"/>
            <a:ext cx="3645848" cy="224805"/>
          </a:xfrm>
          <a:solidFill>
            <a:schemeClr val="bg2"/>
          </a:solidFill>
        </p:spPr>
        <p:txBody>
          <a:bodyPr wrap="none" lIns="90000" tIns="0" rIns="90000" anchor="t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61" b="1" i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 dirty="0"/>
              <a:t>Titel der Präsentation erste Zei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58403" y="3590925"/>
            <a:ext cx="2337565" cy="1800000"/>
          </a:xfrm>
        </p:spPr>
        <p:txBody>
          <a:bodyPr/>
          <a:lstStyle>
            <a:lvl1pPr marL="0" indent="0" algn="l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787" b="0">
                <a:solidFill>
                  <a:schemeClr val="bg1"/>
                </a:solidFill>
              </a:defRPr>
            </a:lvl1pPr>
            <a:lvl2pPr marL="0" indent="0" algn="l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787" b="0">
                <a:solidFill>
                  <a:schemeClr val="bg1"/>
                </a:solidFill>
              </a:defRPr>
            </a:lvl2pPr>
            <a:lvl3pPr marL="0" indent="0" algn="l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787" b="0">
                <a:solidFill>
                  <a:schemeClr val="bg1"/>
                </a:solidFill>
              </a:defRPr>
            </a:lvl3pPr>
            <a:lvl4pPr marL="0" indent="0" algn="l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787" b="0">
                <a:solidFill>
                  <a:schemeClr val="bg1"/>
                </a:solidFill>
              </a:defRPr>
            </a:lvl4pPr>
            <a:lvl5pPr marL="0" indent="0" algn="l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787" b="0">
                <a:solidFill>
                  <a:schemeClr val="bg1"/>
                </a:solidFill>
              </a:defRPr>
            </a:lvl5pPr>
            <a:lvl6pPr marL="0" indent="0" algn="l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787" b="0">
                <a:solidFill>
                  <a:schemeClr val="bg1"/>
                </a:solidFill>
              </a:defRPr>
            </a:lvl6pPr>
            <a:lvl7pPr marL="0" indent="0" algn="l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787" b="0">
                <a:solidFill>
                  <a:schemeClr val="bg1"/>
                </a:solidFill>
              </a:defRPr>
            </a:lvl7pPr>
            <a:lvl8pPr marL="0" indent="0" algn="l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787" b="0">
                <a:solidFill>
                  <a:schemeClr val="bg1"/>
                </a:solidFill>
              </a:defRPr>
            </a:lvl8pPr>
            <a:lvl9pPr marL="0" indent="0" algn="l">
              <a:lnSpc>
                <a:spcPct val="113000"/>
              </a:lnSpc>
              <a:spcBef>
                <a:spcPts val="0"/>
              </a:spcBef>
              <a:buFont typeface="Arial" panose="020B0604020202020204" pitchFamily="34" charset="0"/>
              <a:buNone/>
              <a:defRPr sz="787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Untertitel bzw. Kurzbeschreibung der Präsentation</a:t>
            </a:r>
          </a:p>
          <a:p>
            <a:pPr lvl="0"/>
            <a:br>
              <a:rPr lang="de-DE" dirty="0"/>
            </a:br>
            <a:r>
              <a:rPr lang="de-DE" dirty="0"/>
              <a:t>Name: der Referentin / des Referenten</a:t>
            </a:r>
          </a:p>
        </p:txBody>
      </p:sp>
      <p:sp>
        <p:nvSpPr>
          <p:cNvPr id="12" name="Linie"/>
          <p:cNvSpPr/>
          <p:nvPr userDrawn="1"/>
        </p:nvSpPr>
        <p:spPr>
          <a:xfrm>
            <a:off x="0" y="5642640"/>
            <a:ext cx="12192000" cy="27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12"/>
          </a:p>
        </p:txBody>
      </p:sp>
      <p:sp>
        <p:nvSpPr>
          <p:cNvPr id="26" name="Vertikaler Textplatzhalter 2"/>
          <p:cNvSpPr>
            <a:spLocks noGrp="1"/>
          </p:cNvSpPr>
          <p:nvPr>
            <p:ph type="body" orient="vert" idx="17" hasCustomPrompt="1"/>
          </p:nvPr>
        </p:nvSpPr>
        <p:spPr>
          <a:xfrm>
            <a:off x="359991" y="2410589"/>
            <a:ext cx="2376269" cy="224805"/>
          </a:xfrm>
          <a:solidFill>
            <a:schemeClr val="bg2"/>
          </a:solidFill>
        </p:spPr>
        <p:txBody>
          <a:bodyPr vert="horz" wrap="none" lIns="90000" rIns="9000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461" b="1" i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defRPr sz="1798" b="1" i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defRPr sz="1798" b="1" i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defRPr sz="1798" b="1" i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defRPr sz="1798" b="1" i="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defRPr sz="1798" b="1" i="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defRPr sz="1798" b="1" i="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defRPr sz="1798" b="1" i="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defRPr sz="1798" b="1" i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Zwei Zeilen einfügen</a:t>
            </a:r>
          </a:p>
        </p:txBody>
      </p:sp>
      <p:grpSp>
        <p:nvGrpSpPr>
          <p:cNvPr id="27" name="Regieanweisungen"/>
          <p:cNvGrpSpPr/>
          <p:nvPr userDrawn="1"/>
        </p:nvGrpSpPr>
        <p:grpSpPr>
          <a:xfrm>
            <a:off x="-2050600" y="-468000"/>
            <a:ext cx="14709415" cy="7776000"/>
            <a:chOff x="-2052737" y="-468000"/>
            <a:chExt cx="14724737" cy="7776000"/>
          </a:xfrm>
        </p:grpSpPr>
        <p:sp>
          <p:nvSpPr>
            <p:cNvPr id="28" name="Hilfslinien"/>
            <p:cNvSpPr txBox="1"/>
            <p:nvPr userDrawn="1"/>
          </p:nvSpPr>
          <p:spPr>
            <a:xfrm rot="10800000" flipH="1" flipV="1">
              <a:off x="360000" y="-468000"/>
              <a:ext cx="11484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77421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506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  <a:r>
                <a:rPr kumimoji="0" lang="de-DE" sz="506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Haken bei Führungslinien setzen</a:t>
              </a:r>
            </a:p>
          </p:txBody>
        </p:sp>
        <p:cxnSp>
          <p:nvCxnSpPr>
            <p:cNvPr id="29" name="Linie"/>
            <p:cNvCxnSpPr/>
            <p:nvPr userDrawn="1"/>
          </p:nvCxnSpPr>
          <p:spPr>
            <a:xfrm>
              <a:off x="11844000" y="-46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Linie"/>
            <p:cNvCxnSpPr/>
            <p:nvPr userDrawn="1"/>
          </p:nvCxnSpPr>
          <p:spPr>
            <a:xfrm>
              <a:off x="360000" y="-46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Linie"/>
            <p:cNvCxnSpPr/>
            <p:nvPr userDrawn="1"/>
          </p:nvCxnSpPr>
          <p:spPr>
            <a:xfrm>
              <a:off x="11844000" y="694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Linie"/>
            <p:cNvCxnSpPr/>
            <p:nvPr userDrawn="1"/>
          </p:nvCxnSpPr>
          <p:spPr>
            <a:xfrm>
              <a:off x="360000" y="694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Zurücksetzen"/>
            <p:cNvSpPr txBox="1"/>
            <p:nvPr userDrawn="1"/>
          </p:nvSpPr>
          <p:spPr>
            <a:xfrm rot="10800000" flipH="1" flipV="1">
              <a:off x="-2052737" y="648000"/>
              <a:ext cx="1944737" cy="54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506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506" b="0" baseline="0" dirty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506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46" name="Layoutwechsel"/>
            <p:cNvSpPr txBox="1"/>
            <p:nvPr userDrawn="1"/>
          </p:nvSpPr>
          <p:spPr>
            <a:xfrm rot="10800000" flipH="1" flipV="1">
              <a:off x="-2052737" y="1"/>
              <a:ext cx="1944737" cy="54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506" b="0" baseline="0" dirty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506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506" b="0" baseline="0" dirty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r" defTabSz="678722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506" b="1" baseline="0" dirty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cxnSp>
          <p:nvCxnSpPr>
            <p:cNvPr id="47" name="Linie"/>
            <p:cNvCxnSpPr/>
            <p:nvPr userDrawn="1"/>
          </p:nvCxnSpPr>
          <p:spPr>
            <a:xfrm>
              <a:off x="12312000" y="2284414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Linie"/>
            <p:cNvCxnSpPr/>
            <p:nvPr userDrawn="1"/>
          </p:nvCxnSpPr>
          <p:spPr>
            <a:xfrm>
              <a:off x="12312000" y="5742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Linie"/>
            <p:cNvCxnSpPr/>
            <p:nvPr userDrawn="1"/>
          </p:nvCxnSpPr>
          <p:spPr>
            <a:xfrm>
              <a:off x="-467999" y="2284414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Linie"/>
            <p:cNvCxnSpPr/>
            <p:nvPr userDrawn="1"/>
          </p:nvCxnSpPr>
          <p:spPr>
            <a:xfrm>
              <a:off x="-468000" y="5742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Linie"/>
            <p:cNvCxnSpPr/>
            <p:nvPr userDrawn="1"/>
          </p:nvCxnSpPr>
          <p:spPr>
            <a:xfrm>
              <a:off x="-467999" y="1440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Linie"/>
            <p:cNvCxnSpPr/>
            <p:nvPr userDrawn="1"/>
          </p:nvCxnSpPr>
          <p:spPr>
            <a:xfrm>
              <a:off x="12312000" y="1438599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3" name="Datumsplatzhalter 3"/>
          <p:cNvSpPr>
            <a:spLocks noGrp="1"/>
          </p:cNvSpPr>
          <p:nvPr>
            <p:ph type="dt" sz="half" idx="14"/>
          </p:nvPr>
        </p:nvSpPr>
        <p:spPr>
          <a:xfrm>
            <a:off x="3596255" y="-720000"/>
            <a:ext cx="8235421" cy="360000"/>
          </a:xfrm>
          <a:prstGeom prst="rect">
            <a:avLst/>
          </a:prstGeom>
        </p:spPr>
        <p:txBody>
          <a:bodyPr/>
          <a:lstStyle/>
          <a:p>
            <a:fld id="{6CA95F9C-43BA-47B5-B0BD-3B78EBA43D14}" type="datetime1">
              <a:rPr lang="de-DE" smtClean="0"/>
              <a:t>16.04.25</a:t>
            </a:fld>
            <a:endParaRPr lang="de-DE" dirty="0"/>
          </a:p>
        </p:txBody>
      </p:sp>
      <p:sp>
        <p:nvSpPr>
          <p:cNvPr id="54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9625" y="7020000"/>
            <a:ext cx="8271384" cy="360000"/>
          </a:xfrm>
        </p:spPr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5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004537" y="7020000"/>
            <a:ext cx="827139" cy="360000"/>
          </a:xfrm>
        </p:spPr>
        <p:txBody>
          <a:bodyPr/>
          <a:lstStyle/>
          <a:p>
            <a:fld id="{6C8FC03C-C266-4645-ABC5-645062898383}" type="slidenum">
              <a:rPr lang="de-DE" smtClean="0"/>
              <a:pPr/>
              <a:t>‹#›</a:t>
            </a:fld>
            <a:r>
              <a:rPr lang="de-DE" dirty="0"/>
              <a:t> </a:t>
            </a:r>
            <a:endParaRPr lang="de-DE" sz="787" dirty="0"/>
          </a:p>
        </p:txBody>
      </p:sp>
      <p:sp>
        <p:nvSpPr>
          <p:cNvPr id="57" name="Logo"/>
          <p:cNvSpPr>
            <a:spLocks noChangeAspect="1" noEditPoints="1"/>
          </p:cNvSpPr>
          <p:nvPr userDrawn="1"/>
        </p:nvSpPr>
        <p:spPr bwMode="auto">
          <a:xfrm>
            <a:off x="359627" y="304199"/>
            <a:ext cx="2697191" cy="779760"/>
          </a:xfrm>
          <a:custGeom>
            <a:avLst/>
            <a:gdLst>
              <a:gd name="T0" fmla="*/ 6185 w 6233"/>
              <a:gd name="T1" fmla="*/ 1609 h 1800"/>
              <a:gd name="T2" fmla="*/ 6094 w 6233"/>
              <a:gd name="T3" fmla="*/ 1565 h 1800"/>
              <a:gd name="T4" fmla="*/ 6094 w 6233"/>
              <a:gd name="T5" fmla="*/ 1795 h 1800"/>
              <a:gd name="T6" fmla="*/ 6233 w 6233"/>
              <a:gd name="T7" fmla="*/ 1795 h 1800"/>
              <a:gd name="T8" fmla="*/ 6219 w 6233"/>
              <a:gd name="T9" fmla="*/ 1609 h 1800"/>
              <a:gd name="T10" fmla="*/ 5799 w 6233"/>
              <a:gd name="T11" fmla="*/ 1539 h 1800"/>
              <a:gd name="T12" fmla="*/ 5831 w 6233"/>
              <a:gd name="T13" fmla="*/ 1769 h 1800"/>
              <a:gd name="T14" fmla="*/ 5831 w 6233"/>
              <a:gd name="T15" fmla="*/ 1648 h 1800"/>
              <a:gd name="T16" fmla="*/ 5698 w 6233"/>
              <a:gd name="T17" fmla="*/ 1539 h 1800"/>
              <a:gd name="T18" fmla="*/ 5592 w 6233"/>
              <a:gd name="T19" fmla="*/ 1795 h 1800"/>
              <a:gd name="T20" fmla="*/ 5698 w 6233"/>
              <a:gd name="T21" fmla="*/ 1539 h 1800"/>
              <a:gd name="T22" fmla="*/ 5385 w 6233"/>
              <a:gd name="T23" fmla="*/ 1784 h 1800"/>
              <a:gd name="T24" fmla="*/ 5326 w 6233"/>
              <a:gd name="T25" fmla="*/ 1642 h 1800"/>
              <a:gd name="T26" fmla="*/ 5415 w 6233"/>
              <a:gd name="T27" fmla="*/ 1558 h 1800"/>
              <a:gd name="T28" fmla="*/ 5311 w 6233"/>
              <a:gd name="T29" fmla="*/ 1672 h 1800"/>
              <a:gd name="T30" fmla="*/ 5324 w 6233"/>
              <a:gd name="T31" fmla="*/ 1775 h 1800"/>
              <a:gd name="T32" fmla="*/ 4632 w 6233"/>
              <a:gd name="T33" fmla="*/ 1723 h 1800"/>
              <a:gd name="T34" fmla="*/ 4811 w 6233"/>
              <a:gd name="T35" fmla="*/ 1721 h 1800"/>
              <a:gd name="T36" fmla="*/ 4769 w 6233"/>
              <a:gd name="T37" fmla="*/ 1757 h 1800"/>
              <a:gd name="T38" fmla="*/ 4664 w 6233"/>
              <a:gd name="T39" fmla="*/ 1539 h 1800"/>
              <a:gd name="T40" fmla="*/ 4762 w 6233"/>
              <a:gd name="T41" fmla="*/ 1523 h 1800"/>
              <a:gd name="T42" fmla="*/ 4681 w 6233"/>
              <a:gd name="T43" fmla="*/ 1484 h 1800"/>
              <a:gd name="T44" fmla="*/ 4256 w 6233"/>
              <a:gd name="T45" fmla="*/ 1795 h 1800"/>
              <a:gd name="T46" fmla="*/ 4318 w 6233"/>
              <a:gd name="T47" fmla="*/ 1613 h 1800"/>
              <a:gd name="T48" fmla="*/ 4467 w 6233"/>
              <a:gd name="T49" fmla="*/ 1564 h 1800"/>
              <a:gd name="T50" fmla="*/ 4494 w 6233"/>
              <a:gd name="T51" fmla="*/ 1539 h 1800"/>
              <a:gd name="T52" fmla="*/ 4375 w 6233"/>
              <a:gd name="T53" fmla="*/ 1706 h 1800"/>
              <a:gd name="T54" fmla="*/ 0 w 6233"/>
              <a:gd name="T55" fmla="*/ 1662 h 1800"/>
              <a:gd name="T56" fmla="*/ 3798 w 6233"/>
              <a:gd name="T57" fmla="*/ 1103 h 1800"/>
              <a:gd name="T58" fmla="*/ 3798 w 6233"/>
              <a:gd name="T59" fmla="*/ 1103 h 1800"/>
              <a:gd name="T60" fmla="*/ 0 w 6233"/>
              <a:gd name="T61" fmla="*/ 727 h 1800"/>
              <a:gd name="T62" fmla="*/ 1929 w 6233"/>
              <a:gd name="T63" fmla="*/ 0 h 1800"/>
              <a:gd name="T64" fmla="*/ 2026 w 6233"/>
              <a:gd name="T65" fmla="*/ 254 h 1800"/>
              <a:gd name="T66" fmla="*/ 1685 w 6233"/>
              <a:gd name="T67" fmla="*/ 598 h 1800"/>
              <a:gd name="T68" fmla="*/ 1685 w 6233"/>
              <a:gd name="T69" fmla="*/ 598 h 1800"/>
              <a:gd name="T70" fmla="*/ 2323 w 6233"/>
              <a:gd name="T71" fmla="*/ 727 h 1800"/>
              <a:gd name="T72" fmla="*/ 4779 w 6233"/>
              <a:gd name="T73" fmla="*/ 727 h 1800"/>
              <a:gd name="T74" fmla="*/ 4609 w 6233"/>
              <a:gd name="T75" fmla="*/ 727 h 1800"/>
              <a:gd name="T76" fmla="*/ 4351 w 6233"/>
              <a:gd name="T77" fmla="*/ 973 h 1800"/>
              <a:gd name="T78" fmla="*/ 4456 w 6233"/>
              <a:gd name="T79" fmla="*/ 1356 h 1800"/>
              <a:gd name="T80" fmla="*/ 4623 w 6233"/>
              <a:gd name="T81" fmla="*/ 1356 h 1800"/>
              <a:gd name="T82" fmla="*/ 4943 w 6233"/>
              <a:gd name="T83" fmla="*/ 1795 h 1800"/>
              <a:gd name="T84" fmla="*/ 5002 w 6233"/>
              <a:gd name="T85" fmla="*/ 1638 h 1800"/>
              <a:gd name="T86" fmla="*/ 5090 w 6233"/>
              <a:gd name="T87" fmla="*/ 1539 h 1800"/>
              <a:gd name="T88" fmla="*/ 4980 w 6233"/>
              <a:gd name="T89" fmla="*/ 1539 h 1800"/>
              <a:gd name="T90" fmla="*/ 5523 w 6233"/>
              <a:gd name="T91" fmla="*/ 964 h 1800"/>
              <a:gd name="T92" fmla="*/ 5268 w 6233"/>
              <a:gd name="T93" fmla="*/ 727 h 1800"/>
              <a:gd name="T94" fmla="*/ 5093 w 6233"/>
              <a:gd name="T95" fmla="*/ 727 h 1800"/>
              <a:gd name="T96" fmla="*/ 5304 w 6233"/>
              <a:gd name="T97" fmla="*/ 1100 h 1800"/>
              <a:gd name="T98" fmla="*/ 5556 w 6233"/>
              <a:gd name="T99" fmla="*/ 1356 h 1800"/>
              <a:gd name="T100" fmla="*/ 6106 w 6233"/>
              <a:gd name="T101" fmla="*/ 1126 h 1800"/>
              <a:gd name="T102" fmla="*/ 5913 w 6233"/>
              <a:gd name="T103" fmla="*/ 1137 h 1800"/>
              <a:gd name="T104" fmla="*/ 5812 w 6233"/>
              <a:gd name="T105" fmla="*/ 1279 h 1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6233" h="1800">
                <a:moveTo>
                  <a:pt x="6094" y="1565"/>
                </a:moveTo>
                <a:lnTo>
                  <a:pt x="6125" y="1565"/>
                </a:lnTo>
                <a:cubicBezTo>
                  <a:pt x="6140" y="1565"/>
                  <a:pt x="6150" y="1567"/>
                  <a:pt x="6159" y="1570"/>
                </a:cubicBezTo>
                <a:cubicBezTo>
                  <a:pt x="6174" y="1576"/>
                  <a:pt x="6185" y="1592"/>
                  <a:pt x="6185" y="1609"/>
                </a:cubicBezTo>
                <a:cubicBezTo>
                  <a:pt x="6185" y="1626"/>
                  <a:pt x="6181" y="1639"/>
                  <a:pt x="6172" y="1647"/>
                </a:cubicBezTo>
                <a:cubicBezTo>
                  <a:pt x="6161" y="1656"/>
                  <a:pt x="6147" y="1660"/>
                  <a:pt x="6123" y="1660"/>
                </a:cubicBezTo>
                <a:lnTo>
                  <a:pt x="6094" y="1660"/>
                </a:lnTo>
                <a:lnTo>
                  <a:pt x="6094" y="1565"/>
                </a:lnTo>
                <a:close/>
                <a:moveTo>
                  <a:pt x="6124" y="1539"/>
                </a:moveTo>
                <a:lnTo>
                  <a:pt x="6062" y="1539"/>
                </a:lnTo>
                <a:lnTo>
                  <a:pt x="6062" y="1795"/>
                </a:lnTo>
                <a:lnTo>
                  <a:pt x="6094" y="1795"/>
                </a:lnTo>
                <a:lnTo>
                  <a:pt x="6094" y="1679"/>
                </a:lnTo>
                <a:cubicBezTo>
                  <a:pt x="6107" y="1680"/>
                  <a:pt x="6113" y="1683"/>
                  <a:pt x="6124" y="1696"/>
                </a:cubicBezTo>
                <a:cubicBezTo>
                  <a:pt x="6159" y="1739"/>
                  <a:pt x="6185" y="1778"/>
                  <a:pt x="6193" y="1795"/>
                </a:cubicBezTo>
                <a:lnTo>
                  <a:pt x="6233" y="1795"/>
                </a:lnTo>
                <a:cubicBezTo>
                  <a:pt x="6233" y="1795"/>
                  <a:pt x="6182" y="1723"/>
                  <a:pt x="6171" y="1708"/>
                </a:cubicBezTo>
                <a:cubicBezTo>
                  <a:pt x="6165" y="1701"/>
                  <a:pt x="6156" y="1689"/>
                  <a:pt x="6144" y="1679"/>
                </a:cubicBezTo>
                <a:lnTo>
                  <a:pt x="6148" y="1679"/>
                </a:lnTo>
                <a:cubicBezTo>
                  <a:pt x="6191" y="1679"/>
                  <a:pt x="6219" y="1651"/>
                  <a:pt x="6219" y="1609"/>
                </a:cubicBezTo>
                <a:cubicBezTo>
                  <a:pt x="6219" y="1582"/>
                  <a:pt x="6205" y="1565"/>
                  <a:pt x="6193" y="1555"/>
                </a:cubicBezTo>
                <a:cubicBezTo>
                  <a:pt x="6180" y="1545"/>
                  <a:pt x="6161" y="1539"/>
                  <a:pt x="6124" y="1539"/>
                </a:cubicBezTo>
                <a:close/>
                <a:moveTo>
                  <a:pt x="5946" y="1539"/>
                </a:moveTo>
                <a:lnTo>
                  <a:pt x="5799" y="1539"/>
                </a:lnTo>
                <a:lnTo>
                  <a:pt x="5799" y="1795"/>
                </a:lnTo>
                <a:lnTo>
                  <a:pt x="5950" y="1795"/>
                </a:lnTo>
                <a:lnTo>
                  <a:pt x="5950" y="1769"/>
                </a:lnTo>
                <a:lnTo>
                  <a:pt x="5831" y="1769"/>
                </a:lnTo>
                <a:lnTo>
                  <a:pt x="5831" y="1675"/>
                </a:lnTo>
                <a:lnTo>
                  <a:pt x="5924" y="1675"/>
                </a:lnTo>
                <a:lnTo>
                  <a:pt x="5924" y="1648"/>
                </a:lnTo>
                <a:lnTo>
                  <a:pt x="5831" y="1648"/>
                </a:lnTo>
                <a:lnTo>
                  <a:pt x="5831" y="1564"/>
                </a:lnTo>
                <a:lnTo>
                  <a:pt x="5942" y="1564"/>
                </a:lnTo>
                <a:lnTo>
                  <a:pt x="5946" y="1539"/>
                </a:lnTo>
                <a:close/>
                <a:moveTo>
                  <a:pt x="5698" y="1539"/>
                </a:moveTo>
                <a:lnTo>
                  <a:pt x="5519" y="1539"/>
                </a:lnTo>
                <a:lnTo>
                  <a:pt x="5519" y="1565"/>
                </a:lnTo>
                <a:lnTo>
                  <a:pt x="5592" y="1565"/>
                </a:lnTo>
                <a:lnTo>
                  <a:pt x="5592" y="1795"/>
                </a:lnTo>
                <a:lnTo>
                  <a:pt x="5623" y="1795"/>
                </a:lnTo>
                <a:lnTo>
                  <a:pt x="5623" y="1565"/>
                </a:lnTo>
                <a:lnTo>
                  <a:pt x="5696" y="1565"/>
                </a:lnTo>
                <a:lnTo>
                  <a:pt x="5698" y="1539"/>
                </a:lnTo>
                <a:close/>
                <a:moveTo>
                  <a:pt x="5252" y="1753"/>
                </a:moveTo>
                <a:lnTo>
                  <a:pt x="5238" y="1777"/>
                </a:lnTo>
                <a:cubicBezTo>
                  <a:pt x="5264" y="1793"/>
                  <a:pt x="5292" y="1800"/>
                  <a:pt x="5324" y="1800"/>
                </a:cubicBezTo>
                <a:cubicBezTo>
                  <a:pt x="5349" y="1800"/>
                  <a:pt x="5367" y="1795"/>
                  <a:pt x="5385" y="1784"/>
                </a:cubicBezTo>
                <a:cubicBezTo>
                  <a:pt x="5409" y="1770"/>
                  <a:pt x="5422" y="1747"/>
                  <a:pt x="5422" y="1723"/>
                </a:cubicBezTo>
                <a:cubicBezTo>
                  <a:pt x="5422" y="1707"/>
                  <a:pt x="5415" y="1689"/>
                  <a:pt x="5404" y="1678"/>
                </a:cubicBezTo>
                <a:cubicBezTo>
                  <a:pt x="5393" y="1666"/>
                  <a:pt x="5381" y="1659"/>
                  <a:pt x="5357" y="1652"/>
                </a:cubicBezTo>
                <a:lnTo>
                  <a:pt x="5326" y="1642"/>
                </a:lnTo>
                <a:cubicBezTo>
                  <a:pt x="5294" y="1633"/>
                  <a:pt x="5281" y="1621"/>
                  <a:pt x="5281" y="1601"/>
                </a:cubicBezTo>
                <a:cubicBezTo>
                  <a:pt x="5281" y="1574"/>
                  <a:pt x="5301" y="1558"/>
                  <a:pt x="5335" y="1558"/>
                </a:cubicBezTo>
                <a:cubicBezTo>
                  <a:pt x="5358" y="1558"/>
                  <a:pt x="5375" y="1564"/>
                  <a:pt x="5400" y="1580"/>
                </a:cubicBezTo>
                <a:lnTo>
                  <a:pt x="5415" y="1558"/>
                </a:lnTo>
                <a:cubicBezTo>
                  <a:pt x="5389" y="1542"/>
                  <a:pt x="5362" y="1533"/>
                  <a:pt x="5333" y="1533"/>
                </a:cubicBezTo>
                <a:cubicBezTo>
                  <a:pt x="5281" y="1533"/>
                  <a:pt x="5246" y="1563"/>
                  <a:pt x="5246" y="1607"/>
                </a:cubicBezTo>
                <a:cubicBezTo>
                  <a:pt x="5246" y="1623"/>
                  <a:pt x="5252" y="1638"/>
                  <a:pt x="5263" y="1649"/>
                </a:cubicBezTo>
                <a:cubicBezTo>
                  <a:pt x="5274" y="1659"/>
                  <a:pt x="5286" y="1664"/>
                  <a:pt x="5311" y="1672"/>
                </a:cubicBezTo>
                <a:lnTo>
                  <a:pt x="5338" y="1679"/>
                </a:lnTo>
                <a:cubicBezTo>
                  <a:pt x="5371" y="1689"/>
                  <a:pt x="5386" y="1704"/>
                  <a:pt x="5386" y="1727"/>
                </a:cubicBezTo>
                <a:cubicBezTo>
                  <a:pt x="5386" y="1742"/>
                  <a:pt x="5380" y="1754"/>
                  <a:pt x="5367" y="1764"/>
                </a:cubicBezTo>
                <a:cubicBezTo>
                  <a:pt x="5356" y="1772"/>
                  <a:pt x="5345" y="1775"/>
                  <a:pt x="5324" y="1775"/>
                </a:cubicBezTo>
                <a:cubicBezTo>
                  <a:pt x="5297" y="1775"/>
                  <a:pt x="5274" y="1768"/>
                  <a:pt x="5252" y="1753"/>
                </a:cubicBezTo>
                <a:close/>
                <a:moveTo>
                  <a:pt x="4664" y="1539"/>
                </a:moveTo>
                <a:lnTo>
                  <a:pt x="4632" y="1539"/>
                </a:lnTo>
                <a:lnTo>
                  <a:pt x="4632" y="1723"/>
                </a:lnTo>
                <a:cubicBezTo>
                  <a:pt x="4632" y="1734"/>
                  <a:pt x="4633" y="1750"/>
                  <a:pt x="4640" y="1763"/>
                </a:cubicBezTo>
                <a:cubicBezTo>
                  <a:pt x="4655" y="1788"/>
                  <a:pt x="4678" y="1800"/>
                  <a:pt x="4720" y="1800"/>
                </a:cubicBezTo>
                <a:cubicBezTo>
                  <a:pt x="4753" y="1800"/>
                  <a:pt x="4774" y="1793"/>
                  <a:pt x="4791" y="1780"/>
                </a:cubicBezTo>
                <a:cubicBezTo>
                  <a:pt x="4807" y="1767"/>
                  <a:pt x="4811" y="1752"/>
                  <a:pt x="4811" y="1721"/>
                </a:cubicBezTo>
                <a:lnTo>
                  <a:pt x="4811" y="1539"/>
                </a:lnTo>
                <a:lnTo>
                  <a:pt x="4779" y="1539"/>
                </a:lnTo>
                <a:lnTo>
                  <a:pt x="4779" y="1717"/>
                </a:lnTo>
                <a:cubicBezTo>
                  <a:pt x="4779" y="1735"/>
                  <a:pt x="4778" y="1746"/>
                  <a:pt x="4769" y="1757"/>
                </a:cubicBezTo>
                <a:cubicBezTo>
                  <a:pt x="4761" y="1768"/>
                  <a:pt x="4744" y="1774"/>
                  <a:pt x="4722" y="1774"/>
                </a:cubicBezTo>
                <a:cubicBezTo>
                  <a:pt x="4689" y="1774"/>
                  <a:pt x="4674" y="1760"/>
                  <a:pt x="4669" y="1749"/>
                </a:cubicBezTo>
                <a:cubicBezTo>
                  <a:pt x="4665" y="1741"/>
                  <a:pt x="4664" y="1724"/>
                  <a:pt x="4664" y="1712"/>
                </a:cubicBezTo>
                <a:lnTo>
                  <a:pt x="4664" y="1539"/>
                </a:lnTo>
                <a:close/>
                <a:moveTo>
                  <a:pt x="4782" y="1503"/>
                </a:moveTo>
                <a:cubicBezTo>
                  <a:pt x="4782" y="1493"/>
                  <a:pt x="4773" y="1484"/>
                  <a:pt x="4762" y="1484"/>
                </a:cubicBezTo>
                <a:cubicBezTo>
                  <a:pt x="4751" y="1484"/>
                  <a:pt x="4742" y="1493"/>
                  <a:pt x="4742" y="1503"/>
                </a:cubicBezTo>
                <a:cubicBezTo>
                  <a:pt x="4742" y="1514"/>
                  <a:pt x="4751" y="1523"/>
                  <a:pt x="4762" y="1523"/>
                </a:cubicBezTo>
                <a:cubicBezTo>
                  <a:pt x="4774" y="1523"/>
                  <a:pt x="4782" y="1514"/>
                  <a:pt x="4782" y="1503"/>
                </a:cubicBezTo>
                <a:close/>
                <a:moveTo>
                  <a:pt x="4681" y="1523"/>
                </a:moveTo>
                <a:cubicBezTo>
                  <a:pt x="4693" y="1523"/>
                  <a:pt x="4701" y="1514"/>
                  <a:pt x="4701" y="1503"/>
                </a:cubicBezTo>
                <a:cubicBezTo>
                  <a:pt x="4701" y="1493"/>
                  <a:pt x="4692" y="1484"/>
                  <a:pt x="4681" y="1484"/>
                </a:cubicBezTo>
                <a:cubicBezTo>
                  <a:pt x="4670" y="1484"/>
                  <a:pt x="4661" y="1493"/>
                  <a:pt x="4661" y="1503"/>
                </a:cubicBezTo>
                <a:cubicBezTo>
                  <a:pt x="4661" y="1514"/>
                  <a:pt x="4670" y="1523"/>
                  <a:pt x="4681" y="1523"/>
                </a:cubicBezTo>
                <a:close/>
                <a:moveTo>
                  <a:pt x="4279" y="1539"/>
                </a:moveTo>
                <a:lnTo>
                  <a:pt x="4256" y="1795"/>
                </a:lnTo>
                <a:lnTo>
                  <a:pt x="4287" y="1795"/>
                </a:lnTo>
                <a:lnTo>
                  <a:pt x="4302" y="1613"/>
                </a:lnTo>
                <a:cubicBezTo>
                  <a:pt x="4303" y="1598"/>
                  <a:pt x="4304" y="1568"/>
                  <a:pt x="4305" y="1564"/>
                </a:cubicBezTo>
                <a:cubicBezTo>
                  <a:pt x="4306" y="1569"/>
                  <a:pt x="4310" y="1588"/>
                  <a:pt x="4318" y="1613"/>
                </a:cubicBezTo>
                <a:lnTo>
                  <a:pt x="4372" y="1795"/>
                </a:lnTo>
                <a:lnTo>
                  <a:pt x="4399" y="1795"/>
                </a:lnTo>
                <a:lnTo>
                  <a:pt x="4457" y="1604"/>
                </a:lnTo>
                <a:cubicBezTo>
                  <a:pt x="4462" y="1588"/>
                  <a:pt x="4467" y="1566"/>
                  <a:pt x="4467" y="1564"/>
                </a:cubicBezTo>
                <a:cubicBezTo>
                  <a:pt x="4467" y="1566"/>
                  <a:pt x="4468" y="1591"/>
                  <a:pt x="4469" y="1607"/>
                </a:cubicBezTo>
                <a:lnTo>
                  <a:pt x="4485" y="1795"/>
                </a:lnTo>
                <a:lnTo>
                  <a:pt x="4517" y="1795"/>
                </a:lnTo>
                <a:lnTo>
                  <a:pt x="4494" y="1539"/>
                </a:lnTo>
                <a:lnTo>
                  <a:pt x="4447" y="1539"/>
                </a:lnTo>
                <a:lnTo>
                  <a:pt x="4396" y="1709"/>
                </a:lnTo>
                <a:cubicBezTo>
                  <a:pt x="4390" y="1729"/>
                  <a:pt x="4387" y="1749"/>
                  <a:pt x="4386" y="1751"/>
                </a:cubicBezTo>
                <a:cubicBezTo>
                  <a:pt x="4386" y="1748"/>
                  <a:pt x="4382" y="1730"/>
                  <a:pt x="4375" y="1706"/>
                </a:cubicBezTo>
                <a:lnTo>
                  <a:pt x="4326" y="1539"/>
                </a:lnTo>
                <a:lnTo>
                  <a:pt x="4279" y="1539"/>
                </a:lnTo>
                <a:close/>
                <a:moveTo>
                  <a:pt x="3798" y="1662"/>
                </a:moveTo>
                <a:lnTo>
                  <a:pt x="0" y="1662"/>
                </a:lnTo>
                <a:lnTo>
                  <a:pt x="0" y="1796"/>
                </a:lnTo>
                <a:lnTo>
                  <a:pt x="3798" y="1796"/>
                </a:lnTo>
                <a:lnTo>
                  <a:pt x="3798" y="1662"/>
                </a:lnTo>
                <a:close/>
                <a:moveTo>
                  <a:pt x="3798" y="1103"/>
                </a:moveTo>
                <a:lnTo>
                  <a:pt x="0" y="1103"/>
                </a:lnTo>
                <a:lnTo>
                  <a:pt x="0" y="1166"/>
                </a:lnTo>
                <a:lnTo>
                  <a:pt x="3798" y="1166"/>
                </a:lnTo>
                <a:lnTo>
                  <a:pt x="3798" y="1103"/>
                </a:lnTo>
                <a:close/>
                <a:moveTo>
                  <a:pt x="0" y="862"/>
                </a:moveTo>
                <a:lnTo>
                  <a:pt x="1475" y="862"/>
                </a:lnTo>
                <a:lnTo>
                  <a:pt x="1475" y="727"/>
                </a:lnTo>
                <a:lnTo>
                  <a:pt x="0" y="727"/>
                </a:lnTo>
                <a:lnTo>
                  <a:pt x="0" y="862"/>
                </a:lnTo>
                <a:close/>
                <a:moveTo>
                  <a:pt x="1869" y="135"/>
                </a:moveTo>
                <a:lnTo>
                  <a:pt x="1929" y="135"/>
                </a:lnTo>
                <a:lnTo>
                  <a:pt x="1929" y="0"/>
                </a:lnTo>
                <a:lnTo>
                  <a:pt x="1869" y="0"/>
                </a:lnTo>
                <a:lnTo>
                  <a:pt x="1869" y="135"/>
                </a:lnTo>
                <a:close/>
                <a:moveTo>
                  <a:pt x="1772" y="254"/>
                </a:moveTo>
                <a:lnTo>
                  <a:pt x="2026" y="254"/>
                </a:lnTo>
                <a:lnTo>
                  <a:pt x="2026" y="191"/>
                </a:lnTo>
                <a:lnTo>
                  <a:pt x="1772" y="191"/>
                </a:lnTo>
                <a:lnTo>
                  <a:pt x="1772" y="254"/>
                </a:lnTo>
                <a:close/>
                <a:moveTo>
                  <a:pt x="1685" y="598"/>
                </a:moveTo>
                <a:lnTo>
                  <a:pt x="2116" y="598"/>
                </a:lnTo>
                <a:lnTo>
                  <a:pt x="2116" y="463"/>
                </a:lnTo>
                <a:lnTo>
                  <a:pt x="1685" y="463"/>
                </a:lnTo>
                <a:lnTo>
                  <a:pt x="1685" y="598"/>
                </a:lnTo>
                <a:close/>
                <a:moveTo>
                  <a:pt x="2323" y="862"/>
                </a:moveTo>
                <a:lnTo>
                  <a:pt x="3799" y="862"/>
                </a:lnTo>
                <a:lnTo>
                  <a:pt x="3799" y="727"/>
                </a:lnTo>
                <a:lnTo>
                  <a:pt x="2323" y="727"/>
                </a:lnTo>
                <a:lnTo>
                  <a:pt x="2323" y="862"/>
                </a:lnTo>
                <a:close/>
                <a:moveTo>
                  <a:pt x="4760" y="1356"/>
                </a:moveTo>
                <a:lnTo>
                  <a:pt x="4911" y="727"/>
                </a:lnTo>
                <a:lnTo>
                  <a:pt x="4779" y="727"/>
                </a:lnTo>
                <a:lnTo>
                  <a:pt x="4728" y="964"/>
                </a:lnTo>
                <a:cubicBezTo>
                  <a:pt x="4714" y="1025"/>
                  <a:pt x="4696" y="1151"/>
                  <a:pt x="4694" y="1171"/>
                </a:cubicBezTo>
                <a:cubicBezTo>
                  <a:pt x="4694" y="1171"/>
                  <a:pt x="4679" y="1064"/>
                  <a:pt x="4667" y="1006"/>
                </a:cubicBezTo>
                <a:lnTo>
                  <a:pt x="4609" y="727"/>
                </a:lnTo>
                <a:lnTo>
                  <a:pt x="4472" y="727"/>
                </a:lnTo>
                <a:lnTo>
                  <a:pt x="4417" y="979"/>
                </a:lnTo>
                <a:cubicBezTo>
                  <a:pt x="4398" y="1065"/>
                  <a:pt x="4387" y="1154"/>
                  <a:pt x="4384" y="1178"/>
                </a:cubicBezTo>
                <a:cubicBezTo>
                  <a:pt x="4384" y="1178"/>
                  <a:pt x="4376" y="1089"/>
                  <a:pt x="4351" y="973"/>
                </a:cubicBezTo>
                <a:lnTo>
                  <a:pt x="4297" y="727"/>
                </a:lnTo>
                <a:lnTo>
                  <a:pt x="4164" y="727"/>
                </a:lnTo>
                <a:lnTo>
                  <a:pt x="4313" y="1356"/>
                </a:lnTo>
                <a:lnTo>
                  <a:pt x="4456" y="1356"/>
                </a:lnTo>
                <a:lnTo>
                  <a:pt x="4508" y="1100"/>
                </a:lnTo>
                <a:cubicBezTo>
                  <a:pt x="4525" y="1018"/>
                  <a:pt x="4536" y="939"/>
                  <a:pt x="4538" y="924"/>
                </a:cubicBezTo>
                <a:cubicBezTo>
                  <a:pt x="4539" y="947"/>
                  <a:pt x="4549" y="1024"/>
                  <a:pt x="4567" y="1102"/>
                </a:cubicBezTo>
                <a:lnTo>
                  <a:pt x="4623" y="1356"/>
                </a:lnTo>
                <a:lnTo>
                  <a:pt x="4760" y="1356"/>
                </a:lnTo>
                <a:close/>
                <a:moveTo>
                  <a:pt x="4980" y="1539"/>
                </a:moveTo>
                <a:lnTo>
                  <a:pt x="4943" y="1539"/>
                </a:lnTo>
                <a:lnTo>
                  <a:pt x="4943" y="1795"/>
                </a:lnTo>
                <a:lnTo>
                  <a:pt x="4976" y="1795"/>
                </a:lnTo>
                <a:lnTo>
                  <a:pt x="4975" y="1647"/>
                </a:lnTo>
                <a:cubicBezTo>
                  <a:pt x="4974" y="1613"/>
                  <a:pt x="4971" y="1577"/>
                  <a:pt x="4971" y="1577"/>
                </a:cubicBezTo>
                <a:cubicBezTo>
                  <a:pt x="4971" y="1577"/>
                  <a:pt x="4985" y="1607"/>
                  <a:pt x="5002" y="1638"/>
                </a:cubicBezTo>
                <a:lnTo>
                  <a:pt x="5088" y="1795"/>
                </a:lnTo>
                <a:lnTo>
                  <a:pt x="5122" y="1795"/>
                </a:lnTo>
                <a:lnTo>
                  <a:pt x="5122" y="1539"/>
                </a:lnTo>
                <a:lnTo>
                  <a:pt x="5090" y="1539"/>
                </a:lnTo>
                <a:lnTo>
                  <a:pt x="5092" y="1678"/>
                </a:lnTo>
                <a:cubicBezTo>
                  <a:pt x="5092" y="1715"/>
                  <a:pt x="5095" y="1756"/>
                  <a:pt x="5095" y="1756"/>
                </a:cubicBezTo>
                <a:cubicBezTo>
                  <a:pt x="5094" y="1754"/>
                  <a:pt x="5083" y="1727"/>
                  <a:pt x="5070" y="1703"/>
                </a:cubicBezTo>
                <a:lnTo>
                  <a:pt x="4980" y="1539"/>
                </a:lnTo>
                <a:close/>
                <a:moveTo>
                  <a:pt x="5556" y="1356"/>
                </a:moveTo>
                <a:lnTo>
                  <a:pt x="5706" y="727"/>
                </a:lnTo>
                <a:lnTo>
                  <a:pt x="5575" y="727"/>
                </a:lnTo>
                <a:lnTo>
                  <a:pt x="5523" y="964"/>
                </a:lnTo>
                <a:cubicBezTo>
                  <a:pt x="5510" y="1025"/>
                  <a:pt x="5491" y="1151"/>
                  <a:pt x="5489" y="1171"/>
                </a:cubicBezTo>
                <a:cubicBezTo>
                  <a:pt x="5489" y="1171"/>
                  <a:pt x="5474" y="1064"/>
                  <a:pt x="5462" y="1006"/>
                </a:cubicBezTo>
                <a:lnTo>
                  <a:pt x="5405" y="727"/>
                </a:lnTo>
                <a:lnTo>
                  <a:pt x="5268" y="727"/>
                </a:lnTo>
                <a:lnTo>
                  <a:pt x="5212" y="979"/>
                </a:lnTo>
                <a:cubicBezTo>
                  <a:pt x="5193" y="1065"/>
                  <a:pt x="5182" y="1154"/>
                  <a:pt x="5180" y="1178"/>
                </a:cubicBezTo>
                <a:cubicBezTo>
                  <a:pt x="5180" y="1178"/>
                  <a:pt x="5172" y="1089"/>
                  <a:pt x="5147" y="973"/>
                </a:cubicBezTo>
                <a:lnTo>
                  <a:pt x="5093" y="727"/>
                </a:lnTo>
                <a:lnTo>
                  <a:pt x="4960" y="727"/>
                </a:lnTo>
                <a:lnTo>
                  <a:pt x="5109" y="1356"/>
                </a:lnTo>
                <a:lnTo>
                  <a:pt x="5252" y="1356"/>
                </a:lnTo>
                <a:lnTo>
                  <a:pt x="5304" y="1100"/>
                </a:lnTo>
                <a:cubicBezTo>
                  <a:pt x="5321" y="1018"/>
                  <a:pt x="5331" y="939"/>
                  <a:pt x="5333" y="924"/>
                </a:cubicBezTo>
                <a:cubicBezTo>
                  <a:pt x="5335" y="947"/>
                  <a:pt x="5345" y="1024"/>
                  <a:pt x="5363" y="1102"/>
                </a:cubicBezTo>
                <a:lnTo>
                  <a:pt x="5418" y="1356"/>
                </a:lnTo>
                <a:lnTo>
                  <a:pt x="5556" y="1356"/>
                </a:lnTo>
                <a:close/>
                <a:moveTo>
                  <a:pt x="6233" y="1147"/>
                </a:moveTo>
                <a:lnTo>
                  <a:pt x="6233" y="727"/>
                </a:lnTo>
                <a:lnTo>
                  <a:pt x="6106" y="727"/>
                </a:lnTo>
                <a:lnTo>
                  <a:pt x="6106" y="1126"/>
                </a:lnTo>
                <a:cubicBezTo>
                  <a:pt x="6106" y="1159"/>
                  <a:pt x="6106" y="1168"/>
                  <a:pt x="6104" y="1182"/>
                </a:cubicBezTo>
                <a:cubicBezTo>
                  <a:pt x="6099" y="1228"/>
                  <a:pt x="6064" y="1255"/>
                  <a:pt x="6009" y="1255"/>
                </a:cubicBezTo>
                <a:cubicBezTo>
                  <a:pt x="5968" y="1255"/>
                  <a:pt x="5938" y="1239"/>
                  <a:pt x="5924" y="1211"/>
                </a:cubicBezTo>
                <a:cubicBezTo>
                  <a:pt x="5917" y="1198"/>
                  <a:pt x="5913" y="1176"/>
                  <a:pt x="5913" y="1137"/>
                </a:cubicBezTo>
                <a:lnTo>
                  <a:pt x="5913" y="727"/>
                </a:lnTo>
                <a:lnTo>
                  <a:pt x="5785" y="727"/>
                </a:lnTo>
                <a:lnTo>
                  <a:pt x="5785" y="1161"/>
                </a:lnTo>
                <a:cubicBezTo>
                  <a:pt x="5785" y="1221"/>
                  <a:pt x="5791" y="1246"/>
                  <a:pt x="5812" y="1279"/>
                </a:cubicBezTo>
                <a:cubicBezTo>
                  <a:pt x="5847" y="1333"/>
                  <a:pt x="5917" y="1362"/>
                  <a:pt x="6012" y="1362"/>
                </a:cubicBezTo>
                <a:cubicBezTo>
                  <a:pt x="6146" y="1362"/>
                  <a:pt x="6207" y="1294"/>
                  <a:pt x="6224" y="1245"/>
                </a:cubicBezTo>
                <a:cubicBezTo>
                  <a:pt x="6233" y="1218"/>
                  <a:pt x="6233" y="1206"/>
                  <a:pt x="6233" y="1147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51382" tIns="25691" rIns="51382" bIns="25691" numCol="1" anchor="t" anchorCtr="0" compatLnSpc="1">
            <a:prstTxWarp prst="textNoShape">
              <a:avLst/>
            </a:prstTxWarp>
          </a:bodyPr>
          <a:lstStyle/>
          <a:p>
            <a:endParaRPr lang="de-DE" sz="1350" dirty="0"/>
          </a:p>
        </p:txBody>
      </p:sp>
      <p:sp>
        <p:nvSpPr>
          <p:cNvPr id="61" name="wissen.leben"/>
          <p:cNvSpPr>
            <a:spLocks noEditPoints="1"/>
          </p:cNvSpPr>
          <p:nvPr userDrawn="1"/>
        </p:nvSpPr>
        <p:spPr bwMode="auto">
          <a:xfrm>
            <a:off x="358401" y="6323606"/>
            <a:ext cx="1348595" cy="180000"/>
          </a:xfrm>
          <a:custGeom>
            <a:avLst/>
            <a:gdLst>
              <a:gd name="T0" fmla="*/ 3663 w 3750"/>
              <a:gd name="T1" fmla="*/ 144 h 500"/>
              <a:gd name="T2" fmla="*/ 3483 w 3750"/>
              <a:gd name="T3" fmla="*/ 162 h 500"/>
              <a:gd name="T4" fmla="*/ 3567 w 3750"/>
              <a:gd name="T5" fmla="*/ 486 h 500"/>
              <a:gd name="T6" fmla="*/ 3678 w 3750"/>
              <a:gd name="T7" fmla="*/ 265 h 500"/>
              <a:gd name="T8" fmla="*/ 3339 w 3750"/>
              <a:gd name="T9" fmla="*/ 286 h 500"/>
              <a:gd name="T10" fmla="*/ 3339 w 3750"/>
              <a:gd name="T11" fmla="*/ 286 h 500"/>
              <a:gd name="T12" fmla="*/ 3371 w 3750"/>
              <a:gd name="T13" fmla="*/ 179 h 500"/>
              <a:gd name="T14" fmla="*/ 3136 w 3750"/>
              <a:gd name="T15" fmla="*/ 320 h 500"/>
              <a:gd name="T16" fmla="*/ 3381 w 3750"/>
              <a:gd name="T17" fmla="*/ 406 h 500"/>
              <a:gd name="T18" fmla="*/ 3215 w 3750"/>
              <a:gd name="T19" fmla="*/ 339 h 500"/>
              <a:gd name="T20" fmla="*/ 2921 w 3750"/>
              <a:gd name="T21" fmla="*/ 431 h 500"/>
              <a:gd name="T22" fmla="*/ 2922 w 3750"/>
              <a:gd name="T23" fmla="*/ 206 h 500"/>
              <a:gd name="T24" fmla="*/ 2938 w 3750"/>
              <a:gd name="T25" fmla="*/ 144 h 500"/>
              <a:gd name="T26" fmla="*/ 2858 w 3750"/>
              <a:gd name="T27" fmla="*/ 144 h 500"/>
              <a:gd name="T28" fmla="*/ 2777 w 3750"/>
              <a:gd name="T29" fmla="*/ 16 h 500"/>
              <a:gd name="T30" fmla="*/ 2777 w 3750"/>
              <a:gd name="T31" fmla="*/ 486 h 500"/>
              <a:gd name="T32" fmla="*/ 2934 w 3750"/>
              <a:gd name="T33" fmla="*/ 493 h 500"/>
              <a:gd name="T34" fmla="*/ 2506 w 3750"/>
              <a:gd name="T35" fmla="*/ 286 h 500"/>
              <a:gd name="T36" fmla="*/ 2705 w 3750"/>
              <a:gd name="T37" fmla="*/ 339 h 500"/>
              <a:gd name="T38" fmla="*/ 2569 w 3750"/>
              <a:gd name="T39" fmla="*/ 144 h 500"/>
              <a:gd name="T40" fmla="*/ 2579 w 3750"/>
              <a:gd name="T41" fmla="*/ 495 h 500"/>
              <a:gd name="T42" fmla="*/ 2588 w 3750"/>
              <a:gd name="T43" fmla="*/ 439 h 500"/>
              <a:gd name="T44" fmla="*/ 2705 w 3750"/>
              <a:gd name="T45" fmla="*/ 339 h 500"/>
              <a:gd name="T46" fmla="*/ 2348 w 3750"/>
              <a:gd name="T47" fmla="*/ 435 h 500"/>
              <a:gd name="T48" fmla="*/ 2334 w 3750"/>
              <a:gd name="T49" fmla="*/ 1 h 500"/>
              <a:gd name="T50" fmla="*/ 2266 w 3750"/>
              <a:gd name="T51" fmla="*/ 399 h 500"/>
              <a:gd name="T52" fmla="*/ 2168 w 3750"/>
              <a:gd name="T53" fmla="*/ 425 h 500"/>
              <a:gd name="T54" fmla="*/ 2098 w 3750"/>
              <a:gd name="T55" fmla="*/ 500 h 500"/>
              <a:gd name="T56" fmla="*/ 1909 w 3750"/>
              <a:gd name="T57" fmla="*/ 237 h 500"/>
              <a:gd name="T58" fmla="*/ 1708 w 3750"/>
              <a:gd name="T59" fmla="*/ 143 h 500"/>
              <a:gd name="T60" fmla="*/ 1654 w 3750"/>
              <a:gd name="T61" fmla="*/ 486 h 500"/>
              <a:gd name="T62" fmla="*/ 1799 w 3750"/>
              <a:gd name="T63" fmla="*/ 206 h 500"/>
              <a:gd name="T64" fmla="*/ 1909 w 3750"/>
              <a:gd name="T65" fmla="*/ 486 h 500"/>
              <a:gd name="T66" fmla="*/ 1438 w 3750"/>
              <a:gd name="T67" fmla="*/ 199 h 500"/>
              <a:gd name="T68" fmla="*/ 1574 w 3750"/>
              <a:gd name="T69" fmla="*/ 324 h 500"/>
              <a:gd name="T70" fmla="*/ 1336 w 3750"/>
              <a:gd name="T71" fmla="*/ 189 h 500"/>
              <a:gd name="T72" fmla="*/ 1568 w 3750"/>
              <a:gd name="T73" fmla="*/ 451 h 500"/>
              <a:gd name="T74" fmla="*/ 1374 w 3750"/>
              <a:gd name="T75" fmla="*/ 344 h 500"/>
              <a:gd name="T76" fmla="*/ 1233 w 3750"/>
              <a:gd name="T77" fmla="*/ 382 h 500"/>
              <a:gd name="T78" fmla="*/ 1062 w 3750"/>
              <a:gd name="T79" fmla="*/ 239 h 500"/>
              <a:gd name="T80" fmla="*/ 1218 w 3750"/>
              <a:gd name="T81" fmla="*/ 170 h 500"/>
              <a:gd name="T82" fmla="*/ 1063 w 3750"/>
              <a:gd name="T83" fmla="*/ 339 h 500"/>
              <a:gd name="T84" fmla="*/ 1104 w 3750"/>
              <a:gd name="T85" fmla="*/ 441 h 500"/>
              <a:gd name="T86" fmla="*/ 1098 w 3750"/>
              <a:gd name="T87" fmla="*/ 495 h 500"/>
              <a:gd name="T88" fmla="*/ 836 w 3750"/>
              <a:gd name="T89" fmla="*/ 289 h 500"/>
              <a:gd name="T90" fmla="*/ 800 w 3750"/>
              <a:gd name="T91" fmla="*/ 196 h 500"/>
              <a:gd name="T92" fmla="*/ 796 w 3750"/>
              <a:gd name="T93" fmla="*/ 141 h 500"/>
              <a:gd name="T94" fmla="*/ 792 w 3750"/>
              <a:gd name="T95" fmla="*/ 348 h 500"/>
              <a:gd name="T96" fmla="*/ 683 w 3750"/>
              <a:gd name="T97" fmla="*/ 406 h 500"/>
              <a:gd name="T98" fmla="*/ 921 w 3750"/>
              <a:gd name="T99" fmla="*/ 382 h 500"/>
              <a:gd name="T100" fmla="*/ 500 w 3750"/>
              <a:gd name="T101" fmla="*/ 55 h 500"/>
              <a:gd name="T102" fmla="*/ 584 w 3750"/>
              <a:gd name="T103" fmla="*/ 486 h 500"/>
              <a:gd name="T104" fmla="*/ 511 w 3750"/>
              <a:gd name="T105" fmla="*/ 486 h 500"/>
              <a:gd name="T106" fmla="*/ 372 w 3750"/>
              <a:gd name="T107" fmla="*/ 152 h 500"/>
              <a:gd name="T108" fmla="*/ 319 w 3750"/>
              <a:gd name="T109" fmla="*/ 398 h 500"/>
              <a:gd name="T110" fmla="*/ 189 w 3750"/>
              <a:gd name="T111" fmla="*/ 152 h 500"/>
              <a:gd name="T112" fmla="*/ 125 w 3750"/>
              <a:gd name="T113" fmla="*/ 396 h 500"/>
              <a:gd name="T114" fmla="*/ 0 w 3750"/>
              <a:gd name="T115" fmla="*/ 157 h 500"/>
              <a:gd name="T116" fmla="*/ 199 w 3750"/>
              <a:gd name="T117" fmla="*/ 337 h 500"/>
              <a:gd name="T118" fmla="*/ 244 w 3750"/>
              <a:gd name="T119" fmla="*/ 334 h 500"/>
              <a:gd name="T120" fmla="*/ 447 w 3750"/>
              <a:gd name="T121" fmla="*/ 152 h 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750" h="500">
                <a:moveTo>
                  <a:pt x="3750" y="486"/>
                </a:moveTo>
                <a:lnTo>
                  <a:pt x="3750" y="237"/>
                </a:lnTo>
                <a:cubicBezTo>
                  <a:pt x="3750" y="175"/>
                  <a:pt x="3714" y="144"/>
                  <a:pt x="3663" y="144"/>
                </a:cubicBezTo>
                <a:cubicBezTo>
                  <a:pt x="3627" y="144"/>
                  <a:pt x="3596" y="160"/>
                  <a:pt x="3561" y="191"/>
                </a:cubicBezTo>
                <a:cubicBezTo>
                  <a:pt x="3561" y="173"/>
                  <a:pt x="3557" y="158"/>
                  <a:pt x="3549" y="143"/>
                </a:cubicBezTo>
                <a:lnTo>
                  <a:pt x="3483" y="162"/>
                </a:lnTo>
                <a:cubicBezTo>
                  <a:pt x="3492" y="185"/>
                  <a:pt x="3495" y="206"/>
                  <a:pt x="3495" y="241"/>
                </a:cubicBezTo>
                <a:lnTo>
                  <a:pt x="3495" y="486"/>
                </a:lnTo>
                <a:lnTo>
                  <a:pt x="3567" y="486"/>
                </a:lnTo>
                <a:lnTo>
                  <a:pt x="3567" y="244"/>
                </a:lnTo>
                <a:cubicBezTo>
                  <a:pt x="3588" y="222"/>
                  <a:pt x="3619" y="206"/>
                  <a:pt x="3640" y="206"/>
                </a:cubicBezTo>
                <a:cubicBezTo>
                  <a:pt x="3668" y="206"/>
                  <a:pt x="3678" y="219"/>
                  <a:pt x="3678" y="265"/>
                </a:cubicBezTo>
                <a:lnTo>
                  <a:pt x="3678" y="486"/>
                </a:lnTo>
                <a:lnTo>
                  <a:pt x="3750" y="486"/>
                </a:lnTo>
                <a:close/>
                <a:moveTo>
                  <a:pt x="3339" y="286"/>
                </a:moveTo>
                <a:lnTo>
                  <a:pt x="3216" y="286"/>
                </a:lnTo>
                <a:cubicBezTo>
                  <a:pt x="3216" y="232"/>
                  <a:pt x="3238" y="199"/>
                  <a:pt x="3279" y="199"/>
                </a:cubicBezTo>
                <a:cubicBezTo>
                  <a:pt x="3316" y="199"/>
                  <a:pt x="3339" y="232"/>
                  <a:pt x="3339" y="286"/>
                </a:cubicBezTo>
                <a:close/>
                <a:moveTo>
                  <a:pt x="3415" y="339"/>
                </a:moveTo>
                <a:lnTo>
                  <a:pt x="3415" y="324"/>
                </a:lnTo>
                <a:cubicBezTo>
                  <a:pt x="3415" y="246"/>
                  <a:pt x="3400" y="205"/>
                  <a:pt x="3371" y="179"/>
                </a:cubicBezTo>
                <a:cubicBezTo>
                  <a:pt x="3343" y="153"/>
                  <a:pt x="3312" y="144"/>
                  <a:pt x="3279" y="144"/>
                </a:cubicBezTo>
                <a:cubicBezTo>
                  <a:pt x="3237" y="144"/>
                  <a:pt x="3204" y="158"/>
                  <a:pt x="3177" y="189"/>
                </a:cubicBezTo>
                <a:cubicBezTo>
                  <a:pt x="3148" y="222"/>
                  <a:pt x="3136" y="261"/>
                  <a:pt x="3136" y="320"/>
                </a:cubicBezTo>
                <a:cubicBezTo>
                  <a:pt x="3136" y="427"/>
                  <a:pt x="3195" y="495"/>
                  <a:pt x="3289" y="495"/>
                </a:cubicBezTo>
                <a:cubicBezTo>
                  <a:pt x="3334" y="495"/>
                  <a:pt x="3374" y="480"/>
                  <a:pt x="3409" y="451"/>
                </a:cubicBezTo>
                <a:lnTo>
                  <a:pt x="3381" y="406"/>
                </a:lnTo>
                <a:cubicBezTo>
                  <a:pt x="3356" y="428"/>
                  <a:pt x="3329" y="439"/>
                  <a:pt x="3298" y="439"/>
                </a:cubicBezTo>
                <a:cubicBezTo>
                  <a:pt x="3233" y="439"/>
                  <a:pt x="3215" y="391"/>
                  <a:pt x="3215" y="344"/>
                </a:cubicBezTo>
                <a:lnTo>
                  <a:pt x="3215" y="339"/>
                </a:lnTo>
                <a:lnTo>
                  <a:pt x="3415" y="339"/>
                </a:lnTo>
                <a:close/>
                <a:moveTo>
                  <a:pt x="2986" y="315"/>
                </a:moveTo>
                <a:cubicBezTo>
                  <a:pt x="2986" y="398"/>
                  <a:pt x="2966" y="431"/>
                  <a:pt x="2921" y="431"/>
                </a:cubicBezTo>
                <a:cubicBezTo>
                  <a:pt x="2894" y="431"/>
                  <a:pt x="2873" y="418"/>
                  <a:pt x="2859" y="402"/>
                </a:cubicBezTo>
                <a:lnTo>
                  <a:pt x="2859" y="239"/>
                </a:lnTo>
                <a:cubicBezTo>
                  <a:pt x="2872" y="223"/>
                  <a:pt x="2892" y="206"/>
                  <a:pt x="2922" y="206"/>
                </a:cubicBezTo>
                <a:cubicBezTo>
                  <a:pt x="2974" y="206"/>
                  <a:pt x="2986" y="255"/>
                  <a:pt x="2986" y="315"/>
                </a:cubicBezTo>
                <a:close/>
                <a:moveTo>
                  <a:pt x="3068" y="314"/>
                </a:moveTo>
                <a:cubicBezTo>
                  <a:pt x="3068" y="210"/>
                  <a:pt x="3018" y="144"/>
                  <a:pt x="2938" y="144"/>
                </a:cubicBezTo>
                <a:cubicBezTo>
                  <a:pt x="2906" y="144"/>
                  <a:pt x="2882" y="154"/>
                  <a:pt x="2859" y="177"/>
                </a:cubicBezTo>
                <a:lnTo>
                  <a:pt x="2856" y="176"/>
                </a:lnTo>
                <a:cubicBezTo>
                  <a:pt x="2856" y="176"/>
                  <a:pt x="2858" y="166"/>
                  <a:pt x="2858" y="144"/>
                </a:cubicBezTo>
                <a:lnTo>
                  <a:pt x="2858" y="67"/>
                </a:lnTo>
                <a:cubicBezTo>
                  <a:pt x="2858" y="40"/>
                  <a:pt x="2857" y="24"/>
                  <a:pt x="2853" y="0"/>
                </a:cubicBezTo>
                <a:lnTo>
                  <a:pt x="2777" y="16"/>
                </a:lnTo>
                <a:cubicBezTo>
                  <a:pt x="2783" y="35"/>
                  <a:pt x="2786" y="59"/>
                  <a:pt x="2786" y="97"/>
                </a:cubicBezTo>
                <a:lnTo>
                  <a:pt x="2786" y="412"/>
                </a:lnTo>
                <a:cubicBezTo>
                  <a:pt x="2786" y="457"/>
                  <a:pt x="2783" y="471"/>
                  <a:pt x="2777" y="486"/>
                </a:cubicBezTo>
                <a:lnTo>
                  <a:pt x="2844" y="486"/>
                </a:lnTo>
                <a:cubicBezTo>
                  <a:pt x="2849" y="477"/>
                  <a:pt x="2850" y="472"/>
                  <a:pt x="2853" y="455"/>
                </a:cubicBezTo>
                <a:cubicBezTo>
                  <a:pt x="2874" y="480"/>
                  <a:pt x="2901" y="493"/>
                  <a:pt x="2934" y="493"/>
                </a:cubicBezTo>
                <a:cubicBezTo>
                  <a:pt x="3012" y="493"/>
                  <a:pt x="3068" y="421"/>
                  <a:pt x="3068" y="314"/>
                </a:cubicBezTo>
                <a:close/>
                <a:moveTo>
                  <a:pt x="2629" y="286"/>
                </a:moveTo>
                <a:lnTo>
                  <a:pt x="2506" y="286"/>
                </a:lnTo>
                <a:cubicBezTo>
                  <a:pt x="2506" y="232"/>
                  <a:pt x="2528" y="199"/>
                  <a:pt x="2569" y="199"/>
                </a:cubicBezTo>
                <a:cubicBezTo>
                  <a:pt x="2606" y="199"/>
                  <a:pt x="2629" y="232"/>
                  <a:pt x="2629" y="286"/>
                </a:cubicBezTo>
                <a:close/>
                <a:moveTo>
                  <a:pt x="2705" y="339"/>
                </a:moveTo>
                <a:lnTo>
                  <a:pt x="2705" y="324"/>
                </a:lnTo>
                <a:cubicBezTo>
                  <a:pt x="2705" y="246"/>
                  <a:pt x="2690" y="205"/>
                  <a:pt x="2661" y="179"/>
                </a:cubicBezTo>
                <a:cubicBezTo>
                  <a:pt x="2633" y="153"/>
                  <a:pt x="2602" y="144"/>
                  <a:pt x="2569" y="144"/>
                </a:cubicBezTo>
                <a:cubicBezTo>
                  <a:pt x="2527" y="144"/>
                  <a:pt x="2494" y="158"/>
                  <a:pt x="2467" y="189"/>
                </a:cubicBezTo>
                <a:cubicBezTo>
                  <a:pt x="2438" y="222"/>
                  <a:pt x="2425" y="261"/>
                  <a:pt x="2425" y="320"/>
                </a:cubicBezTo>
                <a:cubicBezTo>
                  <a:pt x="2425" y="427"/>
                  <a:pt x="2485" y="495"/>
                  <a:pt x="2579" y="495"/>
                </a:cubicBezTo>
                <a:cubicBezTo>
                  <a:pt x="2624" y="495"/>
                  <a:pt x="2664" y="480"/>
                  <a:pt x="2699" y="451"/>
                </a:cubicBezTo>
                <a:lnTo>
                  <a:pt x="2671" y="406"/>
                </a:lnTo>
                <a:cubicBezTo>
                  <a:pt x="2646" y="428"/>
                  <a:pt x="2619" y="439"/>
                  <a:pt x="2588" y="439"/>
                </a:cubicBezTo>
                <a:cubicBezTo>
                  <a:pt x="2522" y="439"/>
                  <a:pt x="2505" y="391"/>
                  <a:pt x="2505" y="344"/>
                </a:cubicBezTo>
                <a:lnTo>
                  <a:pt x="2505" y="339"/>
                </a:lnTo>
                <a:lnTo>
                  <a:pt x="2705" y="339"/>
                </a:lnTo>
                <a:close/>
                <a:moveTo>
                  <a:pt x="2383" y="486"/>
                </a:moveTo>
                <a:lnTo>
                  <a:pt x="2371" y="441"/>
                </a:lnTo>
                <a:cubicBezTo>
                  <a:pt x="2363" y="445"/>
                  <a:pt x="2351" y="441"/>
                  <a:pt x="2348" y="435"/>
                </a:cubicBezTo>
                <a:cubicBezTo>
                  <a:pt x="2342" y="428"/>
                  <a:pt x="2340" y="420"/>
                  <a:pt x="2340" y="375"/>
                </a:cubicBezTo>
                <a:lnTo>
                  <a:pt x="2340" y="92"/>
                </a:lnTo>
                <a:cubicBezTo>
                  <a:pt x="2340" y="49"/>
                  <a:pt x="2340" y="21"/>
                  <a:pt x="2334" y="1"/>
                </a:cubicBezTo>
                <a:lnTo>
                  <a:pt x="2260" y="17"/>
                </a:lnTo>
                <a:cubicBezTo>
                  <a:pt x="2264" y="45"/>
                  <a:pt x="2266" y="69"/>
                  <a:pt x="2266" y="115"/>
                </a:cubicBezTo>
                <a:lnTo>
                  <a:pt x="2266" y="399"/>
                </a:lnTo>
                <a:cubicBezTo>
                  <a:pt x="2266" y="428"/>
                  <a:pt x="2266" y="493"/>
                  <a:pt x="2340" y="493"/>
                </a:cubicBezTo>
                <a:cubicBezTo>
                  <a:pt x="2356" y="493"/>
                  <a:pt x="2370" y="491"/>
                  <a:pt x="2383" y="486"/>
                </a:cubicBezTo>
                <a:close/>
                <a:moveTo>
                  <a:pt x="2168" y="425"/>
                </a:moveTo>
                <a:cubicBezTo>
                  <a:pt x="2168" y="386"/>
                  <a:pt x="2136" y="354"/>
                  <a:pt x="2096" y="354"/>
                </a:cubicBezTo>
                <a:cubicBezTo>
                  <a:pt x="2057" y="354"/>
                  <a:pt x="2026" y="386"/>
                  <a:pt x="2026" y="425"/>
                </a:cubicBezTo>
                <a:cubicBezTo>
                  <a:pt x="2026" y="466"/>
                  <a:pt x="2058" y="500"/>
                  <a:pt x="2098" y="500"/>
                </a:cubicBezTo>
                <a:cubicBezTo>
                  <a:pt x="2136" y="500"/>
                  <a:pt x="2168" y="466"/>
                  <a:pt x="2168" y="425"/>
                </a:cubicBezTo>
                <a:close/>
                <a:moveTo>
                  <a:pt x="1909" y="486"/>
                </a:moveTo>
                <a:lnTo>
                  <a:pt x="1909" y="237"/>
                </a:lnTo>
                <a:cubicBezTo>
                  <a:pt x="1909" y="175"/>
                  <a:pt x="1873" y="144"/>
                  <a:pt x="1822" y="144"/>
                </a:cubicBezTo>
                <a:cubicBezTo>
                  <a:pt x="1786" y="144"/>
                  <a:pt x="1755" y="160"/>
                  <a:pt x="1720" y="191"/>
                </a:cubicBezTo>
                <a:cubicBezTo>
                  <a:pt x="1720" y="173"/>
                  <a:pt x="1716" y="158"/>
                  <a:pt x="1708" y="143"/>
                </a:cubicBezTo>
                <a:lnTo>
                  <a:pt x="1642" y="162"/>
                </a:lnTo>
                <a:cubicBezTo>
                  <a:pt x="1651" y="185"/>
                  <a:pt x="1654" y="206"/>
                  <a:pt x="1654" y="241"/>
                </a:cubicBezTo>
                <a:lnTo>
                  <a:pt x="1654" y="486"/>
                </a:lnTo>
                <a:lnTo>
                  <a:pt x="1726" y="486"/>
                </a:lnTo>
                <a:lnTo>
                  <a:pt x="1726" y="244"/>
                </a:lnTo>
                <a:cubicBezTo>
                  <a:pt x="1747" y="222"/>
                  <a:pt x="1778" y="206"/>
                  <a:pt x="1799" y="206"/>
                </a:cubicBezTo>
                <a:cubicBezTo>
                  <a:pt x="1827" y="206"/>
                  <a:pt x="1837" y="219"/>
                  <a:pt x="1837" y="265"/>
                </a:cubicBezTo>
                <a:lnTo>
                  <a:pt x="1837" y="486"/>
                </a:lnTo>
                <a:lnTo>
                  <a:pt x="1909" y="486"/>
                </a:lnTo>
                <a:close/>
                <a:moveTo>
                  <a:pt x="1498" y="286"/>
                </a:moveTo>
                <a:lnTo>
                  <a:pt x="1375" y="286"/>
                </a:lnTo>
                <a:cubicBezTo>
                  <a:pt x="1375" y="232"/>
                  <a:pt x="1397" y="199"/>
                  <a:pt x="1438" y="199"/>
                </a:cubicBezTo>
                <a:cubicBezTo>
                  <a:pt x="1475" y="199"/>
                  <a:pt x="1498" y="232"/>
                  <a:pt x="1498" y="286"/>
                </a:cubicBezTo>
                <a:close/>
                <a:moveTo>
                  <a:pt x="1574" y="339"/>
                </a:moveTo>
                <a:lnTo>
                  <a:pt x="1574" y="324"/>
                </a:lnTo>
                <a:cubicBezTo>
                  <a:pt x="1574" y="246"/>
                  <a:pt x="1559" y="205"/>
                  <a:pt x="1530" y="179"/>
                </a:cubicBezTo>
                <a:cubicBezTo>
                  <a:pt x="1502" y="153"/>
                  <a:pt x="1471" y="144"/>
                  <a:pt x="1438" y="144"/>
                </a:cubicBezTo>
                <a:cubicBezTo>
                  <a:pt x="1396" y="144"/>
                  <a:pt x="1363" y="158"/>
                  <a:pt x="1336" y="189"/>
                </a:cubicBezTo>
                <a:cubicBezTo>
                  <a:pt x="1307" y="222"/>
                  <a:pt x="1295" y="261"/>
                  <a:pt x="1295" y="320"/>
                </a:cubicBezTo>
                <a:cubicBezTo>
                  <a:pt x="1295" y="427"/>
                  <a:pt x="1354" y="495"/>
                  <a:pt x="1448" y="495"/>
                </a:cubicBezTo>
                <a:cubicBezTo>
                  <a:pt x="1493" y="495"/>
                  <a:pt x="1533" y="480"/>
                  <a:pt x="1568" y="451"/>
                </a:cubicBezTo>
                <a:lnTo>
                  <a:pt x="1540" y="406"/>
                </a:lnTo>
                <a:cubicBezTo>
                  <a:pt x="1515" y="428"/>
                  <a:pt x="1488" y="439"/>
                  <a:pt x="1457" y="439"/>
                </a:cubicBezTo>
                <a:cubicBezTo>
                  <a:pt x="1392" y="439"/>
                  <a:pt x="1374" y="391"/>
                  <a:pt x="1374" y="344"/>
                </a:cubicBezTo>
                <a:lnTo>
                  <a:pt x="1374" y="339"/>
                </a:lnTo>
                <a:lnTo>
                  <a:pt x="1574" y="339"/>
                </a:lnTo>
                <a:close/>
                <a:moveTo>
                  <a:pt x="1233" y="382"/>
                </a:moveTo>
                <a:cubicBezTo>
                  <a:pt x="1233" y="343"/>
                  <a:pt x="1215" y="306"/>
                  <a:pt x="1148" y="289"/>
                </a:cubicBezTo>
                <a:lnTo>
                  <a:pt x="1106" y="278"/>
                </a:lnTo>
                <a:cubicBezTo>
                  <a:pt x="1073" y="270"/>
                  <a:pt x="1062" y="259"/>
                  <a:pt x="1062" y="239"/>
                </a:cubicBezTo>
                <a:cubicBezTo>
                  <a:pt x="1062" y="213"/>
                  <a:pt x="1081" y="196"/>
                  <a:pt x="1112" y="196"/>
                </a:cubicBezTo>
                <a:cubicBezTo>
                  <a:pt x="1139" y="196"/>
                  <a:pt x="1163" y="204"/>
                  <a:pt x="1194" y="220"/>
                </a:cubicBezTo>
                <a:lnTo>
                  <a:pt x="1218" y="170"/>
                </a:lnTo>
                <a:cubicBezTo>
                  <a:pt x="1190" y="155"/>
                  <a:pt x="1153" y="141"/>
                  <a:pt x="1108" y="141"/>
                </a:cubicBezTo>
                <a:cubicBezTo>
                  <a:pt x="1034" y="141"/>
                  <a:pt x="984" y="185"/>
                  <a:pt x="984" y="247"/>
                </a:cubicBezTo>
                <a:cubicBezTo>
                  <a:pt x="984" y="294"/>
                  <a:pt x="1013" y="329"/>
                  <a:pt x="1063" y="339"/>
                </a:cubicBezTo>
                <a:lnTo>
                  <a:pt x="1104" y="348"/>
                </a:lnTo>
                <a:cubicBezTo>
                  <a:pt x="1141" y="356"/>
                  <a:pt x="1158" y="369"/>
                  <a:pt x="1158" y="395"/>
                </a:cubicBezTo>
                <a:cubicBezTo>
                  <a:pt x="1158" y="422"/>
                  <a:pt x="1135" y="441"/>
                  <a:pt x="1104" y="441"/>
                </a:cubicBezTo>
                <a:cubicBezTo>
                  <a:pt x="1066" y="441"/>
                  <a:pt x="1025" y="424"/>
                  <a:pt x="996" y="406"/>
                </a:cubicBezTo>
                <a:lnTo>
                  <a:pt x="970" y="459"/>
                </a:lnTo>
                <a:cubicBezTo>
                  <a:pt x="1013" y="482"/>
                  <a:pt x="1057" y="495"/>
                  <a:pt x="1098" y="495"/>
                </a:cubicBezTo>
                <a:cubicBezTo>
                  <a:pt x="1178" y="495"/>
                  <a:pt x="1233" y="449"/>
                  <a:pt x="1233" y="382"/>
                </a:cubicBezTo>
                <a:close/>
                <a:moveTo>
                  <a:pt x="921" y="382"/>
                </a:moveTo>
                <a:cubicBezTo>
                  <a:pt x="921" y="343"/>
                  <a:pt x="903" y="306"/>
                  <a:pt x="836" y="289"/>
                </a:cubicBezTo>
                <a:lnTo>
                  <a:pt x="794" y="278"/>
                </a:lnTo>
                <a:cubicBezTo>
                  <a:pt x="761" y="270"/>
                  <a:pt x="749" y="259"/>
                  <a:pt x="749" y="239"/>
                </a:cubicBezTo>
                <a:cubicBezTo>
                  <a:pt x="749" y="213"/>
                  <a:pt x="769" y="196"/>
                  <a:pt x="800" y="196"/>
                </a:cubicBezTo>
                <a:cubicBezTo>
                  <a:pt x="827" y="196"/>
                  <a:pt x="851" y="204"/>
                  <a:pt x="882" y="220"/>
                </a:cubicBezTo>
                <a:lnTo>
                  <a:pt x="906" y="170"/>
                </a:lnTo>
                <a:cubicBezTo>
                  <a:pt x="877" y="155"/>
                  <a:pt x="841" y="141"/>
                  <a:pt x="796" y="141"/>
                </a:cubicBezTo>
                <a:cubicBezTo>
                  <a:pt x="722" y="141"/>
                  <a:pt x="671" y="185"/>
                  <a:pt x="671" y="247"/>
                </a:cubicBezTo>
                <a:cubicBezTo>
                  <a:pt x="671" y="294"/>
                  <a:pt x="701" y="329"/>
                  <a:pt x="751" y="339"/>
                </a:cubicBezTo>
                <a:lnTo>
                  <a:pt x="792" y="348"/>
                </a:lnTo>
                <a:cubicBezTo>
                  <a:pt x="829" y="356"/>
                  <a:pt x="846" y="369"/>
                  <a:pt x="846" y="395"/>
                </a:cubicBezTo>
                <a:cubicBezTo>
                  <a:pt x="846" y="422"/>
                  <a:pt x="823" y="441"/>
                  <a:pt x="792" y="441"/>
                </a:cubicBezTo>
                <a:cubicBezTo>
                  <a:pt x="754" y="441"/>
                  <a:pt x="713" y="424"/>
                  <a:pt x="683" y="406"/>
                </a:cubicBezTo>
                <a:lnTo>
                  <a:pt x="658" y="459"/>
                </a:lnTo>
                <a:cubicBezTo>
                  <a:pt x="701" y="482"/>
                  <a:pt x="745" y="495"/>
                  <a:pt x="786" y="495"/>
                </a:cubicBezTo>
                <a:cubicBezTo>
                  <a:pt x="866" y="495"/>
                  <a:pt x="921" y="449"/>
                  <a:pt x="921" y="382"/>
                </a:cubicBezTo>
                <a:close/>
                <a:moveTo>
                  <a:pt x="596" y="55"/>
                </a:moveTo>
                <a:cubicBezTo>
                  <a:pt x="596" y="27"/>
                  <a:pt x="574" y="6"/>
                  <a:pt x="548" y="6"/>
                </a:cubicBezTo>
                <a:cubicBezTo>
                  <a:pt x="521" y="6"/>
                  <a:pt x="500" y="28"/>
                  <a:pt x="500" y="55"/>
                </a:cubicBezTo>
                <a:cubicBezTo>
                  <a:pt x="500" y="81"/>
                  <a:pt x="521" y="103"/>
                  <a:pt x="547" y="103"/>
                </a:cubicBezTo>
                <a:cubicBezTo>
                  <a:pt x="574" y="103"/>
                  <a:pt x="596" y="81"/>
                  <a:pt x="596" y="55"/>
                </a:cubicBezTo>
                <a:close/>
                <a:moveTo>
                  <a:pt x="584" y="486"/>
                </a:moveTo>
                <a:lnTo>
                  <a:pt x="584" y="144"/>
                </a:lnTo>
                <a:lnTo>
                  <a:pt x="511" y="158"/>
                </a:lnTo>
                <a:lnTo>
                  <a:pt x="511" y="486"/>
                </a:lnTo>
                <a:lnTo>
                  <a:pt x="584" y="486"/>
                </a:lnTo>
                <a:close/>
                <a:moveTo>
                  <a:pt x="447" y="152"/>
                </a:moveTo>
                <a:lnTo>
                  <a:pt x="372" y="152"/>
                </a:lnTo>
                <a:lnTo>
                  <a:pt x="338" y="308"/>
                </a:lnTo>
                <a:cubicBezTo>
                  <a:pt x="329" y="347"/>
                  <a:pt x="321" y="398"/>
                  <a:pt x="321" y="398"/>
                </a:cubicBezTo>
                <a:lnTo>
                  <a:pt x="319" y="398"/>
                </a:lnTo>
                <a:cubicBezTo>
                  <a:pt x="319" y="398"/>
                  <a:pt x="312" y="357"/>
                  <a:pt x="298" y="303"/>
                </a:cubicBezTo>
                <a:lnTo>
                  <a:pt x="261" y="152"/>
                </a:lnTo>
                <a:lnTo>
                  <a:pt x="189" y="152"/>
                </a:lnTo>
                <a:lnTo>
                  <a:pt x="146" y="307"/>
                </a:lnTo>
                <a:cubicBezTo>
                  <a:pt x="134" y="353"/>
                  <a:pt x="127" y="396"/>
                  <a:pt x="127" y="396"/>
                </a:cubicBezTo>
                <a:lnTo>
                  <a:pt x="125" y="396"/>
                </a:lnTo>
                <a:cubicBezTo>
                  <a:pt x="125" y="396"/>
                  <a:pt x="117" y="350"/>
                  <a:pt x="108" y="309"/>
                </a:cubicBezTo>
                <a:lnTo>
                  <a:pt x="72" y="147"/>
                </a:lnTo>
                <a:lnTo>
                  <a:pt x="0" y="157"/>
                </a:lnTo>
                <a:lnTo>
                  <a:pt x="91" y="488"/>
                </a:lnTo>
                <a:lnTo>
                  <a:pt x="159" y="488"/>
                </a:lnTo>
                <a:lnTo>
                  <a:pt x="199" y="337"/>
                </a:lnTo>
                <a:cubicBezTo>
                  <a:pt x="216" y="276"/>
                  <a:pt x="221" y="243"/>
                  <a:pt x="221" y="243"/>
                </a:cubicBezTo>
                <a:lnTo>
                  <a:pt x="222" y="243"/>
                </a:lnTo>
                <a:cubicBezTo>
                  <a:pt x="222" y="243"/>
                  <a:pt x="234" y="294"/>
                  <a:pt x="244" y="334"/>
                </a:cubicBezTo>
                <a:lnTo>
                  <a:pt x="285" y="488"/>
                </a:lnTo>
                <a:lnTo>
                  <a:pt x="353" y="488"/>
                </a:lnTo>
                <a:lnTo>
                  <a:pt x="447" y="152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51382" tIns="25691" rIns="51382" bIns="25691" numCol="1" anchor="t" anchorCtr="0" compatLnSpc="1">
            <a:prstTxWarp prst="textNoShape">
              <a:avLst/>
            </a:prstTxWarp>
          </a:bodyPr>
          <a:lstStyle/>
          <a:p>
            <a:endParaRPr lang="de-DE" sz="1350"/>
          </a:p>
        </p:txBody>
      </p:sp>
      <p:sp>
        <p:nvSpPr>
          <p:cNvPr id="62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6473257" y="6081105"/>
            <a:ext cx="5358419" cy="468000"/>
          </a:xfrm>
        </p:spPr>
        <p:txBody>
          <a:bodyPr vert="horz" anchor="b" anchorCtr="0"/>
          <a:lstStyle>
            <a:lvl1pPr marL="0" indent="0" algn="r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674" b="0"/>
            </a:lvl1pPr>
            <a:lvl2pPr marL="0" indent="0" algn="r">
              <a:lnSpc>
                <a:spcPct val="110000"/>
              </a:lnSpc>
              <a:spcBef>
                <a:spcPts val="0"/>
              </a:spcBef>
              <a:buNone/>
              <a:defRPr sz="674" b="0"/>
            </a:lvl2pPr>
            <a:lvl3pPr marL="0" indent="0" algn="r">
              <a:lnSpc>
                <a:spcPct val="110000"/>
              </a:lnSpc>
              <a:spcBef>
                <a:spcPts val="0"/>
              </a:spcBef>
              <a:buNone/>
              <a:defRPr sz="674" b="0"/>
            </a:lvl3pPr>
            <a:lvl4pPr marL="0" indent="0" algn="r">
              <a:lnSpc>
                <a:spcPct val="110000"/>
              </a:lnSpc>
              <a:spcBef>
                <a:spcPts val="0"/>
              </a:spcBef>
              <a:buNone/>
              <a:defRPr sz="674" b="0"/>
            </a:lvl4pPr>
            <a:lvl5pPr marL="0" indent="0" algn="r">
              <a:lnSpc>
                <a:spcPct val="110000"/>
              </a:lnSpc>
              <a:spcBef>
                <a:spcPts val="0"/>
              </a:spcBef>
              <a:buNone/>
              <a:defRPr sz="674" b="0"/>
            </a:lvl5pPr>
            <a:lvl6pPr marL="0" indent="0" algn="r">
              <a:lnSpc>
                <a:spcPct val="110000"/>
              </a:lnSpc>
              <a:spcBef>
                <a:spcPts val="0"/>
              </a:spcBef>
              <a:buNone/>
              <a:defRPr sz="674" b="0"/>
            </a:lvl6pPr>
            <a:lvl7pPr marL="0" indent="0" algn="r">
              <a:lnSpc>
                <a:spcPct val="110000"/>
              </a:lnSpc>
              <a:spcBef>
                <a:spcPts val="0"/>
              </a:spcBef>
              <a:buNone/>
              <a:defRPr sz="674" b="0"/>
            </a:lvl7pPr>
            <a:lvl8pPr marL="0" indent="0" algn="r">
              <a:lnSpc>
                <a:spcPct val="110000"/>
              </a:lnSpc>
              <a:spcBef>
                <a:spcPts val="0"/>
              </a:spcBef>
              <a:buNone/>
              <a:defRPr sz="674" b="0"/>
            </a:lvl8pPr>
            <a:lvl9pPr marL="0" indent="0" algn="r">
              <a:lnSpc>
                <a:spcPct val="110000"/>
              </a:lnSpc>
              <a:spcBef>
                <a:spcPts val="0"/>
              </a:spcBef>
              <a:buNone/>
              <a:defRPr sz="674" b="0"/>
            </a:lvl9pPr>
          </a:lstStyle>
          <a:p>
            <a:pPr lvl="0"/>
            <a:r>
              <a:rPr lang="de-DE" dirty="0"/>
              <a:t>Freiraum für Sekundärlogo(s) / Name </a:t>
            </a:r>
            <a:br>
              <a:rPr lang="de-DE" dirty="0"/>
            </a:br>
            <a:r>
              <a:rPr lang="de-DE" dirty="0"/>
              <a:t>des Fachbereichs, Instituts oder SFBs</a:t>
            </a:r>
          </a:p>
        </p:txBody>
      </p:sp>
    </p:spTree>
    <p:extLst>
      <p:ext uri="{BB962C8B-B14F-4D97-AF65-F5344CB8AC3E}">
        <p14:creationId xmlns:p14="http://schemas.microsoft.com/office/powerpoint/2010/main" val="37889442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24" userDrawn="1">
          <p15:clr>
            <a:srgbClr val="FBAE40"/>
          </p15:clr>
        </p15:guide>
        <p15:guide id="2" orient="horz" pos="2262" userDrawn="1">
          <p15:clr>
            <a:srgbClr val="FBAE40"/>
          </p15:clr>
        </p15:guide>
        <p15:guide id="3" pos="404" userDrawn="1">
          <p15:clr>
            <a:srgbClr val="FBAE40"/>
          </p15:clr>
        </p15:guide>
        <p15:guide id="4" pos="13264" userDrawn="1">
          <p15:clr>
            <a:srgbClr val="FBAE40"/>
          </p15:clr>
        </p15:guide>
        <p15:guide id="5" orient="horz" pos="1517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59628" y="1438275"/>
            <a:ext cx="11472049" cy="577054"/>
          </a:xfrm>
        </p:spPr>
        <p:txBody>
          <a:bodyPr/>
          <a:lstStyle/>
          <a:p>
            <a:r>
              <a:rPr lang="de-DE" dirty="0"/>
              <a:t>Headline einfügen</a:t>
            </a:r>
          </a:p>
        </p:txBody>
      </p:sp>
      <p:sp>
        <p:nvSpPr>
          <p:cNvPr id="6" name="Vertikaler Textplatzhalter 2"/>
          <p:cNvSpPr>
            <a:spLocks noGrp="1"/>
          </p:cNvSpPr>
          <p:nvPr>
            <p:ph type="body" orient="vert" idx="1" hasCustomPrompt="1"/>
          </p:nvPr>
        </p:nvSpPr>
        <p:spPr>
          <a:xfrm>
            <a:off x="359627" y="2286005"/>
            <a:ext cx="11472388" cy="3457575"/>
          </a:xfrm>
        </p:spPr>
        <p:txBody>
          <a:bodyPr vert="horz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dirty="0"/>
              <a:t>Fließtext auf erster Ebene // für weitere Aufzählungen </a:t>
            </a:r>
            <a:br>
              <a:rPr lang="de-DE" dirty="0"/>
            </a:br>
            <a:r>
              <a:rPr lang="de-DE" dirty="0"/>
              <a:t>&gt;&gt; Menü &gt; Start &gt; Absatz &gt; Listeneb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3208381" y="280864"/>
            <a:ext cx="8235421" cy="360000"/>
          </a:xfrm>
          <a:prstGeom prst="rect">
            <a:avLst/>
          </a:prstGeom>
        </p:spPr>
        <p:txBody>
          <a:bodyPr/>
          <a:lstStyle/>
          <a:p>
            <a:fld id="{E6FB0E6D-BCDF-47BD-8D97-64FE1FCB6FB5}" type="datetime1">
              <a:rPr lang="de-DE" smtClean="0"/>
              <a:t>16.04.25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#›</a:t>
            </a:fld>
            <a:r>
              <a:rPr lang="de-DE"/>
              <a:t> </a:t>
            </a:r>
            <a:endParaRPr lang="de-DE" sz="787" dirty="0"/>
          </a:p>
        </p:txBody>
      </p:sp>
    </p:spTree>
    <p:extLst>
      <p:ext uri="{BB962C8B-B14F-4D97-AF65-F5344CB8AC3E}">
        <p14:creationId xmlns:p14="http://schemas.microsoft.com/office/powerpoint/2010/main" val="35098728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18" userDrawn="1">
          <p15:clr>
            <a:srgbClr val="FBAE40"/>
          </p15:clr>
        </p15:guide>
        <p15:guide id="2" orient="horz" pos="906" userDrawn="1">
          <p15:clr>
            <a:srgbClr val="FBAE40"/>
          </p15:clr>
        </p15:guide>
        <p15:guide id="3" orient="horz" pos="1440" userDrawn="1">
          <p15:clr>
            <a:srgbClr val="FBAE40"/>
          </p15:clr>
        </p15:guide>
        <p15:guide id="4" pos="404" userDrawn="1">
          <p15:clr>
            <a:srgbClr val="FBAE40"/>
          </p15:clr>
        </p15:guide>
        <p15:guide id="5" pos="13264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0901" y="388800"/>
            <a:ext cx="7620000" cy="577054"/>
          </a:xfrm>
        </p:spPr>
        <p:txBody>
          <a:bodyPr/>
          <a:lstStyle>
            <a:lvl1pPr>
              <a:defRPr sz="3200">
                <a:latin typeface="Meta Offc Pro" panose="020B0504030101020102"/>
              </a:defRPr>
            </a:lvl1pPr>
          </a:lstStyle>
          <a:p>
            <a:r>
              <a:rPr lang="de-DE" dirty="0"/>
              <a:t>Headline einfüg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59990" y="1295402"/>
            <a:ext cx="11472025" cy="4448177"/>
          </a:xfrm>
        </p:spPr>
        <p:txBody>
          <a:bodyPr/>
          <a:lstStyle>
            <a:lvl1pPr marL="265113" indent="-265113">
              <a:buClr>
                <a:schemeClr val="accent5"/>
              </a:buClr>
              <a:buFont typeface="Wingdings" panose="05000000000000000000" pitchFamily="2" charset="2"/>
              <a:buChar char="§"/>
              <a:defRPr sz="2400">
                <a:latin typeface="Meta Offc Pro" panose="020B0504030101020102"/>
              </a:defRPr>
            </a:lvl1pPr>
            <a:lvl2pPr marL="354013" indent="-252413">
              <a:buClr>
                <a:schemeClr val="accent5"/>
              </a:buClr>
              <a:buFont typeface="Wingdings" panose="05000000000000000000" pitchFamily="2" charset="2"/>
              <a:buChar char="§"/>
              <a:tabLst>
                <a:tab pos="354013" algn="l"/>
              </a:tabLst>
              <a:defRPr sz="2000" b="0">
                <a:latin typeface="Meta Offc Pro" panose="020B0504030101020102"/>
              </a:defRPr>
            </a:lvl2pPr>
            <a:lvl3pPr marL="452438" indent="-250825">
              <a:buClr>
                <a:schemeClr val="accent5"/>
              </a:buClr>
              <a:buFont typeface="Wingdings" panose="05000000000000000000" pitchFamily="2" charset="2"/>
              <a:buChar char="§"/>
              <a:defRPr sz="1800" b="0">
                <a:latin typeface="Meta Offc Pro" panose="020B0504030101020102"/>
              </a:defRPr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dirty="0"/>
              <a:t>Fließtext auf erster Ebene // für weitere Aufzählungen </a:t>
            </a:r>
            <a:br>
              <a:rPr lang="de-DE" dirty="0"/>
            </a:br>
            <a:r>
              <a:rPr lang="de-DE" dirty="0"/>
              <a:t>&gt;&gt; Menü &gt; Start &gt; Absatz &gt; Listeneb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9753601" y="388800"/>
            <a:ext cx="2078075" cy="360000"/>
          </a:xfrm>
          <a:prstGeom prst="rect">
            <a:avLst/>
          </a:prstGeom>
        </p:spPr>
        <p:txBody>
          <a:bodyPr/>
          <a:lstStyle>
            <a:lvl1pPr>
              <a:defRPr sz="899"/>
            </a:lvl1pPr>
          </a:lstStyle>
          <a:p>
            <a:fld id="{FBF80156-E501-406C-84E0-303B14AD570C}" type="datetime1">
              <a:rPr lang="de-DE" smtClean="0"/>
              <a:t>16.04.25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899"/>
            </a:lvl1pPr>
          </a:lstStyle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#›</a:t>
            </a:fld>
            <a:r>
              <a:rPr lang="de-DE"/>
              <a:t> </a:t>
            </a:r>
            <a:endParaRPr lang="de-DE" sz="787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F6382BC-69AF-4510-BA5A-9FD60427EA2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43702" y="535259"/>
            <a:ext cx="3061196" cy="7005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943931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0" userDrawn="1">
          <p15:clr>
            <a:srgbClr val="FBAE40"/>
          </p15:clr>
        </p15:guide>
        <p15:guide id="2" orient="horz" pos="3618" userDrawn="1">
          <p15:clr>
            <a:srgbClr val="FBAE40"/>
          </p15:clr>
        </p15:guide>
        <p15:guide id="3" orient="horz" pos="906" userDrawn="1">
          <p15:clr>
            <a:srgbClr val="FBAE40"/>
          </p15:clr>
        </p15:guide>
        <p15:guide id="4" pos="404" userDrawn="1">
          <p15:clr>
            <a:srgbClr val="FBAE40"/>
          </p15:clr>
        </p15:guide>
        <p15:guide id="5" pos="1326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Tex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59627" y="1438275"/>
            <a:ext cx="5494740" cy="992686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Headline einfügen</a:t>
            </a:r>
            <a:br>
              <a:rPr lang="de-DE" dirty="0"/>
            </a:br>
            <a:r>
              <a:rPr lang="de-DE" dirty="0"/>
              <a:t>über zwei Zeilen</a:t>
            </a:r>
          </a:p>
        </p:txBody>
      </p:sp>
      <p:sp>
        <p:nvSpPr>
          <p:cNvPr id="6" name="Vertikaler Textplatzhalter 2"/>
          <p:cNvSpPr>
            <a:spLocks noGrp="1"/>
          </p:cNvSpPr>
          <p:nvPr>
            <p:ph type="body" orient="vert" idx="1" hasCustomPrompt="1"/>
          </p:nvPr>
        </p:nvSpPr>
        <p:spPr>
          <a:xfrm>
            <a:off x="359989" y="2698756"/>
            <a:ext cx="5494379" cy="3043237"/>
          </a:xfrm>
        </p:spPr>
        <p:txBody>
          <a:bodyPr vert="horz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dirty="0"/>
              <a:t>Fließtext auf erster Ebene // für weitere Aufzählungen </a:t>
            </a:r>
            <a:br>
              <a:rPr lang="de-DE" dirty="0"/>
            </a:br>
            <a:r>
              <a:rPr lang="de-DE" dirty="0"/>
              <a:t>&gt;&gt; Menü &gt; Start &gt; Absatz &gt; Listeneb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3" hasCustomPrompt="1"/>
          </p:nvPr>
        </p:nvSpPr>
        <p:spPr>
          <a:xfrm>
            <a:off x="7516172" y="1512000"/>
            <a:ext cx="4315843" cy="3204000"/>
          </a:xfrm>
          <a:solidFill>
            <a:schemeClr val="tx1">
              <a:lumMod val="20000"/>
              <a:lumOff val="80000"/>
            </a:schemeClr>
          </a:solidFill>
        </p:spPr>
        <p:txBody>
          <a:bodyPr anchor="ctr" anchorCtr="0"/>
          <a:lstStyle>
            <a:lvl1pPr algn="ctr">
              <a:spcBef>
                <a:spcPts val="0"/>
              </a:spcBef>
              <a:defRPr sz="674"/>
            </a:lvl1pPr>
          </a:lstStyle>
          <a:p>
            <a:r>
              <a:rPr lang="de-DE" dirty="0"/>
              <a:t>Platzhalter für ein Bild (Format: 4:3)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13" name="Vertikaler Textplatzhalter 2"/>
          <p:cNvSpPr>
            <a:spLocks noGrp="1"/>
          </p:cNvSpPr>
          <p:nvPr>
            <p:ph type="body" orient="vert" idx="14" hasCustomPrompt="1"/>
          </p:nvPr>
        </p:nvSpPr>
        <p:spPr>
          <a:xfrm>
            <a:off x="7516172" y="4860000"/>
            <a:ext cx="4315843" cy="881988"/>
          </a:xfrm>
        </p:spPr>
        <p:txBody>
          <a:bodyPr vert="horz"/>
          <a:lstStyle>
            <a:lvl1pPr marL="0" indent="0">
              <a:lnSpc>
                <a:spcPct val="112000"/>
              </a:lnSpc>
              <a:spcBef>
                <a:spcPts val="0"/>
              </a:spcBef>
              <a:buFont typeface="Arial" panose="020B0604020202020204" pitchFamily="34" charset="0"/>
              <a:buNone/>
              <a:defRPr sz="674" b="0" i="0">
                <a:latin typeface="+mn-lt"/>
              </a:defRPr>
            </a:lvl1pPr>
            <a:lvl2pPr marL="0" indent="0">
              <a:lnSpc>
                <a:spcPct val="112000"/>
              </a:lnSpc>
              <a:spcBef>
                <a:spcPts val="0"/>
              </a:spcBef>
              <a:buNone/>
              <a:defRPr sz="674" b="0" i="0">
                <a:latin typeface="+mn-lt"/>
              </a:defRPr>
            </a:lvl2pPr>
            <a:lvl3pPr marL="0" indent="0">
              <a:lnSpc>
                <a:spcPct val="112000"/>
              </a:lnSpc>
              <a:spcBef>
                <a:spcPts val="0"/>
              </a:spcBef>
              <a:buNone/>
              <a:defRPr sz="674" b="0" i="0">
                <a:latin typeface="+mn-lt"/>
              </a:defRPr>
            </a:lvl3pPr>
            <a:lvl4pPr marL="0" indent="0">
              <a:lnSpc>
                <a:spcPct val="112000"/>
              </a:lnSpc>
              <a:spcBef>
                <a:spcPts val="0"/>
              </a:spcBef>
              <a:buNone/>
              <a:defRPr sz="674" b="0" i="0">
                <a:latin typeface="+mn-lt"/>
              </a:defRPr>
            </a:lvl4pPr>
            <a:lvl5pPr marL="0" indent="0">
              <a:lnSpc>
                <a:spcPct val="112000"/>
              </a:lnSpc>
              <a:spcBef>
                <a:spcPts val="0"/>
              </a:spcBef>
              <a:buNone/>
              <a:defRPr sz="674" b="0" i="0">
                <a:latin typeface="+mn-lt"/>
              </a:defRPr>
            </a:lvl5pPr>
            <a:lvl6pPr marL="0" indent="0">
              <a:lnSpc>
                <a:spcPct val="112000"/>
              </a:lnSpc>
              <a:spcBef>
                <a:spcPts val="0"/>
              </a:spcBef>
              <a:buNone/>
              <a:defRPr sz="674" b="0" i="0">
                <a:latin typeface="+mn-lt"/>
              </a:defRPr>
            </a:lvl6pPr>
            <a:lvl7pPr marL="0" indent="0">
              <a:lnSpc>
                <a:spcPct val="112000"/>
              </a:lnSpc>
              <a:spcBef>
                <a:spcPts val="0"/>
              </a:spcBef>
              <a:buNone/>
              <a:defRPr sz="674" b="0" i="0">
                <a:latin typeface="+mn-lt"/>
              </a:defRPr>
            </a:lvl7pPr>
            <a:lvl8pPr marL="0" indent="0">
              <a:lnSpc>
                <a:spcPct val="112000"/>
              </a:lnSpc>
              <a:spcBef>
                <a:spcPts val="0"/>
              </a:spcBef>
              <a:buNone/>
              <a:defRPr sz="674" b="0" i="0">
                <a:latin typeface="+mn-lt"/>
              </a:defRPr>
            </a:lvl8pPr>
            <a:lvl9pPr marL="0" indent="0">
              <a:lnSpc>
                <a:spcPct val="112000"/>
              </a:lnSpc>
              <a:spcBef>
                <a:spcPts val="0"/>
              </a:spcBef>
              <a:buNone/>
              <a:defRPr sz="674" b="0" i="0">
                <a:latin typeface="+mn-lt"/>
              </a:defRPr>
            </a:lvl9pPr>
          </a:lstStyle>
          <a:p>
            <a:pPr lvl="0"/>
            <a:r>
              <a:rPr lang="de-DE" dirty="0"/>
              <a:t>Bildunterschrift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5"/>
          </p:nvPr>
        </p:nvSpPr>
        <p:spPr>
          <a:xfrm>
            <a:off x="3208381" y="280864"/>
            <a:ext cx="8235421" cy="360000"/>
          </a:xfrm>
          <a:prstGeom prst="rect">
            <a:avLst/>
          </a:prstGeom>
        </p:spPr>
        <p:txBody>
          <a:bodyPr/>
          <a:lstStyle/>
          <a:p>
            <a:fld id="{45A63F7B-1CDE-42B1-BB47-E20587E3B8BC}" type="datetime1">
              <a:rPr lang="de-DE" smtClean="0"/>
              <a:t>16.04.25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#›</a:t>
            </a:fld>
            <a:r>
              <a:rPr lang="de-DE"/>
              <a:t> </a:t>
            </a:r>
            <a:endParaRPr lang="de-DE" sz="787" dirty="0"/>
          </a:p>
        </p:txBody>
      </p:sp>
    </p:spTree>
    <p:extLst>
      <p:ext uri="{BB962C8B-B14F-4D97-AF65-F5344CB8AC3E}">
        <p14:creationId xmlns:p14="http://schemas.microsoft.com/office/powerpoint/2010/main" val="27010843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17" userDrawn="1">
          <p15:clr>
            <a:srgbClr val="FBAE40"/>
          </p15:clr>
        </p15:guide>
        <p15:guide id="2" orient="horz" pos="906" userDrawn="1">
          <p15:clr>
            <a:srgbClr val="FBAE40"/>
          </p15:clr>
        </p15:guide>
        <p15:guide id="3" orient="horz" pos="1700" userDrawn="1">
          <p15:clr>
            <a:srgbClr val="FBAE40"/>
          </p15:clr>
        </p15:guide>
        <p15:guide id="4" pos="404" userDrawn="1">
          <p15:clr>
            <a:srgbClr val="FBAE40"/>
          </p15:clr>
        </p15:guide>
        <p15:guide id="5" pos="1326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Headline einfügen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>
          <a:xfrm>
            <a:off x="3208381" y="280864"/>
            <a:ext cx="8235421" cy="360000"/>
          </a:xfrm>
          <a:prstGeom prst="rect">
            <a:avLst/>
          </a:prstGeom>
        </p:spPr>
        <p:txBody>
          <a:bodyPr/>
          <a:lstStyle/>
          <a:p>
            <a:fld id="{D2091DDE-18AF-42F6-9E6C-5585E0F7F6A0}" type="datetime1">
              <a:rPr lang="de-DE" smtClean="0"/>
              <a:t>16.04.25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‹#›</a:t>
            </a:fld>
            <a:r>
              <a:rPr lang="de-DE"/>
              <a:t> </a:t>
            </a:r>
            <a:endParaRPr lang="de-DE" sz="787" dirty="0"/>
          </a:p>
        </p:txBody>
      </p:sp>
    </p:spTree>
    <p:extLst>
      <p:ext uri="{BB962C8B-B14F-4D97-AF65-F5344CB8AC3E}">
        <p14:creationId xmlns:p14="http://schemas.microsoft.com/office/powerpoint/2010/main" val="1446806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4" userDrawn="1">
          <p15:clr>
            <a:srgbClr val="FBAE40"/>
          </p15:clr>
        </p15:guide>
        <p15:guide id="2" pos="13264" userDrawn="1">
          <p15:clr>
            <a:srgbClr val="FBAE40"/>
          </p15:clr>
        </p15:guide>
        <p15:guide id="3" orient="horz" pos="3617" userDrawn="1">
          <p15:clr>
            <a:srgbClr val="FBAE40"/>
          </p15:clr>
        </p15:guide>
        <p15:guide id="4" orient="horz" pos="906" userDrawn="1">
          <p15:clr>
            <a:srgbClr val="FBAE40"/>
          </p15:clr>
        </p15:guide>
        <p15:guide id="5" orient="horz" pos="14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Regieanweisungen"/>
          <p:cNvGrpSpPr/>
          <p:nvPr userDrawn="1"/>
        </p:nvGrpSpPr>
        <p:grpSpPr>
          <a:xfrm>
            <a:off x="-2050601" y="-468000"/>
            <a:ext cx="15824937" cy="7776001"/>
            <a:chOff x="-2052737" y="-468000"/>
            <a:chExt cx="15841421" cy="7776001"/>
          </a:xfrm>
        </p:grpSpPr>
        <p:sp>
          <p:nvSpPr>
            <p:cNvPr id="35" name="Hilfslinien"/>
            <p:cNvSpPr txBox="1"/>
            <p:nvPr userDrawn="1"/>
          </p:nvSpPr>
          <p:spPr>
            <a:xfrm rot="10800000" flipH="1" flipV="1">
              <a:off x="360000" y="-468000"/>
              <a:ext cx="11484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77421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506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  <a:r>
                <a:rPr kumimoji="0" lang="de-DE" sz="506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Haken bei Führungslinien setzen</a:t>
              </a:r>
            </a:p>
          </p:txBody>
        </p:sp>
        <p:sp>
          <p:nvSpPr>
            <p:cNvPr id="36" name="Fußzeile"/>
            <p:cNvSpPr txBox="1"/>
            <p:nvPr userDrawn="1"/>
          </p:nvSpPr>
          <p:spPr>
            <a:xfrm rot="10800000" flipH="1" flipV="1">
              <a:off x="395999" y="6948001"/>
              <a:ext cx="6883201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77421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506" b="0" baseline="0" dirty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506" b="1" baseline="0" dirty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cxnSp>
          <p:nvCxnSpPr>
            <p:cNvPr id="41" name="Linie"/>
            <p:cNvCxnSpPr/>
            <p:nvPr userDrawn="1"/>
          </p:nvCxnSpPr>
          <p:spPr>
            <a:xfrm>
              <a:off x="11844000" y="-46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Linie"/>
            <p:cNvCxnSpPr/>
            <p:nvPr userDrawn="1"/>
          </p:nvCxnSpPr>
          <p:spPr>
            <a:xfrm>
              <a:off x="360000" y="-46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Linie"/>
            <p:cNvCxnSpPr/>
            <p:nvPr userDrawn="1"/>
          </p:nvCxnSpPr>
          <p:spPr>
            <a:xfrm>
              <a:off x="11844000" y="694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Linie"/>
            <p:cNvCxnSpPr/>
            <p:nvPr userDrawn="1"/>
          </p:nvCxnSpPr>
          <p:spPr>
            <a:xfrm>
              <a:off x="360000" y="6948000"/>
              <a:ext cx="0" cy="36000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Text // Listenebene erhöhen"/>
            <p:cNvSpPr txBox="1"/>
            <p:nvPr userDrawn="1"/>
          </p:nvSpPr>
          <p:spPr>
            <a:xfrm>
              <a:off x="-1656000" y="3204000"/>
              <a:ext cx="864680" cy="25200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r" defTabSz="678722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449" b="1" baseline="0" dirty="0">
                  <a:solidFill>
                    <a:schemeClr val="tx1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678722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449" b="1" baseline="0" dirty="0">
                  <a:solidFill>
                    <a:schemeClr val="tx1"/>
                  </a:solidFill>
                  <a:latin typeface="+mn-lt"/>
                </a:rPr>
                <a:t>erhöhen</a:t>
              </a:r>
            </a:p>
          </p:txBody>
        </p:sp>
        <p:sp>
          <p:nvSpPr>
            <p:cNvPr id="60" name="Text // Listenebene verringern"/>
            <p:cNvSpPr txBox="1"/>
            <p:nvPr userDrawn="1"/>
          </p:nvSpPr>
          <p:spPr>
            <a:xfrm>
              <a:off x="-1656000" y="3600000"/>
              <a:ext cx="864680" cy="25200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r" defTabSz="678722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449" b="1" baseline="0" dirty="0">
                  <a:solidFill>
                    <a:schemeClr val="tx1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678722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449" b="1" baseline="0" dirty="0">
                  <a:solidFill>
                    <a:schemeClr val="tx1"/>
                  </a:solidFill>
                  <a:latin typeface="+mn-lt"/>
                </a:rPr>
                <a:t>verringern</a:t>
              </a:r>
            </a:p>
          </p:txBody>
        </p:sp>
        <p:sp>
          <p:nvSpPr>
            <p:cNvPr id="61" name="Listenebenen"/>
            <p:cNvSpPr txBox="1"/>
            <p:nvPr userDrawn="1"/>
          </p:nvSpPr>
          <p:spPr>
            <a:xfrm rot="10800000" flipH="1" flipV="1">
              <a:off x="-2052736" y="2376000"/>
              <a:ext cx="1944736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678722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506" b="0" baseline="0" dirty="0">
                  <a:solidFill>
                    <a:schemeClr val="tx1"/>
                  </a:solidFill>
                  <a:latin typeface="+mn-lt"/>
                </a:rPr>
                <a:t>Wechsel der Textebene</a:t>
              </a:r>
            </a:p>
            <a:p>
              <a:pPr marL="0" marR="0" lvl="0" indent="0" algn="r" defTabSz="678722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506" b="0" baseline="0" dirty="0">
                  <a:solidFill>
                    <a:schemeClr val="tx1"/>
                  </a:solidFill>
                  <a:latin typeface="+mn-lt"/>
                </a:rPr>
                <a:t>im Menü über: </a:t>
              </a:r>
              <a:br>
                <a:rPr lang="de-DE" sz="506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506" b="1" baseline="0" dirty="0">
                  <a:solidFill>
                    <a:schemeClr val="tx1"/>
                  </a:solidFill>
                  <a:latin typeface="+mn-lt"/>
                </a:rPr>
                <a:t>Start &gt; Absatz &gt; Listenebene erhöhen/verringern</a:t>
              </a:r>
            </a:p>
          </p:txBody>
        </p:sp>
        <p:pic>
          <p:nvPicPr>
            <p:cNvPr id="62" name="Bild // Listenebene verringern"/>
            <p:cNvPicPr>
              <a:picLocks noChangeAspect="1"/>
            </p:cNvPicPr>
            <p:nvPr userDrawn="1"/>
          </p:nvPicPr>
          <p:blipFill>
            <a:blip r:embed="rId15"/>
            <a:stretch>
              <a:fillRect/>
            </a:stretch>
          </p:blipFill>
          <p:spPr>
            <a:xfrm>
              <a:off x="-684000" y="3600000"/>
              <a:ext cx="544320" cy="252000"/>
            </a:xfrm>
            <a:prstGeom prst="rect">
              <a:avLst/>
            </a:prstGeom>
          </p:spPr>
        </p:pic>
        <p:pic>
          <p:nvPicPr>
            <p:cNvPr id="63" name="Bild // Listenebene erhöhen"/>
            <p:cNvPicPr>
              <a:picLocks noChangeAspect="1"/>
            </p:cNvPicPr>
            <p:nvPr userDrawn="1"/>
          </p:nvPicPr>
          <p:blipFill>
            <a:blip r:embed="rId16"/>
            <a:stretch>
              <a:fillRect/>
            </a:stretch>
          </p:blipFill>
          <p:spPr>
            <a:xfrm>
              <a:off x="-684000" y="3204000"/>
              <a:ext cx="544320" cy="252000"/>
            </a:xfrm>
            <a:prstGeom prst="rect">
              <a:avLst/>
            </a:prstGeom>
          </p:spPr>
        </p:pic>
        <p:sp>
          <p:nvSpPr>
            <p:cNvPr id="64" name="Zurücksetzen"/>
            <p:cNvSpPr txBox="1"/>
            <p:nvPr userDrawn="1"/>
          </p:nvSpPr>
          <p:spPr>
            <a:xfrm rot="10800000" flipH="1" flipV="1">
              <a:off x="-2052737" y="648000"/>
              <a:ext cx="1944737" cy="54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506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506" b="0" baseline="0" dirty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506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65" name="Layoutwechsel"/>
            <p:cNvSpPr txBox="1"/>
            <p:nvPr userDrawn="1"/>
          </p:nvSpPr>
          <p:spPr>
            <a:xfrm rot="10800000" flipH="1" flipV="1">
              <a:off x="-2052737" y="1"/>
              <a:ext cx="1944737" cy="54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506" b="0" baseline="0" dirty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506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506" b="0" baseline="0" dirty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r" defTabSz="678722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506" b="1" baseline="0" dirty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66" name="Fußzeile"/>
            <p:cNvSpPr txBox="1"/>
            <p:nvPr userDrawn="1"/>
          </p:nvSpPr>
          <p:spPr>
            <a:xfrm rot="10800000" flipH="1" flipV="1">
              <a:off x="12312000" y="388800"/>
              <a:ext cx="1476684" cy="10512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774218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506" b="1" baseline="0" dirty="0">
                  <a:solidFill>
                    <a:schemeClr val="bg2"/>
                  </a:solidFill>
                  <a:latin typeface="+mn-lt"/>
                </a:rPr>
                <a:t>Datumsfeld dient </a:t>
              </a:r>
            </a:p>
            <a:p>
              <a:pPr marL="0" marR="0" lvl="0" indent="0" algn="l" defTabSz="774218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506" b="1" baseline="0" dirty="0">
                  <a:solidFill>
                    <a:schemeClr val="bg2"/>
                  </a:solidFill>
                  <a:latin typeface="+mn-lt"/>
                </a:rPr>
                <a:t>als Kopfzeile!</a:t>
              </a:r>
            </a:p>
            <a:p>
              <a:pPr marL="0" marR="0" lvl="0" indent="0" algn="l" defTabSz="774218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506" b="0" baseline="0" dirty="0">
                  <a:solidFill>
                    <a:schemeClr val="tx1"/>
                  </a:solidFill>
                  <a:latin typeface="+mn-lt"/>
                </a:rPr>
                <a:t>Kopfzeile anpassen: </a:t>
              </a:r>
            </a:p>
            <a:p>
              <a:pPr marL="0" marR="0" lvl="0" indent="0" algn="l" defTabSz="774218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506" b="1" baseline="0" dirty="0">
                  <a:solidFill>
                    <a:schemeClr val="tx1"/>
                  </a:solidFill>
                  <a:latin typeface="+mn-lt"/>
                </a:rPr>
                <a:t>Einfügen &gt; Text </a:t>
              </a:r>
            </a:p>
            <a:p>
              <a:pPr marL="0" marR="0" lvl="0" indent="0" algn="l" defTabSz="774218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506" b="1" baseline="0" dirty="0">
                  <a:solidFill>
                    <a:schemeClr val="tx1"/>
                  </a:solidFill>
                  <a:latin typeface="+mn-lt"/>
                </a:rPr>
                <a:t>&gt; Kopf- und Fußzeile</a:t>
              </a:r>
            </a:p>
          </p:txBody>
        </p:sp>
        <p:cxnSp>
          <p:nvCxnSpPr>
            <p:cNvPr id="67" name="Linie"/>
            <p:cNvCxnSpPr/>
            <p:nvPr userDrawn="1"/>
          </p:nvCxnSpPr>
          <p:spPr>
            <a:xfrm>
              <a:off x="12312000" y="2284414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Linie"/>
            <p:cNvCxnSpPr/>
            <p:nvPr userDrawn="1"/>
          </p:nvCxnSpPr>
          <p:spPr>
            <a:xfrm>
              <a:off x="12312000" y="5742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Linie"/>
            <p:cNvCxnSpPr/>
            <p:nvPr userDrawn="1"/>
          </p:nvCxnSpPr>
          <p:spPr>
            <a:xfrm>
              <a:off x="-467999" y="2284414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Linie"/>
            <p:cNvCxnSpPr/>
            <p:nvPr userDrawn="1"/>
          </p:nvCxnSpPr>
          <p:spPr>
            <a:xfrm>
              <a:off x="-468000" y="5742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Linie"/>
            <p:cNvCxnSpPr/>
            <p:nvPr userDrawn="1"/>
          </p:nvCxnSpPr>
          <p:spPr>
            <a:xfrm>
              <a:off x="-467999" y="1440000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Linie"/>
            <p:cNvCxnSpPr/>
            <p:nvPr userDrawn="1"/>
          </p:nvCxnSpPr>
          <p:spPr>
            <a:xfrm>
              <a:off x="12312000" y="1438599"/>
              <a:ext cx="360000" cy="0"/>
            </a:xfrm>
            <a:prstGeom prst="line">
              <a:avLst/>
            </a:prstGeom>
            <a:ln w="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>
          <a:xfrm>
            <a:off x="359628" y="1440002"/>
            <a:ext cx="11472049" cy="5753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Headline einfügen</a:t>
            </a:r>
          </a:p>
        </p:txBody>
      </p: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>
          <a:xfrm>
            <a:off x="359628" y="2284414"/>
            <a:ext cx="11472049" cy="345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/>
              <a:t>Fließtext auf erster Ebene // für weitere Aufzählungen </a:t>
            </a:r>
            <a:br>
              <a:rPr lang="de-DE" dirty="0"/>
            </a:br>
            <a:r>
              <a:rPr lang="de-DE" dirty="0"/>
              <a:t>&gt;&gt; Menü &gt; Start &gt; Absatz &gt; Listeneb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3"/>
          </p:nvPr>
        </p:nvSpPr>
        <p:spPr>
          <a:xfrm>
            <a:off x="359625" y="6172447"/>
            <a:ext cx="8415235" cy="36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74" b="0" i="0" baseline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674" b="0" i="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674" b="0" i="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674" b="0" i="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674" b="0" i="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674" b="0" i="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674" b="0" i="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674" b="0" i="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674" b="0" i="0" baseline="0">
                <a:latin typeface="+mn-lt"/>
              </a:defRPr>
            </a:lvl9pPr>
          </a:lstStyle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4"/>
          </p:nvPr>
        </p:nvSpPr>
        <p:spPr>
          <a:xfrm>
            <a:off x="11004537" y="6172448"/>
            <a:ext cx="827139" cy="36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24" b="1" i="0" baseline="0">
                <a:solidFill>
                  <a:schemeClr val="bg2"/>
                </a:solidFill>
                <a:latin typeface="+mj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defRPr sz="1049" b="1" i="0" baseline="0">
                <a:latin typeface="+mj-lt"/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defRPr sz="1049" b="1" i="0" baseline="0">
                <a:latin typeface="+mj-lt"/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defRPr sz="1049" b="1" i="0" baseline="0">
                <a:latin typeface="+mj-lt"/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defRPr sz="1049" b="1" i="0" baseline="0">
                <a:latin typeface="+mj-lt"/>
              </a:defRPr>
            </a:lvl5pPr>
            <a:lvl6pPr marL="0" indent="0" algn="r">
              <a:lnSpc>
                <a:spcPct val="100000"/>
              </a:lnSpc>
              <a:spcBef>
                <a:spcPts val="0"/>
              </a:spcBef>
              <a:defRPr sz="1049" b="1" i="0" baseline="0">
                <a:latin typeface="+mj-lt"/>
              </a:defRPr>
            </a:lvl6pPr>
            <a:lvl7pPr marL="0" indent="0" algn="r">
              <a:lnSpc>
                <a:spcPct val="100000"/>
              </a:lnSpc>
              <a:spcBef>
                <a:spcPts val="0"/>
              </a:spcBef>
              <a:defRPr sz="1049" b="1" i="0" baseline="0">
                <a:latin typeface="+mj-lt"/>
              </a:defRPr>
            </a:lvl7pPr>
            <a:lvl8pPr marL="0" indent="0" algn="r">
              <a:lnSpc>
                <a:spcPct val="100000"/>
              </a:lnSpc>
              <a:spcBef>
                <a:spcPts val="0"/>
              </a:spcBef>
              <a:defRPr sz="1049" b="1" i="0" baseline="0">
                <a:latin typeface="+mj-lt"/>
              </a:defRPr>
            </a:lvl8pPr>
            <a:lvl9pPr marL="0" indent="0" algn="r">
              <a:lnSpc>
                <a:spcPct val="100000"/>
              </a:lnSpc>
              <a:spcBef>
                <a:spcPts val="0"/>
              </a:spcBef>
              <a:defRPr sz="1049" b="1" i="0" baseline="0">
                <a:latin typeface="+mj-lt"/>
              </a:defRPr>
            </a:lvl9pPr>
          </a:lstStyle>
          <a:p>
            <a:fld id="{6C8FC03C-C266-4645-ABC5-645062898383}" type="slidenum">
              <a:rPr lang="de-DE" smtClean="0"/>
              <a:pPr/>
              <a:t>‹#›</a:t>
            </a:fld>
            <a:r>
              <a:rPr lang="de-DE" dirty="0"/>
              <a:t> </a:t>
            </a:r>
            <a:endParaRPr lang="de-DE" sz="787" dirty="0"/>
          </a:p>
        </p:txBody>
      </p:sp>
      <p:sp>
        <p:nvSpPr>
          <p:cNvPr id="34" name="Linie"/>
          <p:cNvSpPr/>
          <p:nvPr userDrawn="1"/>
        </p:nvSpPr>
        <p:spPr>
          <a:xfrm>
            <a:off x="0" y="6030720"/>
            <a:ext cx="12192000" cy="169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12"/>
          </a:p>
        </p:txBody>
      </p:sp>
    </p:spTree>
    <p:extLst>
      <p:ext uri="{BB962C8B-B14F-4D97-AF65-F5344CB8AC3E}">
        <p14:creationId xmlns:p14="http://schemas.microsoft.com/office/powerpoint/2010/main" val="9698939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  <p:sldLayoutId id="2147483680" r:id="rId13"/>
  </p:sldLayoutIdLst>
  <p:hf hdr="0" dt="0"/>
  <p:txStyles>
    <p:titleStyle>
      <a:lvl1pPr marL="0" indent="0" algn="l" defTabSz="513788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461" b="1" i="0" kern="1200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0" indent="0" algn="l" defTabSz="513788" rtl="0" eaLnBrk="1" latinLnBrk="0" hangingPunct="1">
        <a:lnSpc>
          <a:spcPct val="108000"/>
        </a:lnSpc>
        <a:spcBef>
          <a:spcPts val="393"/>
        </a:spcBef>
        <a:spcAft>
          <a:spcPts val="0"/>
        </a:spcAft>
        <a:buFont typeface="Arial" panose="020B0604020202020204" pitchFamily="34" charset="0"/>
        <a:buNone/>
        <a:defRPr lang="de-DE" sz="956" b="0" i="0" u="none" strike="noStrike" kern="1200" baseline="0" smtClean="0">
          <a:solidFill>
            <a:schemeClr val="tx1"/>
          </a:solidFill>
          <a:latin typeface="+mn-lt"/>
          <a:ea typeface="+mn-ea"/>
          <a:cs typeface="+mn-cs"/>
        </a:defRPr>
      </a:lvl1pPr>
      <a:lvl2pPr marL="182056" indent="-80914" algn="l" defTabSz="513788" rtl="0" eaLnBrk="1" latinLnBrk="0" hangingPunct="1">
        <a:lnSpc>
          <a:spcPct val="108000"/>
        </a:lnSpc>
        <a:spcBef>
          <a:spcPts val="393"/>
        </a:spcBef>
        <a:spcAft>
          <a:spcPts val="0"/>
        </a:spcAft>
        <a:buFont typeface="Meta Offc Pro" panose="020B0504030101020102" pitchFamily="34" charset="0"/>
        <a:buChar char="-"/>
        <a:defRPr sz="956" b="1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283198" indent="-80914" algn="l" defTabSz="513788" rtl="0" eaLnBrk="1" latinLnBrk="0" hangingPunct="1">
        <a:lnSpc>
          <a:spcPct val="108000"/>
        </a:lnSpc>
        <a:spcBef>
          <a:spcPts val="393"/>
        </a:spcBef>
        <a:spcAft>
          <a:spcPts val="0"/>
        </a:spcAft>
        <a:buFont typeface="Meta Offc Pro" panose="020B0504030101020102" pitchFamily="34" charset="0"/>
        <a:buChar char="-"/>
        <a:defRPr sz="956" b="1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384340" indent="-80914" algn="l" defTabSz="513788" rtl="0" eaLnBrk="1" latinLnBrk="0" hangingPunct="1">
        <a:lnSpc>
          <a:spcPct val="108000"/>
        </a:lnSpc>
        <a:spcBef>
          <a:spcPts val="393"/>
        </a:spcBef>
        <a:spcAft>
          <a:spcPts val="0"/>
        </a:spcAft>
        <a:buFont typeface="Meta Offc Pro" panose="020B0504030101020102" pitchFamily="34" charset="0"/>
        <a:buChar char="-"/>
        <a:defRPr sz="956" b="1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485482" indent="-80914" algn="l" defTabSz="513788" rtl="0" eaLnBrk="1" latinLnBrk="0" hangingPunct="1">
        <a:lnSpc>
          <a:spcPct val="108000"/>
        </a:lnSpc>
        <a:spcBef>
          <a:spcPts val="393"/>
        </a:spcBef>
        <a:spcAft>
          <a:spcPts val="0"/>
        </a:spcAft>
        <a:buFont typeface="Meta Offc Pro" panose="020B0504030101020102" pitchFamily="34" charset="0"/>
        <a:buChar char="-"/>
        <a:defRPr sz="956" b="1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485482" indent="-80914" algn="l" defTabSz="513788" rtl="0" eaLnBrk="1" latinLnBrk="0" hangingPunct="1">
        <a:lnSpc>
          <a:spcPct val="108000"/>
        </a:lnSpc>
        <a:spcBef>
          <a:spcPts val="393"/>
        </a:spcBef>
        <a:spcAft>
          <a:spcPts val="0"/>
        </a:spcAft>
        <a:buFont typeface="Meta Offc Pro" panose="020B0504030101020102" pitchFamily="34" charset="0"/>
        <a:buChar char="-"/>
        <a:defRPr sz="956" b="1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485482" indent="-80914" algn="l" defTabSz="513788" rtl="0" eaLnBrk="1" latinLnBrk="0" hangingPunct="1">
        <a:lnSpc>
          <a:spcPct val="108000"/>
        </a:lnSpc>
        <a:spcBef>
          <a:spcPts val="393"/>
        </a:spcBef>
        <a:spcAft>
          <a:spcPts val="0"/>
        </a:spcAft>
        <a:buFont typeface="Meta Offc Pro" panose="020B0504030101020102" pitchFamily="34" charset="0"/>
        <a:buChar char="-"/>
        <a:defRPr sz="956" b="1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485482" indent="-80914" algn="l" defTabSz="513788" rtl="0" eaLnBrk="1" latinLnBrk="0" hangingPunct="1">
        <a:lnSpc>
          <a:spcPct val="108000"/>
        </a:lnSpc>
        <a:spcBef>
          <a:spcPts val="393"/>
        </a:spcBef>
        <a:spcAft>
          <a:spcPts val="0"/>
        </a:spcAft>
        <a:buFont typeface="Meta Offc Pro" panose="020B0504030101020102" pitchFamily="34" charset="0"/>
        <a:buChar char="-"/>
        <a:defRPr sz="956" b="1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485482" indent="-80914" algn="l" defTabSz="513788" rtl="0" eaLnBrk="1" latinLnBrk="0" hangingPunct="1">
        <a:lnSpc>
          <a:spcPct val="108000"/>
        </a:lnSpc>
        <a:spcBef>
          <a:spcPts val="393"/>
        </a:spcBef>
        <a:spcAft>
          <a:spcPts val="0"/>
        </a:spcAft>
        <a:buFont typeface="Meta Offc Pro" panose="020B0504030101020102" pitchFamily="34" charset="0"/>
        <a:buChar char="-"/>
        <a:defRPr sz="956" b="1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513788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1pPr>
      <a:lvl2pPr marL="256895" algn="l" defTabSz="513788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2pPr>
      <a:lvl3pPr marL="513788" algn="l" defTabSz="513788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3pPr>
      <a:lvl4pPr marL="770683" algn="l" defTabSz="513788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4pPr>
      <a:lvl5pPr marL="1027577" algn="l" defTabSz="513788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5pPr>
      <a:lvl6pPr marL="1284471" algn="l" defTabSz="513788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6pPr>
      <a:lvl7pPr marL="1541366" algn="l" defTabSz="513788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7pPr>
      <a:lvl8pPr marL="1798260" algn="l" defTabSz="513788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8pPr>
      <a:lvl9pPr marL="2055155" algn="l" defTabSz="513788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13" Type="http://schemas.openxmlformats.org/officeDocument/2006/relationships/image" Target="../media/image17.wmf"/><Relationship Id="rId3" Type="http://schemas.openxmlformats.org/officeDocument/2006/relationships/image" Target="../media/image12.wmf"/><Relationship Id="rId7" Type="http://schemas.openxmlformats.org/officeDocument/2006/relationships/image" Target="../media/image14.wmf"/><Relationship Id="rId12" Type="http://schemas.openxmlformats.org/officeDocument/2006/relationships/oleObject" Target="../embeddings/oleObject8.bin"/><Relationship Id="rId2" Type="http://schemas.openxmlformats.org/officeDocument/2006/relationships/oleObject" Target="../embeddings/oleObject3.bin"/><Relationship Id="rId1" Type="http://schemas.openxmlformats.org/officeDocument/2006/relationships/slideLayout" Target="../slideLayouts/slideLayout7.x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16.wmf"/><Relationship Id="rId5" Type="http://schemas.openxmlformats.org/officeDocument/2006/relationships/image" Target="../media/image13.wmf"/><Relationship Id="rId10" Type="http://schemas.openxmlformats.org/officeDocument/2006/relationships/oleObject" Target="../embeddings/oleObject7.bin"/><Relationship Id="rId4" Type="http://schemas.openxmlformats.org/officeDocument/2006/relationships/oleObject" Target="../embeddings/oleObject4.bin"/><Relationship Id="rId9" Type="http://schemas.openxmlformats.org/officeDocument/2006/relationships/image" Target="../media/image15.wmf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wmf"/><Relationship Id="rId2" Type="http://schemas.openxmlformats.org/officeDocument/2006/relationships/oleObject" Target="../embeddings/oleObject1.bin"/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wmf"/><Relationship Id="rId2" Type="http://schemas.openxmlformats.org/officeDocument/2006/relationships/oleObject" Target="../embeddings/oleObject1.bin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wmf"/><Relationship Id="rId2" Type="http://schemas.openxmlformats.org/officeDocument/2006/relationships/oleObject" Target="../embeddings/oleObject2.bin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6" name="Text Box 22"/>
          <p:cNvSpPr txBox="1">
            <a:spLocks noChangeArrowheads="1"/>
          </p:cNvSpPr>
          <p:nvPr/>
        </p:nvSpPr>
        <p:spPr bwMode="auto">
          <a:xfrm>
            <a:off x="8472264" y="5838363"/>
            <a:ext cx="3577580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de-DE" sz="1600" b="1" dirty="0">
                <a:latin typeface="Calibri" pitchFamily="34" charset="0"/>
              </a:rPr>
              <a:t>Dieser Foliensatz basiert auf den Folien zu „Rechnerorganisation“ von Prof. Dr. Ben </a:t>
            </a:r>
            <a:r>
              <a:rPr lang="de-DE" sz="1600" b="1" dirty="0" err="1">
                <a:latin typeface="Calibri" pitchFamily="34" charset="0"/>
              </a:rPr>
              <a:t>Juurlink</a:t>
            </a:r>
            <a:r>
              <a:rPr lang="de-DE" sz="1600" b="1" dirty="0">
                <a:latin typeface="Calibri" pitchFamily="34" charset="0"/>
              </a:rPr>
              <a:t> (TU Berlin) und Prof. Dr. Paula Herber, WWU M</a:t>
            </a:r>
            <a:r>
              <a:rPr lang="en-GB" sz="1600" b="1" dirty="0" err="1">
                <a:latin typeface="Calibri" pitchFamily="34" charset="0"/>
              </a:rPr>
              <a:t>ünster</a:t>
            </a:r>
            <a:endParaRPr lang="de-DE" sz="1600" b="1" dirty="0">
              <a:latin typeface="Calibri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59626" y="1936750"/>
            <a:ext cx="9480790" cy="1277938"/>
          </a:xfrm>
        </p:spPr>
        <p:txBody>
          <a:bodyPr/>
          <a:lstStyle/>
          <a:p>
            <a:r>
              <a:rPr lang="de-DE" sz="2000" dirty="0"/>
              <a:t>IT-Infrastrukturen </a:t>
            </a:r>
            <a:r>
              <a:rPr lang="de-DE" sz="2000"/>
              <a:t>– Rechnerstrukturen </a:t>
            </a:r>
            <a:br>
              <a:rPr lang="de-DE" sz="2000" dirty="0"/>
            </a:br>
            <a:br>
              <a:rPr lang="de-DE" sz="2000" dirty="0"/>
            </a:br>
            <a:r>
              <a:rPr lang="de-DE" sz="2400" dirty="0"/>
              <a:t>Thema 1: Zahlendarstellung und Rechnerarithmetik</a:t>
            </a:r>
            <a:endParaRPr lang="de-DE" sz="32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61282" y="3789128"/>
            <a:ext cx="6401332" cy="792000"/>
          </a:xfrm>
        </p:spPr>
        <p:txBody>
          <a:bodyPr/>
          <a:lstStyle/>
          <a:p>
            <a:r>
              <a:rPr lang="de-DE" sz="1800" b="1" dirty="0"/>
              <a:t>Prof. Dr.</a:t>
            </a:r>
            <a:r>
              <a:rPr lang="en-US" sz="1800" b="1" dirty="0"/>
              <a:t>-Ing. Sebastian Schlesinger</a:t>
            </a:r>
          </a:p>
          <a:p>
            <a:r>
              <a:rPr lang="en-US" sz="1800" b="1" dirty="0" err="1"/>
              <a:t>Professur</a:t>
            </a:r>
            <a:r>
              <a:rPr lang="en-US" sz="1800" b="1" dirty="0"/>
              <a:t> f</a:t>
            </a:r>
            <a:r>
              <a:rPr lang="en-GB" sz="1800" b="1" dirty="0"/>
              <a:t>ü</a:t>
            </a:r>
            <a:r>
              <a:rPr lang="en-US" sz="1800" b="1" dirty="0"/>
              <a:t>r </a:t>
            </a:r>
            <a:r>
              <a:rPr lang="en-US" sz="1800" b="1" dirty="0" err="1"/>
              <a:t>Wirtschaftsinformatik</a:t>
            </a:r>
            <a:r>
              <a:rPr lang="en-US" sz="1800" b="1" dirty="0"/>
              <a:t> </a:t>
            </a:r>
            <a:br>
              <a:rPr lang="en-US" sz="1800" b="1" dirty="0"/>
            </a:br>
            <a:r>
              <a:rPr lang="en-US" sz="1800" b="1" dirty="0"/>
              <a:t>(Security &amp; Embedded Systems Engineering)</a:t>
            </a:r>
            <a:endParaRPr lang="de-DE" sz="1800" b="1" dirty="0"/>
          </a:p>
        </p:txBody>
      </p:sp>
      <p:sp>
        <p:nvSpPr>
          <p:cNvPr id="10" name="Vertikaler Textplatzhalter 9"/>
          <p:cNvSpPr>
            <a:spLocks noGrp="1"/>
          </p:cNvSpPr>
          <p:nvPr>
            <p:ph type="body" orient="vert" idx="13"/>
          </p:nvPr>
        </p:nvSpPr>
        <p:spPr>
          <a:xfrm>
            <a:off x="6240017" y="5757105"/>
            <a:ext cx="5591660" cy="792000"/>
          </a:xfrm>
        </p:spPr>
        <p:txBody>
          <a:bodyPr/>
          <a:lstStyle/>
          <a:p>
            <a:r>
              <a:rPr lang="de-DE" dirty="0"/>
              <a:t> u     </a:t>
            </a:r>
          </a:p>
        </p:txBody>
      </p:sp>
    </p:spTree>
    <p:extLst>
      <p:ext uri="{BB962C8B-B14F-4D97-AF65-F5344CB8AC3E}">
        <p14:creationId xmlns:p14="http://schemas.microsoft.com/office/powerpoint/2010/main" val="1677353698"/>
      </p:ext>
    </p:extLst>
  </p:cSld>
  <p:clrMapOvr>
    <a:masterClrMapping/>
  </p:clrMapOvr>
  <p:transition>
    <p:pull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Bits und Byt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idx="1"/>
          </p:nvPr>
        </p:nvSpPr>
        <p:spPr/>
        <p:txBody>
          <a:bodyPr anchor="ctr">
            <a:noAutofit/>
          </a:bodyPr>
          <a:lstStyle/>
          <a:p>
            <a:endParaRPr lang="de-DE" sz="2400" dirty="0"/>
          </a:p>
          <a:p>
            <a:r>
              <a:rPr lang="de-DE" sz="2400" dirty="0"/>
              <a:t>Alle Informationen werden im Rechner als Binärzahlen gespeichert</a:t>
            </a:r>
          </a:p>
          <a:p>
            <a:r>
              <a:rPr lang="de-DE" sz="2400" dirty="0"/>
              <a:t>kleinste Einheit: 1 Bit = eine Ziffer einer </a:t>
            </a:r>
            <a:r>
              <a:rPr lang="de-DE" sz="2400" dirty="0" err="1"/>
              <a:t>Dualzahl</a:t>
            </a:r>
            <a:endParaRPr lang="de-DE" sz="2400" dirty="0"/>
          </a:p>
          <a:p>
            <a:pPr>
              <a:spcAft>
                <a:spcPts val="600"/>
              </a:spcAft>
            </a:pPr>
            <a:r>
              <a:rPr lang="de-DE" sz="2400" dirty="0"/>
              <a:t>Beispiel:</a:t>
            </a:r>
            <a:br>
              <a:rPr lang="de-DE" sz="2400" dirty="0"/>
            </a:br>
            <a:endParaRPr lang="de-DE" sz="2400" dirty="0"/>
          </a:p>
          <a:p>
            <a:pPr marL="0" indent="0">
              <a:buNone/>
            </a:pPr>
            <a:r>
              <a:rPr lang="de-DE" sz="2400" dirty="0"/>
              <a:t>					1Byte = 8bit = </a:t>
            </a:r>
            <a:r>
              <a:rPr lang="de-DE" sz="2400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1</a:t>
            </a:r>
            <a:r>
              <a:rPr lang="de-DE" sz="2400" dirty="0"/>
              <a:t>100 101</a:t>
            </a:r>
            <a:r>
              <a:rPr lang="de-DE" sz="2400" dirty="0">
                <a:solidFill>
                  <a:schemeClr val="accent6"/>
                </a:solidFill>
              </a:rPr>
              <a:t>0</a:t>
            </a:r>
          </a:p>
          <a:p>
            <a:pPr marL="0" indent="0">
              <a:buNone/>
            </a:pPr>
            <a:endParaRPr lang="de-DE" sz="2400" dirty="0"/>
          </a:p>
          <a:p>
            <a:endParaRPr lang="de-DE" sz="2400" dirty="0"/>
          </a:p>
          <a:p>
            <a:r>
              <a:rPr lang="de-DE" sz="2400" dirty="0"/>
              <a:t>Mit einer n-Bit Zahl lassen sich die Werte von 0… 2</a:t>
            </a:r>
            <a:r>
              <a:rPr lang="de-DE" sz="2400" baseline="30000" dirty="0"/>
              <a:t>n </a:t>
            </a:r>
            <a:r>
              <a:rPr lang="de-DE" sz="2400" dirty="0"/>
              <a:t>– 1 darstellen</a:t>
            </a:r>
            <a:br>
              <a:rPr lang="de-DE" sz="2400" dirty="0"/>
            </a:br>
            <a:r>
              <a:rPr lang="de-DE" sz="2400" dirty="0"/>
              <a:t>Beispiel für n= 3: </a:t>
            </a:r>
          </a:p>
          <a:p>
            <a:pPr marL="457200" lvl="1" indent="0">
              <a:buNone/>
            </a:pPr>
            <a:r>
              <a:rPr lang="de-DE" sz="2400" dirty="0"/>
              <a:t>111</a:t>
            </a:r>
            <a:r>
              <a:rPr lang="de-DE" sz="2400" baseline="-25000" dirty="0"/>
              <a:t>2</a:t>
            </a:r>
            <a:r>
              <a:rPr lang="de-DE" sz="2400" dirty="0"/>
              <a:t> = 1*2</a:t>
            </a:r>
            <a:r>
              <a:rPr lang="de-DE" sz="2400" baseline="30000" dirty="0"/>
              <a:t>2 </a:t>
            </a:r>
            <a:r>
              <a:rPr lang="de-DE" sz="2400" dirty="0"/>
              <a:t>+ 1*2</a:t>
            </a:r>
            <a:r>
              <a:rPr lang="de-DE" sz="2400" baseline="30000" dirty="0"/>
              <a:t>1 </a:t>
            </a:r>
            <a:r>
              <a:rPr lang="de-DE" sz="2400" dirty="0"/>
              <a:t>+ 1*2</a:t>
            </a:r>
            <a:r>
              <a:rPr lang="de-DE" sz="2400" baseline="30000" dirty="0"/>
              <a:t>0</a:t>
            </a:r>
            <a:r>
              <a:rPr lang="de-DE" sz="2400" dirty="0"/>
              <a:t> = 1*4 + 1*2 + 1*1 = 7 = 8 – 1  = 2</a:t>
            </a:r>
            <a:r>
              <a:rPr lang="de-DE" sz="2400" baseline="30000" dirty="0"/>
              <a:t>3</a:t>
            </a:r>
            <a:r>
              <a:rPr lang="de-DE" sz="2400" dirty="0"/>
              <a:t> – 1</a:t>
            </a:r>
          </a:p>
          <a:p>
            <a:pPr marL="457200" lvl="1" indent="0">
              <a:buNone/>
            </a:pPr>
            <a:endParaRPr lang="de-DE" sz="240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10</a:t>
            </a:fld>
            <a:endParaRPr lang="de-DE"/>
          </a:p>
        </p:txBody>
      </p:sp>
      <p:sp>
        <p:nvSpPr>
          <p:cNvPr id="13" name="Abgerundete rechteckige Legende 12"/>
          <p:cNvSpPr/>
          <p:nvPr/>
        </p:nvSpPr>
        <p:spPr>
          <a:xfrm>
            <a:off x="3503712" y="2564904"/>
            <a:ext cx="4320480" cy="360040"/>
          </a:xfrm>
          <a:prstGeom prst="wedgeRoundRectCallout">
            <a:avLst>
              <a:gd name="adj1" fmla="val -20833"/>
              <a:gd name="adj2" fmla="val 106014"/>
              <a:gd name="adj3" fmla="val 16667"/>
            </a:avLst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err="1">
                <a:solidFill>
                  <a:schemeClr val="tx1"/>
                </a:solidFill>
              </a:rPr>
              <a:t>höchstwertigstes</a:t>
            </a:r>
            <a:r>
              <a:rPr lang="en-US" sz="1600" dirty="0">
                <a:solidFill>
                  <a:schemeClr val="tx1"/>
                </a:solidFill>
              </a:rPr>
              <a:t> (</a:t>
            </a:r>
            <a:r>
              <a:rPr lang="en-US" sz="1600" i="1" dirty="0">
                <a:solidFill>
                  <a:schemeClr val="tx1"/>
                </a:solidFill>
              </a:rPr>
              <a:t>most significant</a:t>
            </a:r>
            <a:r>
              <a:rPr lang="en-US" sz="1600" dirty="0">
                <a:solidFill>
                  <a:schemeClr val="tx1"/>
                </a:solidFill>
              </a:rPr>
              <a:t>) Bit</a:t>
            </a:r>
          </a:p>
        </p:txBody>
      </p:sp>
      <p:grpSp>
        <p:nvGrpSpPr>
          <p:cNvPr id="16" name="Gruppieren 15"/>
          <p:cNvGrpSpPr/>
          <p:nvPr/>
        </p:nvGrpSpPr>
        <p:grpSpPr>
          <a:xfrm>
            <a:off x="4655840" y="3747000"/>
            <a:ext cx="4464496" cy="648072"/>
            <a:chOff x="4067944" y="3789040"/>
            <a:chExt cx="3564396" cy="606261"/>
          </a:xfrm>
        </p:grpSpPr>
        <p:sp>
          <p:nvSpPr>
            <p:cNvPr id="14" name="Abgerundete rechteckige Legende 13"/>
            <p:cNvSpPr/>
            <p:nvPr/>
          </p:nvSpPr>
          <p:spPr>
            <a:xfrm rot="10800000" flipH="1">
              <a:off x="4067944" y="3789040"/>
              <a:ext cx="3564396" cy="360040"/>
            </a:xfrm>
            <a:prstGeom prst="wedgeRoundRectCallout">
              <a:avLst>
                <a:gd name="adj1" fmla="val -20135"/>
                <a:gd name="adj2" fmla="val 114718"/>
                <a:gd name="adj3" fmla="val 16667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/>
              <a:endParaRPr lang="de-DE" dirty="0"/>
            </a:p>
          </p:txBody>
        </p:sp>
        <p:sp>
          <p:nvSpPr>
            <p:cNvPr id="15" name="Textfeld 14"/>
            <p:cNvSpPr txBox="1"/>
            <p:nvPr/>
          </p:nvSpPr>
          <p:spPr>
            <a:xfrm>
              <a:off x="4067944" y="3810526"/>
              <a:ext cx="3564396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600" dirty="0"/>
                <a:t>niederwertigstes (</a:t>
              </a:r>
              <a:r>
                <a:rPr lang="de-DE" sz="1600" i="1" dirty="0"/>
                <a:t>least </a:t>
              </a:r>
              <a:r>
                <a:rPr lang="de-DE" sz="1600" i="1" dirty="0" err="1"/>
                <a:t>significant</a:t>
              </a:r>
              <a:r>
                <a:rPr lang="de-DE" sz="1600" dirty="0"/>
                <a:t>) Bi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854816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uiExpand="1" build="p"/>
      <p:bldP spid="13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Weitere Zahlensystem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  <a:p>
            <a:pPr lvl="1"/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11</a:t>
            </a:fld>
            <a:endParaRPr lang="de-DE"/>
          </a:p>
        </p:txBody>
      </p:sp>
      <p:sp>
        <p:nvSpPr>
          <p:cNvPr id="7" name="Textplatzhalter 5"/>
          <p:cNvSpPr txBox="1">
            <a:spLocks/>
          </p:cNvSpPr>
          <p:nvPr/>
        </p:nvSpPr>
        <p:spPr>
          <a:xfrm>
            <a:off x="512390" y="1447802"/>
            <a:ext cx="11472025" cy="444817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65113" indent="-265113" algn="l" defTabSz="513788" rtl="0" eaLnBrk="1" latinLnBrk="0" hangingPunct="1">
              <a:lnSpc>
                <a:spcPct val="108000"/>
              </a:lnSpc>
              <a:spcBef>
                <a:spcPts val="393"/>
              </a:spcBef>
              <a:spcAft>
                <a:spcPts val="0"/>
              </a:spcAft>
              <a:buClr>
                <a:schemeClr val="accent5"/>
              </a:buClr>
              <a:buFont typeface="Wingdings" panose="05000000000000000000" pitchFamily="2" charset="2"/>
              <a:buChar char="§"/>
              <a:defRPr lang="de-DE" sz="1800" b="0" i="0" u="none" strike="noStrike" kern="1200" baseline="0">
                <a:solidFill>
                  <a:schemeClr val="tx1"/>
                </a:solidFill>
                <a:latin typeface="Meta Offc Pro" panose="020B0504030101020102"/>
                <a:ea typeface="+mn-ea"/>
                <a:cs typeface="+mn-cs"/>
              </a:defRPr>
            </a:lvl1pPr>
            <a:lvl2pPr marL="354013" indent="-252413" algn="l" defTabSz="513788" rtl="0" eaLnBrk="1" latinLnBrk="0" hangingPunct="1">
              <a:lnSpc>
                <a:spcPct val="108000"/>
              </a:lnSpc>
              <a:spcBef>
                <a:spcPts val="393"/>
              </a:spcBef>
              <a:spcAft>
                <a:spcPts val="0"/>
              </a:spcAft>
              <a:buClr>
                <a:schemeClr val="accent5"/>
              </a:buClr>
              <a:buFont typeface="Wingdings" panose="05000000000000000000" pitchFamily="2" charset="2"/>
              <a:buChar char="§"/>
              <a:tabLst>
                <a:tab pos="354013" algn="l"/>
              </a:tabLst>
              <a:defRPr sz="1650" b="0" kern="1200" baseline="0">
                <a:solidFill>
                  <a:schemeClr val="tx1"/>
                </a:solidFill>
                <a:latin typeface="Meta Offc Pro" panose="020B0504030101020102"/>
                <a:ea typeface="+mn-ea"/>
                <a:cs typeface="+mn-cs"/>
              </a:defRPr>
            </a:lvl2pPr>
            <a:lvl3pPr marL="452438" indent="-250825" algn="l" defTabSz="513788" rtl="0" eaLnBrk="1" latinLnBrk="0" hangingPunct="1">
              <a:lnSpc>
                <a:spcPct val="108000"/>
              </a:lnSpc>
              <a:spcBef>
                <a:spcPts val="393"/>
              </a:spcBef>
              <a:spcAft>
                <a:spcPts val="0"/>
              </a:spcAft>
              <a:buClr>
                <a:schemeClr val="accent5"/>
              </a:buClr>
              <a:buFont typeface="Wingdings" panose="05000000000000000000" pitchFamily="2" charset="2"/>
              <a:buChar char="§"/>
              <a:defRPr sz="1500" b="0" kern="1200" baseline="0">
                <a:solidFill>
                  <a:schemeClr val="tx1"/>
                </a:solidFill>
                <a:latin typeface="Meta Offc Pro" panose="020B0504030101020102"/>
                <a:ea typeface="+mn-ea"/>
                <a:cs typeface="+mn-cs"/>
              </a:defRPr>
            </a:lvl3pPr>
            <a:lvl4pPr marL="384340" indent="-80914" algn="l" defTabSz="513788" rtl="0" eaLnBrk="1" latinLnBrk="0" hangingPunct="1">
              <a:lnSpc>
                <a:spcPct val="108000"/>
              </a:lnSpc>
              <a:spcBef>
                <a:spcPts val="393"/>
              </a:spcBef>
              <a:spcAft>
                <a:spcPts val="0"/>
              </a:spcAft>
              <a:buFont typeface="Meta Offc Pro" panose="020B0504030101020102" pitchFamily="34" charset="0"/>
              <a:buChar char="-"/>
              <a:defRPr sz="956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5482" indent="-80914" algn="l" defTabSz="513788" rtl="0" eaLnBrk="1" latinLnBrk="0" hangingPunct="1">
              <a:lnSpc>
                <a:spcPct val="108000"/>
              </a:lnSpc>
              <a:spcBef>
                <a:spcPts val="393"/>
              </a:spcBef>
              <a:spcAft>
                <a:spcPts val="0"/>
              </a:spcAft>
              <a:buFont typeface="Meta Offc Pro" panose="020B0504030101020102" pitchFamily="34" charset="0"/>
              <a:buChar char="-"/>
              <a:defRPr sz="956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85482" indent="-80914" algn="l" defTabSz="513788" rtl="0" eaLnBrk="1" latinLnBrk="0" hangingPunct="1">
              <a:lnSpc>
                <a:spcPct val="108000"/>
              </a:lnSpc>
              <a:spcBef>
                <a:spcPts val="393"/>
              </a:spcBef>
              <a:spcAft>
                <a:spcPts val="0"/>
              </a:spcAft>
              <a:buFont typeface="Meta Offc Pro" panose="020B0504030101020102" pitchFamily="34" charset="0"/>
              <a:buChar char="-"/>
              <a:defRPr sz="956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5482" indent="-80914" algn="l" defTabSz="513788" rtl="0" eaLnBrk="1" latinLnBrk="0" hangingPunct="1">
              <a:lnSpc>
                <a:spcPct val="108000"/>
              </a:lnSpc>
              <a:spcBef>
                <a:spcPts val="393"/>
              </a:spcBef>
              <a:spcAft>
                <a:spcPts val="0"/>
              </a:spcAft>
              <a:buFont typeface="Meta Offc Pro" panose="020B0504030101020102" pitchFamily="34" charset="0"/>
              <a:buChar char="-"/>
              <a:defRPr sz="956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5482" indent="-80914" algn="l" defTabSz="513788" rtl="0" eaLnBrk="1" latinLnBrk="0" hangingPunct="1">
              <a:lnSpc>
                <a:spcPct val="108000"/>
              </a:lnSpc>
              <a:spcBef>
                <a:spcPts val="393"/>
              </a:spcBef>
              <a:spcAft>
                <a:spcPts val="0"/>
              </a:spcAft>
              <a:buFont typeface="Meta Offc Pro" panose="020B0504030101020102" pitchFamily="34" charset="0"/>
              <a:buChar char="-"/>
              <a:defRPr sz="956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5482" indent="-80914" algn="l" defTabSz="513788" rtl="0" eaLnBrk="1" latinLnBrk="0" hangingPunct="1">
              <a:lnSpc>
                <a:spcPct val="108000"/>
              </a:lnSpc>
              <a:spcBef>
                <a:spcPts val="393"/>
              </a:spcBef>
              <a:spcAft>
                <a:spcPts val="0"/>
              </a:spcAft>
              <a:buFont typeface="Meta Offc Pro" panose="020B0504030101020102" pitchFamily="34" charset="0"/>
              <a:buChar char="-"/>
              <a:defRPr sz="956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 dirty="0">
                <a:solidFill>
                  <a:srgbClr val="0000FF"/>
                </a:solidFill>
              </a:rPr>
              <a:t>Problem</a:t>
            </a:r>
            <a:r>
              <a:rPr lang="de-DE" sz="2400" b="1" dirty="0"/>
              <a:t>:</a:t>
            </a:r>
            <a:r>
              <a:rPr lang="de-DE" sz="2400" dirty="0"/>
              <a:t> Binärzahlen werden schnell sehr lang</a:t>
            </a:r>
          </a:p>
          <a:p>
            <a:endParaRPr lang="de-DE" sz="2400" dirty="0"/>
          </a:p>
          <a:p>
            <a:r>
              <a:rPr lang="de-DE" sz="2400" dirty="0">
                <a:solidFill>
                  <a:srgbClr val="0000FF"/>
                </a:solidFill>
              </a:rPr>
              <a:t>Lösung</a:t>
            </a:r>
            <a:r>
              <a:rPr lang="de-DE" sz="2400" b="1" dirty="0"/>
              <a:t>:</a:t>
            </a:r>
            <a:r>
              <a:rPr lang="de-DE" sz="2400" dirty="0"/>
              <a:t> Verwendung von weiteren Zahlensystemen mit höheren Basen, in die leicht konvertiert werden kann:</a:t>
            </a:r>
          </a:p>
          <a:p>
            <a:pPr lvl="1"/>
            <a:endParaRPr lang="de-DE" sz="2400" dirty="0"/>
          </a:p>
          <a:p>
            <a:pPr lvl="1"/>
            <a:r>
              <a:rPr lang="de-DE" sz="2400" dirty="0"/>
              <a:t>Oktale Zahlen (Basis 8)</a:t>
            </a:r>
          </a:p>
          <a:p>
            <a:pPr lvl="1"/>
            <a:r>
              <a:rPr lang="de-DE" sz="2400" dirty="0"/>
              <a:t>Hexadezimale Zahlen (Basis 16)</a:t>
            </a:r>
          </a:p>
          <a:p>
            <a:endParaRPr lang="de-DE" sz="2400" dirty="0"/>
          </a:p>
        </p:txBody>
      </p:sp>
    </p:spTree>
    <p:extLst>
      <p:ext uri="{BB962C8B-B14F-4D97-AF65-F5344CB8AC3E}">
        <p14:creationId xmlns:p14="http://schemas.microsoft.com/office/powerpoint/2010/main" val="39952579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Konvertierung nach Oktal</a:t>
            </a:r>
          </a:p>
        </p:txBody>
      </p:sp>
      <p:sp>
        <p:nvSpPr>
          <p:cNvPr id="3" name="Textplatzhalter 2"/>
          <p:cNvSpPr>
            <a:spLocks noGrp="1"/>
          </p:cNvSpPr>
          <p:nvPr>
            <p:ph idx="1"/>
          </p:nvPr>
        </p:nvSpPr>
        <p:spPr/>
        <p:txBody>
          <a:bodyPr anchor="t">
            <a:noAutofit/>
          </a:bodyPr>
          <a:lstStyle/>
          <a:p>
            <a:r>
              <a:rPr lang="de-DE" sz="2200" dirty="0" err="1"/>
              <a:t>Oktalzahlen</a:t>
            </a:r>
            <a:r>
              <a:rPr lang="de-DE" sz="2200" dirty="0"/>
              <a:t> werden zur </a:t>
            </a:r>
            <a:r>
              <a:rPr lang="de-DE" sz="2200" dirty="0">
                <a:solidFill>
                  <a:srgbClr val="0000FF"/>
                </a:solidFill>
              </a:rPr>
              <a:t>Basis 8 </a:t>
            </a:r>
            <a:r>
              <a:rPr lang="de-DE" sz="2200" dirty="0"/>
              <a:t>(= 2</a:t>
            </a:r>
            <a:r>
              <a:rPr lang="de-DE" sz="2200" baseline="30000" dirty="0"/>
              <a:t>3</a:t>
            </a:r>
            <a:r>
              <a:rPr lang="de-DE" sz="2200" dirty="0"/>
              <a:t>) gebildet</a:t>
            </a:r>
          </a:p>
          <a:p>
            <a:r>
              <a:rPr lang="de-DE" sz="2200" dirty="0"/>
              <a:t>Dezimal nach oktal (</a:t>
            </a:r>
            <a:r>
              <a:rPr lang="de-DE" sz="2200" dirty="0">
                <a:solidFill>
                  <a:srgbClr val="0000FF"/>
                </a:solidFill>
              </a:rPr>
              <a:t>Horner-Schema</a:t>
            </a:r>
            <a:r>
              <a:rPr lang="de-DE" sz="2200" dirty="0"/>
              <a:t>):  </a:t>
            </a:r>
            <a:r>
              <a:rPr lang="de-DE" sz="2000" b="1" dirty="0"/>
              <a:t>167</a:t>
            </a:r>
            <a:r>
              <a:rPr lang="de-DE" sz="2000" b="1" baseline="-25000" dirty="0"/>
              <a:t>D</a:t>
            </a:r>
            <a:r>
              <a:rPr lang="de-DE" sz="2000" b="1" dirty="0"/>
              <a:t> </a:t>
            </a:r>
            <a:r>
              <a:rPr lang="de-DE" sz="2000" dirty="0">
                <a:sym typeface="Wingdings"/>
              </a:rPr>
              <a:t></a:t>
            </a:r>
            <a:r>
              <a:rPr lang="de-DE" sz="2000" b="1" dirty="0"/>
              <a:t> 	167 / 8 = 20		Rest 7</a:t>
            </a:r>
          </a:p>
          <a:p>
            <a:pPr lvl="1">
              <a:lnSpc>
                <a:spcPct val="90000"/>
              </a:lnSpc>
              <a:buFont typeface="Arial" charset="0"/>
              <a:buNone/>
              <a:defRPr/>
            </a:pPr>
            <a:r>
              <a:rPr lang="de-DE" sz="2000" b="1" dirty="0"/>
              <a:t>			  	  									20 / 8 = 2		Rest 4</a:t>
            </a:r>
          </a:p>
          <a:p>
            <a:pPr lvl="1">
              <a:lnSpc>
                <a:spcPct val="90000"/>
              </a:lnSpc>
              <a:buFont typeface="Arial" charset="0"/>
              <a:buNone/>
              <a:defRPr/>
            </a:pPr>
            <a:r>
              <a:rPr lang="de-DE" sz="2000" b="1" dirty="0"/>
              <a:t>			    	    									2 / 8 = 0			Rest 2</a:t>
            </a:r>
          </a:p>
          <a:p>
            <a:pPr lvl="1">
              <a:lnSpc>
                <a:spcPct val="90000"/>
              </a:lnSpc>
              <a:buFont typeface="Arial" charset="0"/>
              <a:buNone/>
              <a:defRPr/>
            </a:pPr>
            <a:r>
              <a:rPr lang="de-DE" sz="2000" b="1" dirty="0"/>
              <a:t>											167</a:t>
            </a:r>
            <a:r>
              <a:rPr lang="de-DE" sz="2000" b="1" baseline="-25000" dirty="0"/>
              <a:t>D</a:t>
            </a:r>
            <a:r>
              <a:rPr lang="de-DE" sz="2000" b="1" dirty="0"/>
              <a:t> = 247</a:t>
            </a:r>
            <a:r>
              <a:rPr lang="de-DE" sz="2000" b="1" baseline="-25000" dirty="0"/>
              <a:t>O</a:t>
            </a:r>
            <a:endParaRPr lang="de-DE" sz="2200" dirty="0"/>
          </a:p>
          <a:p>
            <a:pPr marL="273050" lvl="1" indent="-273050">
              <a:lnSpc>
                <a:spcPct val="90000"/>
              </a:lnSpc>
              <a:tabLst>
                <a:tab pos="273050" algn="l"/>
              </a:tabLst>
              <a:defRPr/>
            </a:pPr>
            <a:endParaRPr lang="de-DE" sz="2200" dirty="0"/>
          </a:p>
          <a:p>
            <a:pPr marL="273050" lvl="1" indent="-273050">
              <a:lnSpc>
                <a:spcPct val="90000"/>
              </a:lnSpc>
              <a:tabLst>
                <a:tab pos="273050" algn="l"/>
              </a:tabLst>
              <a:defRPr/>
            </a:pPr>
            <a:r>
              <a:rPr lang="de-DE" sz="2200" dirty="0"/>
              <a:t>Binär nach oktal: es werden 3 Binärziffern benötigt, um die Zahlen 0 … 7 darzustellen</a:t>
            </a:r>
          </a:p>
          <a:p>
            <a:pPr marL="273050" lvl="1" indent="-273050">
              <a:buNone/>
              <a:tabLst>
                <a:tab pos="273050" algn="l"/>
              </a:tabLst>
            </a:pPr>
            <a:r>
              <a:rPr lang="de-DE" sz="2200" dirty="0"/>
              <a:t>	O</a:t>
            </a:r>
            <a:r>
              <a:rPr lang="de-DE" sz="2200" baseline="-25000" dirty="0"/>
              <a:t>0</a:t>
            </a:r>
            <a:r>
              <a:rPr lang="de-DE" sz="2200" dirty="0"/>
              <a:t>*8</a:t>
            </a:r>
            <a:r>
              <a:rPr lang="de-DE" sz="2200" baseline="30000" dirty="0"/>
              <a:t>0 </a:t>
            </a:r>
            <a:r>
              <a:rPr lang="de-DE" sz="2200" dirty="0"/>
              <a:t>= b</a:t>
            </a:r>
            <a:r>
              <a:rPr lang="de-DE" sz="2200" baseline="-25000" dirty="0"/>
              <a:t>2</a:t>
            </a:r>
            <a:r>
              <a:rPr lang="de-DE" sz="2200" dirty="0"/>
              <a:t>*2</a:t>
            </a:r>
            <a:r>
              <a:rPr lang="de-DE" sz="2200" baseline="30000" dirty="0"/>
              <a:t>2</a:t>
            </a:r>
            <a:r>
              <a:rPr lang="de-DE" sz="2200" dirty="0"/>
              <a:t> + b</a:t>
            </a:r>
            <a:r>
              <a:rPr lang="de-DE" sz="2200" baseline="-25000" dirty="0"/>
              <a:t>1</a:t>
            </a:r>
            <a:r>
              <a:rPr lang="de-DE" sz="2200" dirty="0"/>
              <a:t>*2</a:t>
            </a:r>
            <a:r>
              <a:rPr lang="de-DE" sz="2200" baseline="30000" dirty="0"/>
              <a:t>1 </a:t>
            </a:r>
            <a:r>
              <a:rPr lang="de-DE" sz="2200" dirty="0"/>
              <a:t>+ b</a:t>
            </a:r>
            <a:r>
              <a:rPr lang="de-DE" sz="2200" baseline="-25000" dirty="0"/>
              <a:t>0</a:t>
            </a:r>
            <a:r>
              <a:rPr lang="de-DE" sz="2200" dirty="0"/>
              <a:t>*2</a:t>
            </a:r>
            <a:r>
              <a:rPr lang="de-DE" sz="2200" baseline="30000" dirty="0"/>
              <a:t>0</a:t>
            </a:r>
            <a:r>
              <a:rPr lang="de-DE" sz="2200" dirty="0"/>
              <a:t> </a:t>
            </a:r>
          </a:p>
          <a:p>
            <a:pPr marL="342900" lvl="1" indent="-342900">
              <a:buFont typeface="Wingdings" panose="05000000000000000000" pitchFamily="2" charset="2"/>
              <a:buChar char="Ø"/>
              <a:tabLst>
                <a:tab pos="273050" algn="l"/>
              </a:tabLst>
            </a:pPr>
            <a:r>
              <a:rPr lang="de-DE" sz="2200" dirty="0"/>
              <a:t>jeweils </a:t>
            </a:r>
            <a:r>
              <a:rPr lang="de-DE" sz="2200" dirty="0">
                <a:solidFill>
                  <a:srgbClr val="0000FF"/>
                </a:solidFill>
              </a:rPr>
              <a:t>3 Binärziffern können als eine </a:t>
            </a:r>
            <a:r>
              <a:rPr lang="de-DE" sz="2200" dirty="0" err="1">
                <a:solidFill>
                  <a:srgbClr val="0000FF"/>
                </a:solidFill>
              </a:rPr>
              <a:t>Oktalziffer</a:t>
            </a:r>
            <a:r>
              <a:rPr lang="de-DE" sz="2200" dirty="0">
                <a:solidFill>
                  <a:srgbClr val="0000FF"/>
                </a:solidFill>
              </a:rPr>
              <a:t> zusammengefasst </a:t>
            </a:r>
            <a:r>
              <a:rPr lang="de-DE" sz="2200" dirty="0"/>
              <a:t>werden</a:t>
            </a:r>
          </a:p>
          <a:p>
            <a:pPr marL="273050" lvl="1" indent="-273050">
              <a:tabLst>
                <a:tab pos="273050" algn="l"/>
              </a:tabLst>
            </a:pPr>
            <a:endParaRPr lang="de-DE" sz="2800" dirty="0"/>
          </a:p>
          <a:p>
            <a:pPr marL="273050" lvl="1" indent="-273050">
              <a:tabLst>
                <a:tab pos="273050" algn="l"/>
              </a:tabLst>
            </a:pPr>
            <a:r>
              <a:rPr lang="de-DE" sz="2200" dirty="0"/>
              <a:t>111000001011</a:t>
            </a:r>
            <a:r>
              <a:rPr lang="de-DE" sz="2200" baseline="-25000" dirty="0"/>
              <a:t>2</a:t>
            </a:r>
            <a:r>
              <a:rPr lang="de-DE" sz="2200" dirty="0"/>
              <a:t>=111 000 001 011</a:t>
            </a:r>
            <a:r>
              <a:rPr lang="de-DE" sz="2200" baseline="-25000" dirty="0"/>
              <a:t>2</a:t>
            </a:r>
            <a:r>
              <a:rPr lang="de-DE" sz="2200" dirty="0"/>
              <a:t> = 7013</a:t>
            </a:r>
            <a:r>
              <a:rPr lang="de-DE" sz="2200" baseline="-25000" dirty="0"/>
              <a:t>8</a:t>
            </a: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12</a:t>
            </a:fld>
            <a:endParaRPr lang="de-DE"/>
          </a:p>
        </p:txBody>
      </p:sp>
      <p:sp>
        <p:nvSpPr>
          <p:cNvPr id="5" name="Geschweifte Klammer links 4"/>
          <p:cNvSpPr/>
          <p:nvPr/>
        </p:nvSpPr>
        <p:spPr>
          <a:xfrm rot="16200000">
            <a:off x="2704176" y="5327869"/>
            <a:ext cx="144015" cy="417150"/>
          </a:xfrm>
          <a:prstGeom prst="leftBrac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2"/>
              </a:solidFill>
            </a:endParaRPr>
          </a:p>
        </p:txBody>
      </p:sp>
      <p:sp>
        <p:nvSpPr>
          <p:cNvPr id="6" name="Geschweifte Klammer links 5"/>
          <p:cNvSpPr/>
          <p:nvPr/>
        </p:nvSpPr>
        <p:spPr>
          <a:xfrm rot="5400000">
            <a:off x="4152570" y="4857864"/>
            <a:ext cx="127546" cy="417150"/>
          </a:xfrm>
          <a:prstGeom prst="leftBrac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2"/>
              </a:solidFill>
            </a:endParaRPr>
          </a:p>
        </p:txBody>
      </p:sp>
      <p:sp>
        <p:nvSpPr>
          <p:cNvPr id="7" name="Geschweifte Klammer links 6"/>
          <p:cNvSpPr/>
          <p:nvPr/>
        </p:nvSpPr>
        <p:spPr>
          <a:xfrm rot="5400000">
            <a:off x="3213405" y="4871272"/>
            <a:ext cx="133669" cy="417150"/>
          </a:xfrm>
          <a:prstGeom prst="leftBrace">
            <a:avLst>
              <a:gd name="adj1" fmla="val 17234"/>
              <a:gd name="adj2" fmla="val 50000"/>
            </a:avLst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2"/>
              </a:solidFill>
            </a:endParaRPr>
          </a:p>
        </p:txBody>
      </p:sp>
      <p:sp>
        <p:nvSpPr>
          <p:cNvPr id="8" name="Geschweifte Klammer links 7"/>
          <p:cNvSpPr/>
          <p:nvPr/>
        </p:nvSpPr>
        <p:spPr>
          <a:xfrm rot="16200000">
            <a:off x="3720522" y="5336104"/>
            <a:ext cx="127546" cy="417150"/>
          </a:xfrm>
          <a:prstGeom prst="leftBrac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2"/>
              </a:solidFill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4079776" y="4560108"/>
            <a:ext cx="2160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b="1" dirty="0">
                <a:solidFill>
                  <a:schemeClr val="bg2"/>
                </a:solidFill>
              </a:rPr>
              <a:t>3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3647728" y="5683142"/>
            <a:ext cx="2160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3143672" y="4570618"/>
            <a:ext cx="2160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b="1" dirty="0">
                <a:solidFill>
                  <a:schemeClr val="bg2"/>
                </a:solidFill>
              </a:rPr>
              <a:t>0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2639616" y="5692434"/>
            <a:ext cx="2160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b="1" dirty="0">
                <a:solidFill>
                  <a:schemeClr val="bg2"/>
                </a:solidFill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1988753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10" grpId="0"/>
      <p:bldP spid="11" grpId="0"/>
      <p:bldP spid="12" grpId="0"/>
      <p:bldP spid="13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Hexadezimalzahl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r>
              <a:rPr lang="de-DE" sz="2200" dirty="0"/>
              <a:t>Hexadezimalzahlen werden zur </a:t>
            </a:r>
            <a:r>
              <a:rPr lang="de-DE" sz="2200" dirty="0">
                <a:solidFill>
                  <a:srgbClr val="0000FF"/>
                </a:solidFill>
              </a:rPr>
              <a:t>Basis 16 </a:t>
            </a:r>
            <a:r>
              <a:rPr lang="de-DE" sz="2200" dirty="0"/>
              <a:t>(= 2</a:t>
            </a:r>
            <a:r>
              <a:rPr lang="de-DE" sz="2200" baseline="30000" dirty="0"/>
              <a:t>4</a:t>
            </a:r>
            <a:r>
              <a:rPr lang="de-DE" sz="2200" dirty="0"/>
              <a:t>) gebildet</a:t>
            </a:r>
          </a:p>
          <a:p>
            <a:r>
              <a:rPr lang="de-DE" sz="2200" dirty="0"/>
              <a:t>Ziffernmenge: { 0, 1, 2, … , 8, 9, A, B, C, D, E, F}</a:t>
            </a:r>
          </a:p>
          <a:p>
            <a:pPr>
              <a:lnSpc>
                <a:spcPct val="90000"/>
              </a:lnSpc>
              <a:defRPr/>
            </a:pPr>
            <a:r>
              <a:rPr lang="de-DE" sz="2200" dirty="0"/>
              <a:t>Dezimal nach hexadezimal:	167</a:t>
            </a:r>
            <a:r>
              <a:rPr lang="de-DE" sz="2200" baseline="-25000" dirty="0"/>
              <a:t>D</a:t>
            </a:r>
            <a:r>
              <a:rPr lang="de-DE" sz="2200" dirty="0"/>
              <a:t> </a:t>
            </a:r>
            <a:r>
              <a:rPr lang="de-DE" sz="2400" dirty="0">
                <a:sym typeface="Wingdings"/>
              </a:rPr>
              <a:t></a:t>
            </a:r>
            <a:r>
              <a:rPr lang="de-DE" sz="2200" dirty="0"/>
              <a:t> 	167 / 16 = 10	Rest 7</a:t>
            </a:r>
          </a:p>
          <a:p>
            <a:pPr lvl="1">
              <a:lnSpc>
                <a:spcPct val="90000"/>
              </a:lnSpc>
              <a:buFont typeface="Arial" charset="0"/>
              <a:buNone/>
              <a:defRPr/>
            </a:pPr>
            <a:r>
              <a:rPr lang="de-DE" sz="2200" dirty="0"/>
              <a:t>			  									10 / 16 = 0		Rest A (entspricht 10)</a:t>
            </a:r>
          </a:p>
          <a:p>
            <a:pPr lvl="1">
              <a:lnSpc>
                <a:spcPct val="90000"/>
              </a:lnSpc>
              <a:buFont typeface="Arial" charset="0"/>
              <a:buNone/>
              <a:defRPr/>
            </a:pPr>
            <a:r>
              <a:rPr lang="de-DE" sz="2200" dirty="0"/>
              <a:t>												167</a:t>
            </a:r>
            <a:r>
              <a:rPr lang="de-DE" sz="2200" baseline="-25000" dirty="0"/>
              <a:t>D</a:t>
            </a:r>
            <a:r>
              <a:rPr lang="de-DE" sz="2200" dirty="0"/>
              <a:t> = A7</a:t>
            </a:r>
            <a:r>
              <a:rPr lang="de-DE" sz="2200" baseline="-25000" dirty="0"/>
              <a:t>H</a:t>
            </a:r>
          </a:p>
          <a:p>
            <a:pPr lvl="1">
              <a:lnSpc>
                <a:spcPct val="90000"/>
              </a:lnSpc>
              <a:buFont typeface="Arial" charset="0"/>
              <a:buNone/>
              <a:defRPr/>
            </a:pPr>
            <a:r>
              <a:rPr lang="de-DE" sz="2200" baseline="-25000" dirty="0"/>
              <a:t>	</a:t>
            </a:r>
            <a:r>
              <a:rPr lang="de-DE" sz="2200" dirty="0"/>
              <a:t>In C/Java: vorgestelltes „0x“ kennzeichnet Hexadezimalzahlen (0xa7)</a:t>
            </a:r>
          </a:p>
          <a:p>
            <a:pPr>
              <a:lnSpc>
                <a:spcPct val="90000"/>
              </a:lnSpc>
              <a:defRPr/>
            </a:pPr>
            <a:endParaRPr lang="de-DE" sz="1050" dirty="0"/>
          </a:p>
          <a:p>
            <a:pPr marL="273050" lvl="1" indent="-273050">
              <a:lnSpc>
                <a:spcPct val="90000"/>
              </a:lnSpc>
              <a:tabLst>
                <a:tab pos="273050" algn="l"/>
              </a:tabLst>
              <a:defRPr/>
            </a:pPr>
            <a:r>
              <a:rPr lang="de-DE" sz="2200" dirty="0"/>
              <a:t>Binär nach hexadezimal: es werden 4 Binärziffern benötigt, um die Zahlen 0 … 15 darzustellen: h</a:t>
            </a:r>
            <a:r>
              <a:rPr lang="de-DE" sz="2200" baseline="-25000" dirty="0"/>
              <a:t>0</a:t>
            </a:r>
            <a:r>
              <a:rPr lang="de-DE" sz="2200" dirty="0"/>
              <a:t>*16</a:t>
            </a:r>
            <a:r>
              <a:rPr lang="de-DE" sz="2200" baseline="30000" dirty="0"/>
              <a:t>0 </a:t>
            </a:r>
            <a:r>
              <a:rPr lang="de-DE" sz="2200" dirty="0"/>
              <a:t>= b</a:t>
            </a:r>
            <a:r>
              <a:rPr lang="de-DE" sz="2200" baseline="-25000" dirty="0"/>
              <a:t>3</a:t>
            </a:r>
            <a:r>
              <a:rPr lang="de-DE" sz="2200" dirty="0"/>
              <a:t>*2</a:t>
            </a:r>
            <a:r>
              <a:rPr lang="de-DE" sz="2200" baseline="30000" dirty="0"/>
              <a:t>3 </a:t>
            </a:r>
            <a:r>
              <a:rPr lang="de-DE" sz="2200" dirty="0"/>
              <a:t>+b</a:t>
            </a:r>
            <a:r>
              <a:rPr lang="de-DE" sz="2200" baseline="-25000" dirty="0"/>
              <a:t>2</a:t>
            </a:r>
            <a:r>
              <a:rPr lang="de-DE" sz="2200" dirty="0"/>
              <a:t>*2</a:t>
            </a:r>
            <a:r>
              <a:rPr lang="de-DE" sz="2200" baseline="30000" dirty="0"/>
              <a:t>2</a:t>
            </a:r>
            <a:r>
              <a:rPr lang="de-DE" sz="2200" dirty="0"/>
              <a:t> + b</a:t>
            </a:r>
            <a:r>
              <a:rPr lang="de-DE" sz="2200" baseline="-25000" dirty="0"/>
              <a:t>1</a:t>
            </a:r>
            <a:r>
              <a:rPr lang="de-DE" sz="2200" dirty="0"/>
              <a:t>*2</a:t>
            </a:r>
            <a:r>
              <a:rPr lang="de-DE" sz="2200" baseline="30000" dirty="0"/>
              <a:t>1 </a:t>
            </a:r>
            <a:r>
              <a:rPr lang="de-DE" sz="2200" dirty="0"/>
              <a:t>+ b</a:t>
            </a:r>
            <a:r>
              <a:rPr lang="de-DE" sz="2200" baseline="-25000" dirty="0"/>
              <a:t>0</a:t>
            </a:r>
            <a:r>
              <a:rPr lang="de-DE" sz="2200" dirty="0"/>
              <a:t>*2</a:t>
            </a:r>
            <a:r>
              <a:rPr lang="de-DE" sz="2200" baseline="30000" dirty="0"/>
              <a:t>0</a:t>
            </a:r>
            <a:r>
              <a:rPr lang="de-DE" sz="2200" dirty="0"/>
              <a:t> </a:t>
            </a:r>
          </a:p>
          <a:p>
            <a:pPr marL="342900" lvl="1" indent="-342900">
              <a:buFont typeface="Wingdings" panose="05000000000000000000" pitchFamily="2" charset="2"/>
              <a:buChar char="Ø"/>
              <a:tabLst>
                <a:tab pos="273050" algn="l"/>
              </a:tabLst>
            </a:pPr>
            <a:r>
              <a:rPr lang="de-DE" sz="2200" dirty="0"/>
              <a:t>jeweils </a:t>
            </a:r>
            <a:r>
              <a:rPr lang="de-DE" sz="2200" dirty="0">
                <a:solidFill>
                  <a:srgbClr val="0000FF"/>
                </a:solidFill>
              </a:rPr>
              <a:t>4 Binärziffern können als eine Hexadezimalziffer zusammengefasst </a:t>
            </a:r>
            <a:r>
              <a:rPr lang="de-DE" sz="2200" dirty="0"/>
              <a:t>werden</a:t>
            </a:r>
          </a:p>
          <a:p>
            <a:pPr>
              <a:lnSpc>
                <a:spcPct val="90000"/>
              </a:lnSpc>
              <a:defRPr/>
            </a:pPr>
            <a:r>
              <a:rPr lang="de-DE" sz="2200" dirty="0"/>
              <a:t>Binär nach hexadezimal:</a:t>
            </a:r>
          </a:p>
          <a:p>
            <a:pPr lvl="2">
              <a:lnSpc>
                <a:spcPct val="90000"/>
              </a:lnSpc>
              <a:buFont typeface="Arial" charset="0"/>
              <a:buNone/>
              <a:defRPr/>
            </a:pPr>
            <a:endParaRPr lang="de-DE" sz="3200" dirty="0"/>
          </a:p>
          <a:p>
            <a:pPr lvl="2">
              <a:lnSpc>
                <a:spcPct val="90000"/>
              </a:lnSpc>
              <a:buFont typeface="Arial" charset="0"/>
              <a:buNone/>
              <a:defRPr/>
            </a:pPr>
            <a:r>
              <a:rPr lang="de-DE" sz="2200" dirty="0"/>
              <a:t>				</a:t>
            </a:r>
            <a:r>
              <a:rPr lang="de-DE" sz="2400" dirty="0"/>
              <a:t>0001 0011 0101 0111 1001 1011 1101 1111</a:t>
            </a:r>
            <a:r>
              <a:rPr lang="de-DE" sz="2400" baseline="-25000" dirty="0"/>
              <a:t>2 </a:t>
            </a:r>
            <a:r>
              <a:rPr lang="de-DE" sz="2400" dirty="0"/>
              <a:t>= 13579BDF</a:t>
            </a:r>
            <a:r>
              <a:rPr lang="de-DE" sz="2400" baseline="-25000" dirty="0"/>
              <a:t>16</a:t>
            </a: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13</a:t>
            </a:fld>
            <a:endParaRPr lang="de-DE"/>
          </a:p>
        </p:txBody>
      </p:sp>
      <p:sp>
        <p:nvSpPr>
          <p:cNvPr id="5" name="Geschweifte Klammer links 4"/>
          <p:cNvSpPr/>
          <p:nvPr/>
        </p:nvSpPr>
        <p:spPr>
          <a:xfrm rot="16200000">
            <a:off x="2152941" y="5633355"/>
            <a:ext cx="144018" cy="610828"/>
          </a:xfrm>
          <a:prstGeom prst="leftBrac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2"/>
              </a:solidFill>
            </a:endParaRPr>
          </a:p>
        </p:txBody>
      </p:sp>
      <p:sp>
        <p:nvSpPr>
          <p:cNvPr id="6" name="Geschweifte Klammer links 5"/>
          <p:cNvSpPr/>
          <p:nvPr/>
        </p:nvSpPr>
        <p:spPr>
          <a:xfrm rot="5400000">
            <a:off x="4222073" y="5217721"/>
            <a:ext cx="145009" cy="504056"/>
          </a:xfrm>
          <a:prstGeom prst="leftBrac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2"/>
              </a:solidFill>
            </a:endParaRPr>
          </a:p>
        </p:txBody>
      </p:sp>
      <p:sp>
        <p:nvSpPr>
          <p:cNvPr id="7" name="Geschweifte Klammer links 6"/>
          <p:cNvSpPr/>
          <p:nvPr/>
        </p:nvSpPr>
        <p:spPr>
          <a:xfrm rot="5400000">
            <a:off x="2783631" y="5146463"/>
            <a:ext cx="144017" cy="566347"/>
          </a:xfrm>
          <a:prstGeom prst="leftBrace">
            <a:avLst>
              <a:gd name="adj1" fmla="val 17234"/>
              <a:gd name="adj2" fmla="val 50000"/>
            </a:avLst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2"/>
              </a:solidFill>
            </a:endParaRPr>
          </a:p>
        </p:txBody>
      </p:sp>
      <p:sp>
        <p:nvSpPr>
          <p:cNvPr id="8" name="Geschweifte Klammer links 7"/>
          <p:cNvSpPr/>
          <p:nvPr/>
        </p:nvSpPr>
        <p:spPr>
          <a:xfrm rot="16200000">
            <a:off x="3533680" y="5659564"/>
            <a:ext cx="144017" cy="576062"/>
          </a:xfrm>
          <a:prstGeom prst="leftBrac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2"/>
              </a:solidFill>
            </a:endParaRPr>
          </a:p>
        </p:txBody>
      </p:sp>
      <p:sp>
        <p:nvSpPr>
          <p:cNvPr id="14" name="Geschweifte Klammer links 13"/>
          <p:cNvSpPr/>
          <p:nvPr/>
        </p:nvSpPr>
        <p:spPr>
          <a:xfrm rot="5400000">
            <a:off x="6959379" y="5193105"/>
            <a:ext cx="144016" cy="504056"/>
          </a:xfrm>
          <a:prstGeom prst="leftBrac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2"/>
              </a:solidFill>
            </a:endParaRPr>
          </a:p>
        </p:txBody>
      </p:sp>
      <p:sp>
        <p:nvSpPr>
          <p:cNvPr id="15" name="Geschweifte Klammer links 14"/>
          <p:cNvSpPr/>
          <p:nvPr/>
        </p:nvSpPr>
        <p:spPr>
          <a:xfrm rot="5400000">
            <a:off x="5578381" y="5197333"/>
            <a:ext cx="143025" cy="494338"/>
          </a:xfrm>
          <a:prstGeom prst="leftBrace">
            <a:avLst>
              <a:gd name="adj1" fmla="val 17234"/>
              <a:gd name="adj2" fmla="val 50000"/>
            </a:avLst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2"/>
              </a:solidFill>
            </a:endParaRPr>
          </a:p>
        </p:txBody>
      </p:sp>
      <p:sp>
        <p:nvSpPr>
          <p:cNvPr id="18" name="Geschweifte Klammer links 17"/>
          <p:cNvSpPr/>
          <p:nvPr/>
        </p:nvSpPr>
        <p:spPr>
          <a:xfrm rot="16200000">
            <a:off x="4871563" y="5685036"/>
            <a:ext cx="144021" cy="525120"/>
          </a:xfrm>
          <a:prstGeom prst="leftBrac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2"/>
              </a:solidFill>
            </a:endParaRPr>
          </a:p>
        </p:txBody>
      </p:sp>
      <p:sp>
        <p:nvSpPr>
          <p:cNvPr id="19" name="Geschweifte Klammer links 18"/>
          <p:cNvSpPr/>
          <p:nvPr/>
        </p:nvSpPr>
        <p:spPr>
          <a:xfrm rot="16200000">
            <a:off x="6276019" y="5696849"/>
            <a:ext cx="144019" cy="504056"/>
          </a:xfrm>
          <a:prstGeom prst="leftBrac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2"/>
              </a:solidFill>
            </a:endParaRPr>
          </a:p>
        </p:txBody>
      </p:sp>
      <p:sp>
        <p:nvSpPr>
          <p:cNvPr id="20" name="Textfeld 19"/>
          <p:cNvSpPr txBox="1"/>
          <p:nvPr/>
        </p:nvSpPr>
        <p:spPr>
          <a:xfrm>
            <a:off x="2086607" y="6073494"/>
            <a:ext cx="2160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b="1" dirty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21" name="Textfeld 20"/>
          <p:cNvSpPr txBox="1"/>
          <p:nvPr/>
        </p:nvSpPr>
        <p:spPr>
          <a:xfrm>
            <a:off x="3480253" y="6064202"/>
            <a:ext cx="2160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b="1" dirty="0">
                <a:solidFill>
                  <a:schemeClr val="bg2"/>
                </a:solidFill>
              </a:rPr>
              <a:t>5</a:t>
            </a:r>
          </a:p>
        </p:txBody>
      </p:sp>
      <p:sp>
        <p:nvSpPr>
          <p:cNvPr id="22" name="Textfeld 21"/>
          <p:cNvSpPr txBox="1"/>
          <p:nvPr/>
        </p:nvSpPr>
        <p:spPr>
          <a:xfrm>
            <a:off x="6240016" y="6064202"/>
            <a:ext cx="2160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b="1" dirty="0">
                <a:solidFill>
                  <a:schemeClr val="bg2"/>
                </a:solidFill>
              </a:rPr>
              <a:t>D</a:t>
            </a:r>
          </a:p>
        </p:txBody>
      </p:sp>
      <p:sp>
        <p:nvSpPr>
          <p:cNvPr id="23" name="Textfeld 22"/>
          <p:cNvSpPr txBox="1"/>
          <p:nvPr/>
        </p:nvSpPr>
        <p:spPr>
          <a:xfrm>
            <a:off x="4873899" y="6075671"/>
            <a:ext cx="2160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b="1" dirty="0">
                <a:solidFill>
                  <a:schemeClr val="bg2"/>
                </a:solidFill>
              </a:rPr>
              <a:t>9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2855640" y="4930658"/>
            <a:ext cx="2160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chemeClr val="bg2"/>
                </a:solidFill>
              </a:rPr>
              <a:t>3</a:t>
            </a:r>
          </a:p>
        </p:txBody>
      </p:sp>
      <p:sp>
        <p:nvSpPr>
          <p:cNvPr id="25" name="Textfeld 24"/>
          <p:cNvSpPr txBox="1"/>
          <p:nvPr/>
        </p:nvSpPr>
        <p:spPr>
          <a:xfrm>
            <a:off x="4186565" y="4947078"/>
            <a:ext cx="2160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chemeClr val="bg2"/>
                </a:solidFill>
              </a:rPr>
              <a:t>7</a:t>
            </a:r>
          </a:p>
        </p:txBody>
      </p:sp>
      <p:sp>
        <p:nvSpPr>
          <p:cNvPr id="26" name="Textfeld 25"/>
          <p:cNvSpPr txBox="1"/>
          <p:nvPr/>
        </p:nvSpPr>
        <p:spPr>
          <a:xfrm>
            <a:off x="5567314" y="4944120"/>
            <a:ext cx="2160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chemeClr val="bg2"/>
                </a:solidFill>
              </a:rPr>
              <a:t>B</a:t>
            </a:r>
          </a:p>
        </p:txBody>
      </p:sp>
      <p:sp>
        <p:nvSpPr>
          <p:cNvPr id="27" name="Textfeld 26"/>
          <p:cNvSpPr txBox="1"/>
          <p:nvPr/>
        </p:nvSpPr>
        <p:spPr>
          <a:xfrm>
            <a:off x="6948063" y="4944120"/>
            <a:ext cx="2160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chemeClr val="bg2"/>
                </a:solidFill>
              </a:rPr>
              <a:t>F</a:t>
            </a:r>
          </a:p>
        </p:txBody>
      </p:sp>
    </p:spTree>
    <p:extLst>
      <p:ext uri="{BB962C8B-B14F-4D97-AF65-F5344CB8AC3E}">
        <p14:creationId xmlns:p14="http://schemas.microsoft.com/office/powerpoint/2010/main" val="23861241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14" grpId="0" animBg="1"/>
      <p:bldP spid="15" grpId="0" animBg="1"/>
      <p:bldP spid="18" grpId="0" animBg="1"/>
      <p:bldP spid="19" grpId="0" animBg="1"/>
      <p:bldP spid="20" grpId="0"/>
      <p:bldP spid="21" grpId="0"/>
      <p:bldP spid="22" grpId="0"/>
      <p:bldP spid="23" grpId="0"/>
      <p:bldP spid="24" grpId="0"/>
      <p:bldP spid="25" grpId="0"/>
      <p:bldP spid="26" grpId="0"/>
      <p:bldP spid="27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Übersicht über die heutige Vorlesu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r>
              <a:rPr lang="de-DE" sz="24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Zahlensysteme und ihre Konvertierung</a:t>
            </a:r>
          </a:p>
          <a:p>
            <a:r>
              <a:rPr lang="de-DE" sz="2400" dirty="0"/>
              <a:t>Vorzeichenbehaftete und vorzeichenlose Zahlen</a:t>
            </a:r>
          </a:p>
          <a:p>
            <a:r>
              <a:rPr lang="de-DE" sz="24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Arithmetische Operationen</a:t>
            </a:r>
          </a:p>
          <a:p>
            <a:pPr lvl="1"/>
            <a:r>
              <a:rPr lang="de-DE" sz="22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Addition und Subtraktion</a:t>
            </a:r>
          </a:p>
          <a:p>
            <a:pPr lvl="1"/>
            <a:r>
              <a:rPr lang="de-DE" sz="22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Multiplikation</a:t>
            </a:r>
          </a:p>
          <a:p>
            <a:pPr lvl="1"/>
            <a:r>
              <a:rPr lang="de-DE" sz="22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Division</a:t>
            </a:r>
          </a:p>
          <a:p>
            <a:r>
              <a:rPr lang="de-DE" sz="24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Gleitkommazahlen (Floating Point)</a:t>
            </a:r>
          </a:p>
          <a:p>
            <a:r>
              <a:rPr lang="de-DE" sz="24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„Pentium Bug“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459416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/>
          <p:cNvSpPr>
            <a:spLocks noGrp="1"/>
          </p:cNvSpPr>
          <p:nvPr>
            <p:ph type="title"/>
          </p:nvPr>
        </p:nvSpPr>
        <p:spPr>
          <a:xfrm>
            <a:off x="1991544" y="310400"/>
            <a:ext cx="7620000" cy="577054"/>
          </a:xfrm>
        </p:spPr>
        <p:txBody>
          <a:bodyPr anchor="ctr" anchorCtr="0"/>
          <a:lstStyle/>
          <a:p>
            <a:r>
              <a:rPr lang="en-GB" sz="2800" dirty="0"/>
              <a:t>Negative</a:t>
            </a:r>
            <a:r>
              <a:rPr lang="en-GB" dirty="0"/>
              <a:t> </a:t>
            </a:r>
            <a:r>
              <a:rPr lang="en-GB" sz="2800" dirty="0" err="1"/>
              <a:t>Zahlen</a:t>
            </a:r>
            <a:endParaRPr lang="en-US" dirty="0"/>
          </a:p>
        </p:txBody>
      </p:sp>
      <p:sp>
        <p:nvSpPr>
          <p:cNvPr id="20483" name="Rectangle 3"/>
          <p:cNvSpPr>
            <a:spLocks noGrp="1"/>
          </p:cNvSpPr>
          <p:nvPr>
            <p:ph idx="1"/>
          </p:nvPr>
        </p:nvSpPr>
        <p:spPr/>
        <p:txBody>
          <a:bodyPr anchor="ctr">
            <a:noAutofit/>
          </a:bodyPr>
          <a:lstStyle/>
          <a:p>
            <a:pPr>
              <a:buFont typeface="Arial" charset="0"/>
              <a:buNone/>
              <a:defRPr/>
            </a:pPr>
            <a:r>
              <a:rPr lang="de-DE" sz="2000" dirty="0"/>
              <a:t>Möglichkeiten negative Zahlen binär zu repräsentieren:</a:t>
            </a:r>
          </a:p>
          <a:p>
            <a:pPr>
              <a:defRPr/>
            </a:pPr>
            <a:r>
              <a:rPr lang="de-DE" sz="2000" b="1" dirty="0">
                <a:solidFill>
                  <a:srgbClr val="0000FF"/>
                </a:solidFill>
              </a:rPr>
              <a:t>Vorzeichen-/Betrags-Zahlen </a:t>
            </a:r>
            <a:r>
              <a:rPr lang="de-DE" sz="2000" dirty="0">
                <a:solidFill>
                  <a:schemeClr val="accent1">
                    <a:lumMod val="50000"/>
                  </a:schemeClr>
                </a:solidFill>
              </a:rPr>
              <a:t>(</a:t>
            </a:r>
            <a:r>
              <a:rPr lang="de-DE" sz="2000" i="1" dirty="0" err="1">
                <a:solidFill>
                  <a:schemeClr val="bg2"/>
                </a:solidFill>
              </a:rPr>
              <a:t>Sign</a:t>
            </a:r>
            <a:r>
              <a:rPr lang="de-DE" sz="2000" i="1" dirty="0">
                <a:solidFill>
                  <a:schemeClr val="bg2"/>
                </a:solidFill>
              </a:rPr>
              <a:t>-magnitude </a:t>
            </a:r>
            <a:r>
              <a:rPr lang="de-DE" sz="2000" i="1" dirty="0" err="1">
                <a:solidFill>
                  <a:schemeClr val="bg2"/>
                </a:solidFill>
              </a:rPr>
              <a:t>numbers</a:t>
            </a:r>
            <a:r>
              <a:rPr lang="de-DE" sz="2000" dirty="0">
                <a:solidFill>
                  <a:schemeClr val="accent1">
                    <a:lumMod val="50000"/>
                  </a:schemeClr>
                </a:solidFill>
              </a:rPr>
              <a:t>)</a:t>
            </a:r>
          </a:p>
          <a:p>
            <a:pPr lvl="1">
              <a:defRPr/>
            </a:pPr>
            <a:r>
              <a:rPr lang="de-DE" sz="1800" dirty="0">
                <a:solidFill>
                  <a:srgbClr val="0000FF"/>
                </a:solidFill>
              </a:rPr>
              <a:t>MSB zeigt Vorzeichen </a:t>
            </a:r>
            <a:r>
              <a:rPr lang="de-DE" sz="1800" dirty="0"/>
              <a:t>(</a:t>
            </a:r>
            <a:r>
              <a:rPr lang="de-DE" sz="1800" dirty="0" err="1">
                <a:solidFill>
                  <a:schemeClr val="bg2"/>
                </a:solidFill>
              </a:rPr>
              <a:t>sign</a:t>
            </a:r>
            <a:r>
              <a:rPr lang="de-DE" sz="1800" dirty="0"/>
              <a:t>) an (0: positiv, 1: negativ).</a:t>
            </a:r>
          </a:p>
          <a:p>
            <a:pPr lvl="1">
              <a:defRPr/>
            </a:pPr>
            <a:r>
              <a:rPr lang="de-DE" sz="1800" dirty="0"/>
              <a:t>Die übrigbleibenden (n – 1) Bits bilden den </a:t>
            </a:r>
            <a:r>
              <a:rPr lang="de-DE" sz="1800" dirty="0">
                <a:solidFill>
                  <a:srgbClr val="0000FF"/>
                </a:solidFill>
              </a:rPr>
              <a:t>Betrag</a:t>
            </a:r>
            <a:r>
              <a:rPr lang="de-DE" sz="1800" dirty="0"/>
              <a:t> (</a:t>
            </a:r>
            <a:r>
              <a:rPr lang="de-DE" sz="1800" dirty="0" err="1">
                <a:solidFill>
                  <a:schemeClr val="bg2"/>
                </a:solidFill>
              </a:rPr>
              <a:t>magnitude</a:t>
            </a:r>
            <a:r>
              <a:rPr lang="de-DE" sz="1800" dirty="0"/>
              <a:t>).</a:t>
            </a:r>
          </a:p>
          <a:p>
            <a:pPr lvl="1">
              <a:defRPr/>
            </a:pPr>
            <a:r>
              <a:rPr lang="de-DE" sz="1800" dirty="0"/>
              <a:t>Beispiel: 5 (dezimal) = 0101 (binär) </a:t>
            </a:r>
            <a:r>
              <a:rPr lang="de-DE" sz="1800" dirty="0">
                <a:sym typeface="Wingdings"/>
              </a:rPr>
              <a:t> - 5 (dezimal) = 1101 (binär)</a:t>
            </a:r>
            <a:endParaRPr lang="de-DE" sz="1800" dirty="0"/>
          </a:p>
          <a:p>
            <a:pPr>
              <a:defRPr/>
            </a:pPr>
            <a:r>
              <a:rPr lang="de-DE" sz="2000" b="1" dirty="0">
                <a:solidFill>
                  <a:srgbClr val="0000FF"/>
                </a:solidFill>
              </a:rPr>
              <a:t>1-Komplement-Zahlen</a:t>
            </a:r>
            <a:r>
              <a:rPr lang="de-DE" sz="2000" i="1" dirty="0">
                <a:solidFill>
                  <a:srgbClr val="C0504D"/>
                </a:solidFill>
              </a:rPr>
              <a:t> </a:t>
            </a:r>
            <a:r>
              <a:rPr lang="de-DE" sz="2000" dirty="0">
                <a:solidFill>
                  <a:schemeClr val="accent1">
                    <a:lumMod val="50000"/>
                  </a:schemeClr>
                </a:solidFill>
              </a:rPr>
              <a:t>(</a:t>
            </a:r>
            <a:r>
              <a:rPr lang="de-DE" sz="2000" i="1" dirty="0" err="1">
                <a:solidFill>
                  <a:schemeClr val="bg2"/>
                </a:solidFill>
              </a:rPr>
              <a:t>One’s</a:t>
            </a:r>
            <a:r>
              <a:rPr lang="de-DE" sz="2000" i="1" dirty="0">
                <a:solidFill>
                  <a:schemeClr val="bg2"/>
                </a:solidFill>
              </a:rPr>
              <a:t> </a:t>
            </a:r>
            <a:r>
              <a:rPr lang="de-DE" sz="2000" i="1" dirty="0" err="1">
                <a:solidFill>
                  <a:schemeClr val="bg2"/>
                </a:solidFill>
              </a:rPr>
              <a:t>complement</a:t>
            </a:r>
            <a:r>
              <a:rPr lang="de-DE" sz="2000" i="1" dirty="0">
                <a:solidFill>
                  <a:schemeClr val="bg2"/>
                </a:solidFill>
              </a:rPr>
              <a:t> </a:t>
            </a:r>
            <a:r>
              <a:rPr lang="de-DE" sz="2000" i="1" dirty="0" err="1">
                <a:solidFill>
                  <a:schemeClr val="bg2"/>
                </a:solidFill>
              </a:rPr>
              <a:t>numbers</a:t>
            </a:r>
            <a:r>
              <a:rPr lang="de-DE" sz="2000" dirty="0">
                <a:solidFill>
                  <a:schemeClr val="accent1">
                    <a:lumMod val="50000"/>
                  </a:schemeClr>
                </a:solidFill>
              </a:rPr>
              <a:t>)</a:t>
            </a:r>
          </a:p>
          <a:p>
            <a:pPr lvl="1">
              <a:defRPr/>
            </a:pPr>
            <a:r>
              <a:rPr lang="de-DE" sz="1800" dirty="0"/>
              <a:t>Zahl wird durch die </a:t>
            </a:r>
            <a:r>
              <a:rPr lang="de-DE" sz="1800" dirty="0">
                <a:solidFill>
                  <a:srgbClr val="0000FF"/>
                </a:solidFill>
              </a:rPr>
              <a:t>Invertierung</a:t>
            </a:r>
            <a:r>
              <a:rPr lang="de-DE" sz="1800" dirty="0"/>
              <a:t> </a:t>
            </a:r>
            <a:r>
              <a:rPr lang="de-DE" sz="1800" dirty="0">
                <a:solidFill>
                  <a:srgbClr val="0000FF"/>
                </a:solidFill>
              </a:rPr>
              <a:t>aller Bits</a:t>
            </a:r>
            <a:r>
              <a:rPr lang="de-DE" sz="1800" dirty="0"/>
              <a:t> negiert.</a:t>
            </a:r>
          </a:p>
          <a:p>
            <a:pPr lvl="1">
              <a:defRPr/>
            </a:pPr>
            <a:r>
              <a:rPr lang="de-DE" sz="1800" dirty="0"/>
              <a:t>MSB </a:t>
            </a:r>
            <a:r>
              <a:rPr lang="de-DE" sz="1800" i="1" dirty="0"/>
              <a:t>impliziert</a:t>
            </a:r>
            <a:r>
              <a:rPr lang="de-DE" sz="1800" dirty="0"/>
              <a:t> das Vorzeichen.</a:t>
            </a:r>
          </a:p>
          <a:p>
            <a:pPr lvl="1">
              <a:defRPr/>
            </a:pPr>
            <a:r>
              <a:rPr lang="de-DE" sz="1800" dirty="0"/>
              <a:t>Beispiel: 5 (dezimal) = 0101 (binär) </a:t>
            </a:r>
            <a:r>
              <a:rPr lang="de-DE" sz="1800" dirty="0">
                <a:sym typeface="Wingdings"/>
              </a:rPr>
              <a:t> - 5 (dezimal) = 1010 (binär)</a:t>
            </a:r>
            <a:endParaRPr lang="de-DE" dirty="0"/>
          </a:p>
          <a:p>
            <a:pPr>
              <a:defRPr/>
            </a:pPr>
            <a:r>
              <a:rPr lang="de-DE" sz="2000" b="1" dirty="0">
                <a:solidFill>
                  <a:srgbClr val="0000FF"/>
                </a:solidFill>
              </a:rPr>
              <a:t>2-Komplement-Zahlen</a:t>
            </a:r>
            <a:r>
              <a:rPr lang="de-DE" sz="2000" i="1" dirty="0">
                <a:solidFill>
                  <a:srgbClr val="0000FF"/>
                </a:solidFill>
              </a:rPr>
              <a:t> </a:t>
            </a:r>
            <a:r>
              <a:rPr lang="de-DE" sz="2000" dirty="0">
                <a:solidFill>
                  <a:schemeClr val="accent1">
                    <a:lumMod val="50000"/>
                  </a:schemeClr>
                </a:solidFill>
              </a:rPr>
              <a:t>(</a:t>
            </a:r>
            <a:r>
              <a:rPr lang="de-DE" sz="2000" i="1" dirty="0" err="1">
                <a:solidFill>
                  <a:schemeClr val="bg2"/>
                </a:solidFill>
              </a:rPr>
              <a:t>Two’s</a:t>
            </a:r>
            <a:r>
              <a:rPr lang="de-DE" sz="2000" i="1" dirty="0">
                <a:solidFill>
                  <a:schemeClr val="bg2"/>
                </a:solidFill>
              </a:rPr>
              <a:t> </a:t>
            </a:r>
            <a:r>
              <a:rPr lang="de-DE" sz="2000" i="1" dirty="0" err="1">
                <a:solidFill>
                  <a:schemeClr val="bg2"/>
                </a:solidFill>
              </a:rPr>
              <a:t>complement</a:t>
            </a:r>
            <a:r>
              <a:rPr lang="de-DE" sz="2000" i="1" dirty="0">
                <a:solidFill>
                  <a:schemeClr val="bg2"/>
                </a:solidFill>
              </a:rPr>
              <a:t> </a:t>
            </a:r>
            <a:r>
              <a:rPr lang="de-DE" sz="2000" i="1" dirty="0" err="1">
                <a:solidFill>
                  <a:schemeClr val="bg2"/>
                </a:solidFill>
              </a:rPr>
              <a:t>numbers</a:t>
            </a:r>
            <a:r>
              <a:rPr lang="de-DE" sz="2000" dirty="0">
                <a:solidFill>
                  <a:schemeClr val="accent1">
                    <a:lumMod val="50000"/>
                  </a:schemeClr>
                </a:solidFill>
              </a:rPr>
              <a:t>)</a:t>
            </a:r>
          </a:p>
          <a:p>
            <a:pPr lvl="1">
              <a:defRPr/>
            </a:pPr>
            <a:r>
              <a:rPr lang="de-DE" dirty="0">
                <a:solidFill>
                  <a:srgbClr val="0000FF"/>
                </a:solidFill>
              </a:rPr>
              <a:t>MSB hat ein negatives Gewicht </a:t>
            </a:r>
            <a:r>
              <a:rPr lang="de-DE" dirty="0"/>
              <a:t>(- 2</a:t>
            </a:r>
            <a:r>
              <a:rPr lang="de-DE" baseline="30000" dirty="0"/>
              <a:t>n-1</a:t>
            </a:r>
            <a:r>
              <a:rPr lang="de-DE" dirty="0"/>
              <a:t>).</a:t>
            </a:r>
            <a:endParaRPr lang="de-DE" dirty="0">
              <a:solidFill>
                <a:srgbClr val="CC0000"/>
              </a:solidFill>
            </a:endParaRPr>
          </a:p>
          <a:p>
            <a:pPr lvl="1">
              <a:defRPr/>
            </a:pPr>
            <a:r>
              <a:rPr lang="de-DE" sz="1800" dirty="0"/>
              <a:t>b</a:t>
            </a:r>
            <a:r>
              <a:rPr lang="de-DE" sz="1800" baseline="-25000" dirty="0"/>
              <a:t>n-1</a:t>
            </a:r>
            <a:r>
              <a:rPr lang="de-DE" sz="1800" dirty="0"/>
              <a:t>b</a:t>
            </a:r>
            <a:r>
              <a:rPr lang="de-DE" sz="1800" baseline="-25000" dirty="0"/>
              <a:t>n-2</a:t>
            </a:r>
            <a:r>
              <a:rPr lang="de-DE" sz="1800" dirty="0"/>
              <a:t>…b</a:t>
            </a:r>
            <a:r>
              <a:rPr lang="de-DE" sz="1800" baseline="-25000" dirty="0"/>
              <a:t>1</a:t>
            </a:r>
            <a:r>
              <a:rPr lang="de-DE" sz="1800" dirty="0"/>
              <a:t>b</a:t>
            </a:r>
            <a:r>
              <a:rPr lang="de-DE" sz="1800" baseline="-25000" dirty="0"/>
              <a:t>0 </a:t>
            </a:r>
            <a:r>
              <a:rPr lang="de-DE" sz="1800" dirty="0"/>
              <a:t>(binär) = </a:t>
            </a:r>
            <a:r>
              <a:rPr lang="de-DE" sz="1800" dirty="0">
                <a:solidFill>
                  <a:schemeClr val="accent1">
                    <a:lumMod val="50000"/>
                  </a:schemeClr>
                </a:solidFill>
              </a:rPr>
              <a:t>- </a:t>
            </a:r>
            <a:r>
              <a:rPr lang="de-DE" sz="1800" dirty="0"/>
              <a:t>b</a:t>
            </a:r>
            <a:r>
              <a:rPr lang="de-DE" sz="1800" baseline="-25000" dirty="0"/>
              <a:t>n-1</a:t>
            </a:r>
            <a:r>
              <a:rPr lang="de-DE" sz="1800" dirty="0"/>
              <a:t>2</a:t>
            </a:r>
            <a:r>
              <a:rPr lang="de-DE" sz="1800" baseline="30000" dirty="0"/>
              <a:t>n-1</a:t>
            </a:r>
            <a:r>
              <a:rPr lang="de-DE" sz="1800" dirty="0"/>
              <a:t>+b</a:t>
            </a:r>
            <a:r>
              <a:rPr lang="de-DE" sz="1800" baseline="-25000" dirty="0"/>
              <a:t>n-2</a:t>
            </a:r>
            <a:r>
              <a:rPr lang="de-DE" sz="1800" dirty="0"/>
              <a:t>2</a:t>
            </a:r>
            <a:r>
              <a:rPr lang="de-DE" sz="1800" baseline="30000" dirty="0"/>
              <a:t>n-2</a:t>
            </a:r>
            <a:r>
              <a:rPr lang="de-DE" sz="1800" dirty="0"/>
              <a:t>+…+b</a:t>
            </a:r>
            <a:r>
              <a:rPr lang="de-DE" sz="1800" baseline="-25000" dirty="0"/>
              <a:t>1</a:t>
            </a:r>
            <a:r>
              <a:rPr lang="de-DE" sz="1800" dirty="0"/>
              <a:t>2</a:t>
            </a:r>
            <a:r>
              <a:rPr lang="de-DE" sz="1800" baseline="30000" dirty="0"/>
              <a:t>1</a:t>
            </a:r>
            <a:r>
              <a:rPr lang="de-DE" sz="1800" dirty="0"/>
              <a:t>+b</a:t>
            </a:r>
            <a:r>
              <a:rPr lang="de-DE" sz="1800" baseline="-25000" dirty="0"/>
              <a:t>0</a:t>
            </a:r>
            <a:r>
              <a:rPr lang="de-DE" sz="1800" dirty="0"/>
              <a:t>2</a:t>
            </a:r>
            <a:r>
              <a:rPr lang="de-DE" sz="1800" baseline="30000" dirty="0"/>
              <a:t>0</a:t>
            </a:r>
            <a:r>
              <a:rPr lang="de-DE" sz="1800" dirty="0"/>
              <a:t> (dezimal)</a:t>
            </a:r>
          </a:p>
          <a:p>
            <a:pPr lvl="1">
              <a:defRPr/>
            </a:pPr>
            <a:r>
              <a:rPr lang="de-DE" sz="1800" dirty="0"/>
              <a:t>MSB </a:t>
            </a:r>
            <a:r>
              <a:rPr lang="de-DE" sz="1800" i="1" dirty="0"/>
              <a:t>impliziert</a:t>
            </a:r>
            <a:r>
              <a:rPr lang="de-DE" sz="1800" dirty="0"/>
              <a:t> das Vorzeichen.</a:t>
            </a:r>
          </a:p>
          <a:p>
            <a:pPr lvl="1">
              <a:defRPr/>
            </a:pPr>
            <a:r>
              <a:rPr lang="de-DE" sz="1800" dirty="0"/>
              <a:t>Beispiel: - 5 (dezimal) = - 8 + 3 = 1011 (binär)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532461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 err="1"/>
              <a:t>Beispiel</a:t>
            </a:r>
            <a:r>
              <a:rPr lang="en-GB" sz="2800" dirty="0"/>
              <a:t> (3 Bit)</a:t>
            </a:r>
            <a:endParaRPr lang="de-DE" sz="2800" dirty="0"/>
          </a:p>
        </p:txBody>
      </p:sp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16</a:t>
            </a:fld>
            <a:endParaRPr lang="de-DE"/>
          </a:p>
        </p:txBody>
      </p:sp>
      <p:graphicFrame>
        <p:nvGraphicFramePr>
          <p:cNvPr id="118888" name="Group 10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4131327"/>
              </p:ext>
            </p:extLst>
          </p:nvPr>
        </p:nvGraphicFramePr>
        <p:xfrm>
          <a:off x="1800064" y="836712"/>
          <a:ext cx="8591875" cy="4502160"/>
        </p:xfrm>
        <a:graphic>
          <a:graphicData uri="http://schemas.openxmlformats.org/drawingml/2006/table">
            <a:tbl>
              <a:tblPr/>
              <a:tblGrid>
                <a:gridCol w="10318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8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56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56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0796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Dezimal</a:t>
                      </a:r>
                      <a:endParaRPr kumimoji="0" lang="en-US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FF">
                        <a:alpha val="2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lang="en-GB" sz="1800" b="1" i="0" dirty="0">
                          <a:solidFill>
                            <a:schemeClr val="tx1"/>
                          </a:solidFill>
                        </a:rPr>
                        <a:t>Vorzeichen-/Betrags-Zahlen</a:t>
                      </a:r>
                      <a:br>
                        <a:rPr lang="en-GB" sz="1800" b="1" i="0" dirty="0">
                          <a:solidFill>
                            <a:schemeClr val="tx1"/>
                          </a:solidFill>
                        </a:rPr>
                      </a:br>
                      <a:r>
                        <a:rPr kumimoji="0" lang="en-GB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(Sign-Magnitude)</a:t>
                      </a:r>
                      <a:endParaRPr kumimoji="0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FF">
                        <a:alpha val="2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lang="en-GB" sz="1800" b="1" i="0" dirty="0">
                          <a:solidFill>
                            <a:schemeClr val="tx1"/>
                          </a:solidFill>
                        </a:rPr>
                        <a:t>1-Komplement-Zahlen</a:t>
                      </a:r>
                      <a:br>
                        <a:rPr lang="en-GB" sz="1800" i="1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</a:br>
                      <a:r>
                        <a:rPr kumimoji="0" lang="en-GB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(One’s complement)</a:t>
                      </a:r>
                      <a:endParaRPr kumimoji="0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FF">
                        <a:alpha val="2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lang="en-GB" sz="1800" b="1" i="0" dirty="0">
                          <a:solidFill>
                            <a:schemeClr val="tx1"/>
                          </a:solidFill>
                        </a:rPr>
                        <a:t>2-Komplement-Zahlen</a:t>
                      </a:r>
                      <a:br>
                        <a:rPr lang="en-GB" sz="1800" b="1" i="0" dirty="0">
                          <a:solidFill>
                            <a:schemeClr val="tx1"/>
                          </a:solidFill>
                        </a:rPr>
                      </a:br>
                      <a:r>
                        <a:rPr kumimoji="0" lang="en-GB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(Two’s complement)</a:t>
                      </a:r>
                      <a:endParaRPr kumimoji="0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FF">
                        <a:alpha val="2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796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-4</a:t>
                      </a:r>
                      <a:endParaRPr kumimoji="0" 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de-DE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00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-3</a:t>
                      </a:r>
                      <a:endParaRPr kumimoji="0" 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11</a:t>
                      </a:r>
                      <a:endParaRPr kumimoji="0" 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00</a:t>
                      </a:r>
                      <a:endParaRPr kumimoji="0" 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01</a:t>
                      </a:r>
                      <a:endParaRPr kumimoji="0" 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796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-2</a:t>
                      </a:r>
                      <a:endParaRPr kumimoji="0" 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10</a:t>
                      </a:r>
                      <a:endParaRPr kumimoji="0" 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01</a:t>
                      </a:r>
                      <a:endParaRPr kumimoji="0" 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10</a:t>
                      </a:r>
                      <a:endParaRPr kumimoji="0" 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6875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-1</a:t>
                      </a:r>
                      <a:endParaRPr kumimoji="0" 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01</a:t>
                      </a:r>
                      <a:endParaRPr kumimoji="0" 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10</a:t>
                      </a:r>
                      <a:endParaRPr kumimoji="0" 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11</a:t>
                      </a:r>
                      <a:endParaRPr kumimoji="0" 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96875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-0</a:t>
                      </a:r>
                      <a:endParaRPr kumimoji="0" 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00</a:t>
                      </a:r>
                      <a:endParaRPr kumimoji="0" 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11</a:t>
                      </a:r>
                      <a:endParaRPr kumimoji="0" 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96875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+0</a:t>
                      </a:r>
                      <a:endParaRPr kumimoji="0" 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00</a:t>
                      </a:r>
                      <a:endParaRPr kumimoji="0" 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00</a:t>
                      </a:r>
                      <a:endParaRPr kumimoji="0" 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00</a:t>
                      </a:r>
                      <a:endParaRPr kumimoji="0" 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96875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+1</a:t>
                      </a:r>
                      <a:endParaRPr kumimoji="0" 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01</a:t>
                      </a:r>
                      <a:endParaRPr kumimoji="0" 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01</a:t>
                      </a:r>
                      <a:endParaRPr kumimoji="0" 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01</a:t>
                      </a:r>
                      <a:endParaRPr kumimoji="0" 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96875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+2</a:t>
                      </a:r>
                      <a:endParaRPr kumimoji="0" 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10</a:t>
                      </a:r>
                      <a:endParaRPr kumimoji="0" 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10</a:t>
                      </a:r>
                      <a:endParaRPr kumimoji="0" 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10</a:t>
                      </a:r>
                      <a:endParaRPr kumimoji="0" 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0796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+3</a:t>
                      </a:r>
                      <a:endParaRPr kumimoji="0" 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de-DE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11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de-DE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11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11</a:t>
                      </a:r>
                      <a:endParaRPr kumimoji="0" 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6" name="Textfeld 5"/>
          <p:cNvSpPr txBox="1"/>
          <p:nvPr/>
        </p:nvSpPr>
        <p:spPr>
          <a:xfrm>
            <a:off x="384339" y="5373216"/>
            <a:ext cx="11423320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000" b="1" dirty="0">
                <a:solidFill>
                  <a:srgbClr val="C00000"/>
                </a:solidFill>
              </a:rPr>
              <a:t>Welche Darstellung würden Sie wählen?</a:t>
            </a:r>
          </a:p>
          <a:p>
            <a:pPr algn="ctr"/>
            <a:r>
              <a:rPr lang="de-DE" sz="2200" b="1" dirty="0">
                <a:solidFill>
                  <a:srgbClr val="C00000"/>
                </a:solidFill>
              </a:rPr>
              <a:t>Was sind die </a:t>
            </a:r>
            <a:r>
              <a:rPr lang="de-DE" sz="2200" b="1" u="sng" dirty="0">
                <a:solidFill>
                  <a:srgbClr val="C00000"/>
                </a:solidFill>
              </a:rPr>
              <a:t>kleinste</a:t>
            </a:r>
            <a:r>
              <a:rPr lang="de-DE" sz="2200" b="1" dirty="0">
                <a:solidFill>
                  <a:srgbClr val="C00000"/>
                </a:solidFill>
              </a:rPr>
              <a:t> und </a:t>
            </a:r>
            <a:r>
              <a:rPr lang="de-DE" sz="2200" b="1" u="sng" dirty="0">
                <a:solidFill>
                  <a:srgbClr val="C00000"/>
                </a:solidFill>
              </a:rPr>
              <a:t>größte</a:t>
            </a:r>
            <a:r>
              <a:rPr lang="de-DE" sz="2200" b="1" dirty="0">
                <a:solidFill>
                  <a:srgbClr val="C00000"/>
                </a:solidFill>
              </a:rPr>
              <a:t> mit 8 Bit repräsentierbare Ganzzahl?</a:t>
            </a:r>
          </a:p>
        </p:txBody>
      </p:sp>
    </p:spTree>
    <p:extLst>
      <p:ext uri="{BB962C8B-B14F-4D97-AF65-F5344CB8AC3E}">
        <p14:creationId xmlns:p14="http://schemas.microsoft.com/office/powerpoint/2010/main" val="7993116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/>
          </p:cNvSpPr>
          <p:nvPr>
            <p:ph type="title"/>
          </p:nvPr>
        </p:nvSpPr>
        <p:spPr>
          <a:xfrm>
            <a:off x="1981200" y="331666"/>
            <a:ext cx="7620000" cy="577054"/>
          </a:xfrm>
        </p:spPr>
        <p:txBody>
          <a:bodyPr anchor="ctr">
            <a:normAutofit/>
          </a:bodyPr>
          <a:lstStyle/>
          <a:p>
            <a:r>
              <a:rPr lang="de-DE" sz="2800" dirty="0"/>
              <a:t>Und  der Gewinner ist …</a:t>
            </a:r>
          </a:p>
        </p:txBody>
      </p:sp>
      <p:sp>
        <p:nvSpPr>
          <p:cNvPr id="22531" name="Rectangle 3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>
              <a:defRPr/>
            </a:pPr>
            <a:r>
              <a:rPr lang="de-DE" sz="2400" b="1" dirty="0">
                <a:solidFill>
                  <a:schemeClr val="bg2"/>
                </a:solidFill>
              </a:rPr>
              <a:t>2-Komplement-Zahlen</a:t>
            </a:r>
          </a:p>
          <a:p>
            <a:pPr lvl="1">
              <a:defRPr/>
            </a:pPr>
            <a:r>
              <a:rPr lang="de-DE" sz="2200" dirty="0"/>
              <a:t>Arithmetik ist einfacher (identisch zu vorzeichenlos !).</a:t>
            </a:r>
          </a:p>
          <a:p>
            <a:pPr lvl="1">
              <a:defRPr/>
            </a:pPr>
            <a:r>
              <a:rPr lang="de-DE" sz="2200" dirty="0"/>
              <a:t>Es gibt nur eine Möglichkeit die 0 zu repräsentieren.</a:t>
            </a:r>
          </a:p>
          <a:p>
            <a:pPr>
              <a:defRPr/>
            </a:pPr>
            <a:endParaRPr lang="de-DE" sz="2400" dirty="0"/>
          </a:p>
          <a:p>
            <a:pPr>
              <a:defRPr/>
            </a:pPr>
            <a:r>
              <a:rPr lang="de-DE" sz="2400" dirty="0"/>
              <a:t>Beispiel 32bit:</a:t>
            </a:r>
          </a:p>
          <a:p>
            <a:pPr algn="ctr">
              <a:defRPr/>
            </a:pPr>
            <a:r>
              <a:rPr lang="de-DE" sz="2400" dirty="0"/>
              <a:t>b</a:t>
            </a:r>
            <a:r>
              <a:rPr lang="de-DE" sz="2400" baseline="-25000" dirty="0"/>
              <a:t>31</a:t>
            </a:r>
            <a:r>
              <a:rPr lang="de-DE" sz="2400" dirty="0"/>
              <a:t>b</a:t>
            </a:r>
            <a:r>
              <a:rPr lang="de-DE" sz="2400" baseline="-25000" dirty="0"/>
              <a:t>30</a:t>
            </a:r>
            <a:r>
              <a:rPr lang="de-DE" sz="2400" dirty="0"/>
              <a:t>…b</a:t>
            </a:r>
            <a:r>
              <a:rPr lang="de-DE" sz="2400" baseline="-25000" dirty="0"/>
              <a:t>1</a:t>
            </a:r>
            <a:r>
              <a:rPr lang="de-DE" sz="2400" dirty="0"/>
              <a:t>b</a:t>
            </a:r>
            <a:r>
              <a:rPr lang="de-DE" sz="2400" baseline="-25000" dirty="0"/>
              <a:t>0</a:t>
            </a:r>
            <a:r>
              <a:rPr lang="de-DE" sz="2400" dirty="0"/>
              <a:t> (binär) = -b</a:t>
            </a:r>
            <a:r>
              <a:rPr lang="de-DE" sz="2400" baseline="-25000" dirty="0"/>
              <a:t>31</a:t>
            </a:r>
            <a:r>
              <a:rPr lang="de-DE" sz="2400" dirty="0"/>
              <a:t>2</a:t>
            </a:r>
            <a:r>
              <a:rPr lang="de-DE" sz="2400" baseline="30000" dirty="0"/>
              <a:t>31</a:t>
            </a:r>
            <a:r>
              <a:rPr lang="de-DE" sz="2400" dirty="0"/>
              <a:t>+b</a:t>
            </a:r>
            <a:r>
              <a:rPr lang="de-DE" sz="2400" baseline="-25000" dirty="0"/>
              <a:t>30</a:t>
            </a:r>
            <a:r>
              <a:rPr lang="de-DE" sz="2400" dirty="0"/>
              <a:t>2</a:t>
            </a:r>
            <a:r>
              <a:rPr lang="de-DE" sz="2400" baseline="30000" dirty="0"/>
              <a:t>30</a:t>
            </a:r>
            <a:r>
              <a:rPr lang="de-DE" sz="2400" dirty="0"/>
              <a:t>+…+b</a:t>
            </a:r>
            <a:r>
              <a:rPr lang="de-DE" sz="2400" baseline="-25000" dirty="0"/>
              <a:t>1</a:t>
            </a:r>
            <a:r>
              <a:rPr lang="de-DE" sz="2400" dirty="0"/>
              <a:t>2</a:t>
            </a:r>
            <a:r>
              <a:rPr lang="de-DE" sz="2400" baseline="30000" dirty="0"/>
              <a:t>1</a:t>
            </a:r>
            <a:r>
              <a:rPr lang="de-DE" sz="2400" dirty="0"/>
              <a:t>+b</a:t>
            </a:r>
            <a:r>
              <a:rPr lang="de-DE" sz="2400" baseline="-25000" dirty="0"/>
              <a:t>0</a:t>
            </a:r>
            <a:r>
              <a:rPr lang="de-DE" sz="2400" dirty="0"/>
              <a:t>2</a:t>
            </a:r>
            <a:r>
              <a:rPr lang="de-DE" sz="2400" baseline="30000" dirty="0"/>
              <a:t>0</a:t>
            </a:r>
            <a:r>
              <a:rPr lang="de-DE" sz="2400" dirty="0"/>
              <a:t> (dezimal)</a:t>
            </a:r>
          </a:p>
          <a:p>
            <a:pPr algn="ctr">
              <a:defRPr/>
            </a:pPr>
            <a:endParaRPr lang="de-DE" sz="2400" dirty="0"/>
          </a:p>
          <a:p>
            <a:pPr lvl="1">
              <a:defRPr/>
            </a:pPr>
            <a:r>
              <a:rPr lang="de-DE" sz="2200" dirty="0"/>
              <a:t>kleinste mit 8 Bit darstellbare Zahl: : - 2</a:t>
            </a:r>
            <a:r>
              <a:rPr lang="de-DE" sz="2200" baseline="30000" dirty="0"/>
              <a:t>7</a:t>
            </a:r>
            <a:r>
              <a:rPr lang="de-DE" sz="2200" dirty="0"/>
              <a:t> = - 128 (- 2</a:t>
            </a:r>
            <a:r>
              <a:rPr lang="de-DE" sz="2200" baseline="30000" dirty="0"/>
              <a:t>n-1</a:t>
            </a:r>
            <a:r>
              <a:rPr lang="de-DE" sz="2200" dirty="0"/>
              <a:t>)</a:t>
            </a:r>
          </a:p>
          <a:p>
            <a:pPr lvl="1">
              <a:defRPr/>
            </a:pPr>
            <a:r>
              <a:rPr lang="de-DE" sz="2200" dirty="0"/>
              <a:t>größte mit 8 Bit darstellbare Zahl: 2</a:t>
            </a:r>
            <a:r>
              <a:rPr lang="de-DE" sz="2200" baseline="30000" dirty="0"/>
              <a:t>6</a:t>
            </a:r>
            <a:r>
              <a:rPr lang="de-DE" sz="2200" dirty="0"/>
              <a:t> + 2</a:t>
            </a:r>
            <a:r>
              <a:rPr lang="de-DE" sz="2200" baseline="30000" dirty="0"/>
              <a:t>5</a:t>
            </a:r>
            <a:r>
              <a:rPr lang="de-DE" sz="2200" dirty="0"/>
              <a:t> + … + 2</a:t>
            </a:r>
            <a:r>
              <a:rPr lang="de-DE" sz="2200" baseline="30000" dirty="0"/>
              <a:t>0</a:t>
            </a:r>
            <a:r>
              <a:rPr lang="de-DE" sz="2200" dirty="0"/>
              <a:t> = 127 (= 2</a:t>
            </a:r>
            <a:r>
              <a:rPr lang="de-DE" sz="2200" baseline="30000" dirty="0"/>
              <a:t>n-1</a:t>
            </a:r>
            <a:r>
              <a:rPr lang="de-DE" sz="2200" dirty="0"/>
              <a:t> -1)</a:t>
            </a:r>
          </a:p>
          <a:p>
            <a:pPr lvl="1">
              <a:defRPr/>
            </a:pPr>
            <a:endParaRPr lang="de-DE" sz="220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830319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/>
              <a:t>Negation</a:t>
            </a:r>
            <a:endParaRPr lang="de-DE" sz="2800" dirty="0"/>
          </a:p>
        </p:txBody>
      </p:sp>
      <p:sp>
        <p:nvSpPr>
          <p:cNvPr id="33795" name="Rectangle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2400" dirty="0"/>
              <a:t>Negation von 2-Komplement-Zahlen:</a:t>
            </a:r>
          </a:p>
          <a:p>
            <a:pPr lvl="1"/>
            <a:r>
              <a:rPr lang="en-GB" sz="2200" dirty="0" err="1"/>
              <a:t>Invertiere</a:t>
            </a:r>
            <a:r>
              <a:rPr lang="en-GB" sz="2200" dirty="0"/>
              <a:t> </a:t>
            </a:r>
            <a:r>
              <a:rPr lang="en-GB" sz="2200" dirty="0" err="1"/>
              <a:t>alle</a:t>
            </a:r>
            <a:r>
              <a:rPr lang="en-GB" sz="2200" dirty="0"/>
              <a:t> Bits und </a:t>
            </a:r>
            <a:r>
              <a:rPr lang="en-GB" sz="2200" dirty="0" err="1"/>
              <a:t>addiere</a:t>
            </a:r>
            <a:r>
              <a:rPr lang="en-GB" sz="2200" dirty="0"/>
              <a:t> 1</a:t>
            </a:r>
          </a:p>
          <a:p>
            <a:endParaRPr lang="en-GB" sz="2400" dirty="0"/>
          </a:p>
          <a:p>
            <a:r>
              <a:rPr lang="en-GB" sz="2400" dirty="0"/>
              <a:t>8-Bit-Beispiel: 0110 1001</a:t>
            </a:r>
            <a:r>
              <a:rPr lang="en-GB" sz="2400" baseline="-25000" dirty="0"/>
              <a:t>B</a:t>
            </a:r>
            <a:r>
              <a:rPr lang="en-GB" sz="2400" dirty="0"/>
              <a:t> = +105</a:t>
            </a:r>
            <a:r>
              <a:rPr lang="en-GB" sz="2400" baseline="-25000" dirty="0"/>
              <a:t>D</a:t>
            </a:r>
            <a:endParaRPr lang="en-US" sz="2400" baseline="-25000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18</a:t>
            </a:fld>
            <a:r>
              <a:rPr lang="de-DE"/>
              <a:t> </a:t>
            </a:r>
            <a:endParaRPr lang="de-DE" sz="787" dirty="0"/>
          </a:p>
        </p:txBody>
      </p:sp>
      <p:graphicFrame>
        <p:nvGraphicFramePr>
          <p:cNvPr id="120915" name="Group 8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8636078"/>
              </p:ext>
            </p:extLst>
          </p:nvPr>
        </p:nvGraphicFramePr>
        <p:xfrm>
          <a:off x="2209801" y="3280272"/>
          <a:ext cx="6716713" cy="796800"/>
        </p:xfrm>
        <a:graphic>
          <a:graphicData uri="http://schemas.openxmlformats.org/drawingml/2006/table">
            <a:tbl>
              <a:tblPr/>
              <a:tblGrid>
                <a:gridCol w="30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668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0188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69875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invertieren:</a:t>
                      </a:r>
                      <a:endParaRPr kumimoji="0" 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001 0110</a:t>
                      </a:r>
                      <a:endParaRPr kumimoji="0" lang="en-US" sz="2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de-DE" sz="2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8288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 addieren:</a:t>
                      </a:r>
                      <a:endParaRPr kumimoji="0" 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001 0111</a:t>
                      </a:r>
                      <a:endParaRPr kumimoji="0" lang="en-US" sz="2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= -128 + 16 + 7 = -105</a:t>
                      </a:r>
                      <a:endParaRPr kumimoji="0" 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8" name="Group 8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7284834"/>
              </p:ext>
            </p:extLst>
          </p:nvPr>
        </p:nvGraphicFramePr>
        <p:xfrm>
          <a:off x="2207569" y="4394040"/>
          <a:ext cx="6716713" cy="1195200"/>
        </p:xfrm>
        <a:graphic>
          <a:graphicData uri="http://schemas.openxmlformats.org/drawingml/2006/table">
            <a:tbl>
              <a:tblPr/>
              <a:tblGrid>
                <a:gridCol w="30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668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0188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69875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de-DE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Rückwärts:</a:t>
                      </a:r>
                    </a:p>
                  </a:txBody>
                  <a:tcPr marL="90000" marR="90000" marT="46800" marB="468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de-DE" sz="2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de-DE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8288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invertieren:</a:t>
                      </a:r>
                      <a:endParaRPr kumimoji="0" 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110 1000</a:t>
                      </a:r>
                      <a:endParaRPr kumimoji="0" 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de-DE" sz="2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9875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 addieren:</a:t>
                      </a:r>
                      <a:endParaRPr kumimoji="0" 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110 1001</a:t>
                      </a:r>
                      <a:endParaRPr kumimoji="0" 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de-DE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0000" marR="90000" marT="46800" marB="46800" anchor="ctr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635780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9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Übersicht über die heutige Vorlesu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r>
              <a:rPr lang="de-DE" sz="24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Zahlensysteme und ihre Konvertierung</a:t>
            </a:r>
          </a:p>
          <a:p>
            <a:r>
              <a:rPr lang="de-DE" sz="24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Vorzeichenbehaftete und vorzeichenlose Zahlen</a:t>
            </a:r>
          </a:p>
          <a:p>
            <a:r>
              <a:rPr lang="de-DE" sz="2400" dirty="0"/>
              <a:t>Arithmetische Operationen</a:t>
            </a:r>
          </a:p>
          <a:p>
            <a:pPr lvl="1"/>
            <a:r>
              <a:rPr lang="de-DE" sz="2200" dirty="0"/>
              <a:t>Addition und Subtraktion</a:t>
            </a:r>
          </a:p>
          <a:p>
            <a:pPr lvl="1"/>
            <a:r>
              <a:rPr lang="de-DE" sz="2200" dirty="0"/>
              <a:t>Multiplikation</a:t>
            </a:r>
          </a:p>
          <a:p>
            <a:pPr lvl="1"/>
            <a:r>
              <a:rPr lang="de-DE" sz="2200" dirty="0"/>
              <a:t>Division</a:t>
            </a:r>
          </a:p>
          <a:p>
            <a:r>
              <a:rPr lang="de-DE" sz="24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Gleitkommazahlen (Floating Point)</a:t>
            </a:r>
          </a:p>
          <a:p>
            <a:r>
              <a:rPr lang="de-DE" sz="24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„Pentium Bug“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755863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Lernziel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idx="1"/>
          </p:nvPr>
        </p:nvSpPr>
        <p:spPr/>
        <p:txBody>
          <a:bodyPr anchor="ctr">
            <a:normAutofit/>
          </a:bodyPr>
          <a:lstStyle/>
          <a:p>
            <a:r>
              <a:rPr lang="de-DE" sz="2400" dirty="0"/>
              <a:t>Nach dieser Vorlesung sollten Sie in der Lage sein:</a:t>
            </a:r>
            <a:endParaRPr lang="de-DE" dirty="0"/>
          </a:p>
          <a:p>
            <a:pPr lvl="1"/>
            <a:r>
              <a:rPr lang="de-DE" sz="2400" dirty="0">
                <a:solidFill>
                  <a:srgbClr val="0000FF"/>
                </a:solidFill>
              </a:rPr>
              <a:t>Binär-/Oktal-/Hexadezimalzahlen</a:t>
            </a:r>
            <a:r>
              <a:rPr lang="de-DE" sz="2400" dirty="0"/>
              <a:t> zu Dezimalzahlen zu konvertieren und umgekehrt</a:t>
            </a:r>
          </a:p>
          <a:p>
            <a:pPr lvl="1"/>
            <a:r>
              <a:rPr lang="de-DE" sz="2400" dirty="0">
                <a:solidFill>
                  <a:srgbClr val="0000FF"/>
                </a:solidFill>
              </a:rPr>
              <a:t>2-Komplement-Zahlen</a:t>
            </a:r>
            <a:r>
              <a:rPr lang="de-DE" sz="2400" dirty="0"/>
              <a:t> zu berechnen und zu negieren</a:t>
            </a:r>
          </a:p>
          <a:p>
            <a:pPr lvl="1"/>
            <a:r>
              <a:rPr lang="de-DE" sz="2400" dirty="0"/>
              <a:t>m-Bit 2-Komplement-Zahlen zu n-Bit zu konvertieren</a:t>
            </a:r>
          </a:p>
          <a:p>
            <a:pPr lvl="1"/>
            <a:r>
              <a:rPr lang="de-DE" sz="2400" dirty="0">
                <a:solidFill>
                  <a:srgbClr val="0000FF"/>
                </a:solidFill>
              </a:rPr>
              <a:t>Arithmetische Operationen mit Binärzahlen </a:t>
            </a:r>
            <a:r>
              <a:rPr lang="de-DE" sz="2400" dirty="0"/>
              <a:t>durchzuführen</a:t>
            </a:r>
          </a:p>
          <a:p>
            <a:pPr lvl="1"/>
            <a:r>
              <a:rPr lang="de-DE" sz="2400" dirty="0"/>
              <a:t>einen</a:t>
            </a:r>
            <a:r>
              <a:rPr lang="de-DE" sz="2400" dirty="0">
                <a:solidFill>
                  <a:srgbClr val="0000FF"/>
                </a:solidFill>
              </a:rPr>
              <a:t> Überlauf (</a:t>
            </a:r>
            <a:r>
              <a:rPr lang="de-DE" sz="2400" i="1" dirty="0" err="1">
                <a:solidFill>
                  <a:srgbClr val="0000FF"/>
                </a:solidFill>
              </a:rPr>
              <a:t>overflow</a:t>
            </a:r>
            <a:r>
              <a:rPr lang="de-DE" sz="2400" dirty="0">
                <a:solidFill>
                  <a:srgbClr val="0000FF"/>
                </a:solidFill>
              </a:rPr>
              <a:t>) </a:t>
            </a:r>
            <a:r>
              <a:rPr lang="de-DE" sz="2400" dirty="0"/>
              <a:t>zu erklären und zu erläutern, wann er auftritt und wie er behandelt wird</a:t>
            </a:r>
          </a:p>
          <a:p>
            <a:pPr lvl="1"/>
            <a:r>
              <a:rPr lang="de-DE" sz="2400" dirty="0"/>
              <a:t>eine rationale Zahl in eine </a:t>
            </a:r>
            <a:r>
              <a:rPr lang="de-DE" sz="2400" dirty="0">
                <a:solidFill>
                  <a:srgbClr val="0000FF"/>
                </a:solidFill>
              </a:rPr>
              <a:t>Gleitkommazahl</a:t>
            </a:r>
            <a:r>
              <a:rPr lang="de-DE" sz="2400" dirty="0"/>
              <a:t> (IEEE 754 Floating Point Standard) zu konvertieren und umgekehrt</a:t>
            </a:r>
          </a:p>
          <a:p>
            <a:pPr lvl="1"/>
            <a:r>
              <a:rPr lang="de-DE" sz="2400" dirty="0">
                <a:solidFill>
                  <a:srgbClr val="0000FF"/>
                </a:solidFill>
              </a:rPr>
              <a:t>Arithmetische Operationen mit Gleitkommazahlen </a:t>
            </a:r>
            <a:r>
              <a:rPr lang="de-DE" sz="2400" dirty="0"/>
              <a:t>durchzuführen</a:t>
            </a:r>
          </a:p>
          <a:p>
            <a:endParaRPr lang="de-DE" sz="220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1797879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 err="1"/>
              <a:t>Binäre</a:t>
            </a:r>
            <a:r>
              <a:rPr lang="en-GB" sz="2800" dirty="0"/>
              <a:t> Addition</a:t>
            </a:r>
            <a:endParaRPr lang="de-DE" sz="2800" dirty="0"/>
          </a:p>
        </p:txBody>
      </p:sp>
      <p:sp>
        <p:nvSpPr>
          <p:cNvPr id="27651" name="Rectangle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defRPr/>
            </a:pPr>
            <a:r>
              <a:rPr lang="en-GB" sz="2400" dirty="0"/>
              <a:t>Addition von rechts nach links mit Übertrag (</a:t>
            </a:r>
            <a:r>
              <a:rPr lang="en-GB" sz="2400" i="1" dirty="0"/>
              <a:t>carry</a:t>
            </a:r>
            <a:r>
              <a:rPr lang="en-GB" sz="2400" dirty="0"/>
              <a:t>) wie in der </a:t>
            </a:r>
            <a:r>
              <a:rPr lang="en-GB" sz="2400" dirty="0" err="1"/>
              <a:t>Grundschule</a:t>
            </a:r>
            <a:endParaRPr lang="en-GB" sz="2400" dirty="0"/>
          </a:p>
          <a:p>
            <a:pPr>
              <a:defRPr/>
            </a:pPr>
            <a:r>
              <a:rPr lang="en-GB" sz="2400" dirty="0"/>
              <a:t>Beispiele (4-Bit):</a:t>
            </a:r>
            <a:endParaRPr lang="en-GB" sz="2000" dirty="0"/>
          </a:p>
          <a:p>
            <a:pPr>
              <a:buFont typeface="Arial" charset="0"/>
              <a:buNone/>
              <a:defRPr/>
            </a:pPr>
            <a:r>
              <a:rPr lang="en-GB" sz="2000" dirty="0">
                <a:latin typeface="Courier New" pitchFamily="49" charset="0"/>
              </a:rPr>
              <a:t>			   	   			 1</a:t>
            </a:r>
            <a:endParaRPr lang="en-GB" sz="2000" dirty="0"/>
          </a:p>
          <a:p>
            <a:pPr>
              <a:buFont typeface="Arial" charset="0"/>
              <a:buNone/>
              <a:defRPr/>
            </a:pPr>
            <a:r>
              <a:rPr lang="en-GB" sz="2000" dirty="0">
                <a:latin typeface="Courier New" pitchFamily="49" charset="0"/>
              </a:rPr>
              <a:t>		  	  				0010		  		2</a:t>
            </a:r>
          </a:p>
          <a:p>
            <a:pPr marL="0" indent="0">
              <a:spcBef>
                <a:spcPts val="0"/>
              </a:spcBef>
              <a:buNone/>
              <a:defRPr/>
            </a:pPr>
            <a:r>
              <a:rPr lang="en-GB" sz="2000" dirty="0">
                <a:latin typeface="Courier New" pitchFamily="49" charset="0"/>
              </a:rPr>
              <a:t>	  			  	</a:t>
            </a:r>
            <a:r>
              <a:rPr lang="en-GB" sz="2000" u="sng" dirty="0">
                <a:latin typeface="Courier New" pitchFamily="49" charset="0"/>
              </a:rPr>
              <a:t>+	0011</a:t>
            </a:r>
            <a:r>
              <a:rPr lang="en-GB" sz="2000" dirty="0">
                <a:latin typeface="Courier New" pitchFamily="49" charset="0"/>
              </a:rPr>
              <a:t>			</a:t>
            </a:r>
            <a:r>
              <a:rPr lang="en-GB" sz="2000" u="sng" dirty="0">
                <a:latin typeface="Courier New" pitchFamily="49" charset="0"/>
              </a:rPr>
              <a:t>+	3</a:t>
            </a:r>
          </a:p>
          <a:p>
            <a:pPr>
              <a:buFont typeface="Arial" charset="0"/>
              <a:buNone/>
              <a:defRPr/>
            </a:pPr>
            <a:r>
              <a:rPr lang="en-GB" sz="2000" i="1" dirty="0">
                <a:solidFill>
                  <a:schemeClr val="accent1">
                    <a:lumMod val="50000"/>
                  </a:schemeClr>
                </a:solidFill>
              </a:rPr>
              <a:t>			carry</a:t>
            </a:r>
            <a:r>
              <a:rPr lang="en-GB" sz="2000" dirty="0">
                <a:latin typeface="Courier New" pitchFamily="49" charset="0"/>
              </a:rPr>
              <a:t> 					  			</a:t>
            </a:r>
            <a:endParaRPr lang="en-GB" sz="2000" dirty="0">
              <a:solidFill>
                <a:schemeClr val="accent1">
                  <a:lumMod val="50000"/>
                </a:schemeClr>
              </a:solidFill>
            </a:endParaRPr>
          </a:p>
          <a:p>
            <a:pPr>
              <a:buFont typeface="Arial" charset="0"/>
              <a:buNone/>
              <a:defRPr/>
            </a:pPr>
            <a:r>
              <a:rPr lang="en-GB" sz="2000" dirty="0">
                <a:latin typeface="Courier New" pitchFamily="49" charset="0"/>
              </a:rPr>
              <a:t>		  	</a:t>
            </a:r>
          </a:p>
          <a:p>
            <a:pPr>
              <a:buFont typeface="Arial" charset="0"/>
              <a:buNone/>
              <a:defRPr/>
            </a:pPr>
            <a:r>
              <a:rPr lang="en-GB" sz="2000" dirty="0">
                <a:latin typeface="Courier New" pitchFamily="49" charset="0"/>
              </a:rPr>
              <a:t>		   		</a:t>
            </a:r>
            <a:endParaRPr lang="en-US" sz="2400" b="1" dirty="0">
              <a:solidFill>
                <a:srgbClr val="CC0000"/>
              </a:solidFill>
              <a:latin typeface="Courier New" pitchFamily="49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20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>
          <a:xfrm>
            <a:off x="7305203" y="2020888"/>
            <a:ext cx="3699333" cy="2308324"/>
          </a:xfrm>
          <a:prstGeom prst="rect">
            <a:avLst/>
          </a:prstGeom>
          <a:solidFill>
            <a:srgbClr val="3399FF">
              <a:alpha val="25000"/>
            </a:srgbClr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l">
              <a:defRPr/>
            </a:pPr>
            <a:r>
              <a:rPr lang="de-DE" sz="2400" dirty="0"/>
              <a:t>Rechenregeln Addition</a:t>
            </a:r>
          </a:p>
          <a:p>
            <a:pPr algn="l">
              <a:buFont typeface="Arial" pitchFamily="34" charset="0"/>
              <a:buChar char="•"/>
              <a:defRPr/>
            </a:pPr>
            <a:r>
              <a:rPr lang="de-DE" sz="2400" dirty="0"/>
              <a:t>   0 + 0 =   0</a:t>
            </a:r>
          </a:p>
          <a:p>
            <a:pPr algn="l">
              <a:buFont typeface="Arial" pitchFamily="34" charset="0"/>
              <a:buChar char="•"/>
              <a:defRPr/>
            </a:pPr>
            <a:r>
              <a:rPr lang="de-DE" sz="2400" dirty="0"/>
              <a:t>   0 + 1 =   1</a:t>
            </a:r>
          </a:p>
          <a:p>
            <a:pPr algn="l">
              <a:buFont typeface="Arial" pitchFamily="34" charset="0"/>
              <a:buChar char="•"/>
              <a:defRPr/>
            </a:pPr>
            <a:r>
              <a:rPr lang="de-DE" sz="2400" dirty="0"/>
              <a:t>   1 + 0 =   1</a:t>
            </a:r>
          </a:p>
          <a:p>
            <a:pPr algn="l">
              <a:buFont typeface="Arial" pitchFamily="34" charset="0"/>
              <a:buChar char="•"/>
              <a:defRPr/>
            </a:pPr>
            <a:r>
              <a:rPr lang="de-DE" sz="2400" dirty="0"/>
              <a:t>   1 + 1 = </a:t>
            </a:r>
            <a:r>
              <a:rPr lang="de-DE" sz="2400" baseline="30000" dirty="0">
                <a:solidFill>
                  <a:schemeClr val="accent1">
                    <a:lumMod val="50000"/>
                  </a:schemeClr>
                </a:solidFill>
              </a:rPr>
              <a:t>1</a:t>
            </a:r>
            <a:r>
              <a:rPr lang="de-DE" sz="2400" dirty="0"/>
              <a:t>0</a:t>
            </a:r>
          </a:p>
          <a:p>
            <a:pPr algn="l">
              <a:defRPr/>
            </a:pPr>
            <a:r>
              <a:rPr lang="de-DE" sz="2400" dirty="0">
                <a:solidFill>
                  <a:schemeClr val="accent1">
                    <a:lumMod val="50000"/>
                  </a:schemeClr>
                </a:solidFill>
              </a:rPr>
              <a:t>       </a:t>
            </a:r>
            <a:r>
              <a:rPr lang="de-DE" sz="2400" i="1" dirty="0">
                <a:solidFill>
                  <a:schemeClr val="accent1">
                    <a:lumMod val="50000"/>
                  </a:schemeClr>
                </a:solidFill>
              </a:rPr>
              <a:t>carry</a:t>
            </a:r>
          </a:p>
        </p:txBody>
      </p:sp>
      <p:cxnSp>
        <p:nvCxnSpPr>
          <p:cNvPr id="9" name="Gerade Verbindung mit Pfeil 8"/>
          <p:cNvCxnSpPr/>
          <p:nvPr/>
        </p:nvCxnSpPr>
        <p:spPr>
          <a:xfrm rot="5400000">
            <a:off x="9022477" y="3954836"/>
            <a:ext cx="396875" cy="0"/>
          </a:xfrm>
          <a:prstGeom prst="straightConnector1">
            <a:avLst/>
          </a:prstGeom>
          <a:ln w="15875"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mit Pfeil 9"/>
          <p:cNvCxnSpPr/>
          <p:nvPr/>
        </p:nvCxnSpPr>
        <p:spPr>
          <a:xfrm>
            <a:off x="9039940" y="4148198"/>
            <a:ext cx="180975" cy="0"/>
          </a:xfrm>
          <a:prstGeom prst="straightConnector1">
            <a:avLst/>
          </a:prstGeom>
          <a:ln w="15875"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/>
          <p:cNvCxnSpPr/>
          <p:nvPr/>
        </p:nvCxnSpPr>
        <p:spPr>
          <a:xfrm rot="10800000">
            <a:off x="1703514" y="2348880"/>
            <a:ext cx="1800225" cy="0"/>
          </a:xfrm>
          <a:prstGeom prst="straightConnector1">
            <a:avLst/>
          </a:prstGeom>
          <a:ln w="15875"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/>
          <p:cNvCxnSpPr/>
          <p:nvPr/>
        </p:nvCxnSpPr>
        <p:spPr>
          <a:xfrm rot="5400000">
            <a:off x="1253457" y="2798936"/>
            <a:ext cx="900112" cy="0"/>
          </a:xfrm>
          <a:prstGeom prst="straightConnector1">
            <a:avLst/>
          </a:prstGeom>
          <a:ln w="15875"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feld 5"/>
          <p:cNvSpPr txBox="1"/>
          <p:nvPr/>
        </p:nvSpPr>
        <p:spPr>
          <a:xfrm>
            <a:off x="3825906" y="3214538"/>
            <a:ext cx="3225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latin typeface="Courier New" pitchFamily="49" charset="0"/>
              </a:rPr>
              <a:t>1</a:t>
            </a:r>
            <a:endParaRPr lang="de-DE" dirty="0"/>
          </a:p>
        </p:txBody>
      </p:sp>
      <p:sp>
        <p:nvSpPr>
          <p:cNvPr id="16" name="Textfeld 15"/>
          <p:cNvSpPr txBox="1"/>
          <p:nvPr/>
        </p:nvSpPr>
        <p:spPr>
          <a:xfrm>
            <a:off x="3672942" y="3212976"/>
            <a:ext cx="3225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latin typeface="Courier New" pitchFamily="49" charset="0"/>
              </a:rPr>
              <a:t>0</a:t>
            </a:r>
            <a:endParaRPr lang="de-DE" dirty="0"/>
          </a:p>
        </p:txBody>
      </p:sp>
      <p:sp>
        <p:nvSpPr>
          <p:cNvPr id="17" name="Textfeld 16"/>
          <p:cNvSpPr txBox="1"/>
          <p:nvPr/>
        </p:nvSpPr>
        <p:spPr>
          <a:xfrm>
            <a:off x="3363890" y="3214194"/>
            <a:ext cx="3225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latin typeface="Courier New" pitchFamily="49" charset="0"/>
              </a:rPr>
              <a:t>0</a:t>
            </a:r>
            <a:endParaRPr lang="de-DE" dirty="0"/>
          </a:p>
        </p:txBody>
      </p:sp>
      <p:sp>
        <p:nvSpPr>
          <p:cNvPr id="18" name="Textfeld 17"/>
          <p:cNvSpPr txBox="1"/>
          <p:nvPr/>
        </p:nvSpPr>
        <p:spPr>
          <a:xfrm>
            <a:off x="3525152" y="3212976"/>
            <a:ext cx="3225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latin typeface="Courier New" pitchFamily="49" charset="0"/>
              </a:rPr>
              <a:t>1</a:t>
            </a:r>
            <a:endParaRPr lang="de-DE" dirty="0"/>
          </a:p>
        </p:txBody>
      </p:sp>
      <p:sp>
        <p:nvSpPr>
          <p:cNvPr id="19" name="Textfeld 18"/>
          <p:cNvSpPr txBox="1"/>
          <p:nvPr/>
        </p:nvSpPr>
        <p:spPr>
          <a:xfrm>
            <a:off x="5934268" y="3214194"/>
            <a:ext cx="3225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latin typeface="Courier New" pitchFamily="49" charset="0"/>
              </a:rPr>
              <a:t>5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696949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6" grpId="0"/>
      <p:bldP spid="16" grpId="0"/>
      <p:bldP spid="17" grpId="0"/>
      <p:bldP spid="18" grpId="0"/>
      <p:bldP spid="19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 err="1"/>
              <a:t>Binäre</a:t>
            </a:r>
            <a:r>
              <a:rPr lang="en-GB" sz="2800" dirty="0"/>
              <a:t> </a:t>
            </a:r>
            <a:r>
              <a:rPr lang="en-GB" sz="2800" dirty="0" err="1"/>
              <a:t>Subtraktion</a:t>
            </a:r>
            <a:endParaRPr lang="de-DE" sz="2800" dirty="0"/>
          </a:p>
        </p:txBody>
      </p:sp>
      <p:sp>
        <p:nvSpPr>
          <p:cNvPr id="28675" name="Rectangle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Aft>
                <a:spcPts val="600"/>
              </a:spcAft>
              <a:defRPr/>
            </a:pPr>
            <a:r>
              <a:rPr lang="en-GB" sz="2200" dirty="0"/>
              <a:t>Beispiele (4-Bit):</a:t>
            </a:r>
          </a:p>
          <a:p>
            <a:pPr marL="0" indent="0">
              <a:spcBef>
                <a:spcPts val="0"/>
              </a:spcBef>
              <a:buNone/>
              <a:defRPr/>
            </a:pPr>
            <a:r>
              <a:rPr lang="en-GB" sz="2000" dirty="0">
                <a:latin typeface="Courier New" pitchFamily="49" charset="0"/>
              </a:rPr>
              <a:t>		  			0110		  6</a:t>
            </a:r>
            <a:br>
              <a:rPr lang="en-GB" sz="2000" dirty="0">
                <a:latin typeface="Courier New" pitchFamily="49" charset="0"/>
              </a:rPr>
            </a:br>
            <a:r>
              <a:rPr lang="en-GB" sz="2000" dirty="0">
                <a:latin typeface="Courier New" pitchFamily="49" charset="0"/>
              </a:rPr>
              <a:t>	    		- 	0001		</a:t>
            </a:r>
            <a:r>
              <a:rPr lang="en-GB" sz="2000" u="sng" dirty="0">
                <a:latin typeface="Courier New" pitchFamily="49" charset="0"/>
              </a:rPr>
              <a:t>- 1</a:t>
            </a:r>
          </a:p>
          <a:p>
            <a:pPr defTabSz="495300">
              <a:buFont typeface="Arial" charset="0"/>
              <a:buNone/>
              <a:defRPr/>
            </a:pPr>
            <a:r>
              <a:rPr lang="en-GB" sz="2000" dirty="0">
                <a:latin typeface="Courier New" pitchFamily="49" charset="0"/>
              </a:rPr>
              <a:t>		    	         1</a:t>
            </a:r>
            <a:r>
              <a:rPr lang="en-GB" sz="2000" u="sng" dirty="0">
                <a:latin typeface="Courier New" pitchFamily="49" charset="0"/>
              </a:rPr>
              <a:t>  </a:t>
            </a:r>
            <a:endParaRPr lang="en-GB" sz="2000" dirty="0">
              <a:latin typeface="Courier New" pitchFamily="49" charset="0"/>
            </a:endParaRPr>
          </a:p>
          <a:p>
            <a:pPr marL="0" indent="0">
              <a:spcAft>
                <a:spcPts val="1800"/>
              </a:spcAft>
              <a:buNone/>
              <a:defRPr/>
            </a:pPr>
            <a:r>
              <a:rPr lang="en-GB" sz="2000" i="1" dirty="0">
                <a:solidFill>
                  <a:schemeClr val="accent1">
                    <a:lumMod val="50000"/>
                  </a:schemeClr>
                </a:solidFill>
              </a:rPr>
              <a:t>	borrows </a:t>
            </a:r>
            <a:r>
              <a:rPr lang="en-GB" sz="2000" i="1" dirty="0">
                <a:latin typeface="Courier New" pitchFamily="49" charset="0"/>
              </a:rPr>
              <a:t>	</a:t>
            </a:r>
            <a:r>
              <a:rPr lang="en-GB" sz="2000" dirty="0">
                <a:latin typeface="Courier New" pitchFamily="49" charset="0"/>
              </a:rPr>
              <a:t>			  </a:t>
            </a:r>
          </a:p>
          <a:p>
            <a:pPr>
              <a:buFont typeface="Arial" charset="0"/>
              <a:buNone/>
              <a:defRPr/>
            </a:pPr>
            <a:r>
              <a:rPr lang="en-GB" sz="2000" dirty="0">
                <a:latin typeface="Courier New" pitchFamily="49" charset="0"/>
              </a:rPr>
              <a:t>	  		</a:t>
            </a:r>
            <a:endParaRPr lang="en-US" sz="220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21</a:t>
            </a:fld>
            <a:endParaRPr lang="de-DE"/>
          </a:p>
        </p:txBody>
      </p:sp>
      <p:sp>
        <p:nvSpPr>
          <p:cNvPr id="7" name="Textfeld 6"/>
          <p:cNvSpPr txBox="1"/>
          <p:nvPr/>
        </p:nvSpPr>
        <p:spPr>
          <a:xfrm>
            <a:off x="7265988" y="1449388"/>
            <a:ext cx="4086596" cy="1938992"/>
          </a:xfrm>
          <a:prstGeom prst="rect">
            <a:avLst/>
          </a:prstGeom>
          <a:solidFill>
            <a:srgbClr val="3399FF">
              <a:alpha val="25000"/>
            </a:srgbClr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l">
              <a:defRPr/>
            </a:pPr>
            <a:r>
              <a:rPr lang="de-DE" sz="2400" dirty="0"/>
              <a:t>Rechenregeln:</a:t>
            </a:r>
          </a:p>
          <a:p>
            <a:pPr algn="l">
              <a:buFont typeface="Arial" pitchFamily="34" charset="0"/>
              <a:buChar char="•"/>
              <a:defRPr/>
            </a:pPr>
            <a:r>
              <a:rPr lang="de-DE" sz="2400" dirty="0"/>
              <a:t>   0 - 0 =   0</a:t>
            </a:r>
          </a:p>
          <a:p>
            <a:pPr algn="l">
              <a:buFont typeface="Arial" pitchFamily="34" charset="0"/>
              <a:buChar char="•"/>
              <a:defRPr/>
            </a:pPr>
            <a:r>
              <a:rPr lang="de-DE" sz="2400" dirty="0"/>
              <a:t>   0 - 1 =   </a:t>
            </a:r>
            <a:r>
              <a:rPr lang="de-DE" sz="2400" baseline="-25000" dirty="0">
                <a:solidFill>
                  <a:schemeClr val="accent1">
                    <a:lumMod val="50000"/>
                  </a:schemeClr>
                </a:solidFill>
              </a:rPr>
              <a:t>1</a:t>
            </a:r>
            <a:r>
              <a:rPr lang="de-DE" sz="2400" dirty="0"/>
              <a:t>1   (</a:t>
            </a:r>
            <a:r>
              <a:rPr lang="de-DE" sz="2400" i="1" dirty="0" err="1">
                <a:solidFill>
                  <a:schemeClr val="accent1">
                    <a:lumMod val="50000"/>
                  </a:schemeClr>
                </a:solidFill>
              </a:rPr>
              <a:t>borrow</a:t>
            </a:r>
            <a:r>
              <a:rPr lang="de-DE" sz="2400" dirty="0"/>
              <a:t>)</a:t>
            </a:r>
          </a:p>
          <a:p>
            <a:pPr algn="l">
              <a:buFont typeface="Arial" pitchFamily="34" charset="0"/>
              <a:buChar char="•"/>
              <a:defRPr/>
            </a:pPr>
            <a:r>
              <a:rPr lang="de-DE" sz="2400" dirty="0"/>
              <a:t>   1 - 0 =   1</a:t>
            </a:r>
          </a:p>
          <a:p>
            <a:pPr algn="l">
              <a:buFont typeface="Arial" pitchFamily="34" charset="0"/>
              <a:buChar char="•"/>
              <a:defRPr/>
            </a:pPr>
            <a:r>
              <a:rPr lang="de-DE" sz="2400" dirty="0"/>
              <a:t>   1 - 1 = </a:t>
            </a:r>
            <a:r>
              <a:rPr lang="de-DE" sz="2400" dirty="0">
                <a:solidFill>
                  <a:schemeClr val="accent1">
                    <a:lumMod val="50000"/>
                  </a:schemeClr>
                </a:solidFill>
              </a:rPr>
              <a:t>  </a:t>
            </a:r>
            <a:r>
              <a:rPr lang="de-DE" sz="2400" dirty="0"/>
              <a:t>0</a:t>
            </a:r>
          </a:p>
        </p:txBody>
      </p:sp>
      <p:cxnSp>
        <p:nvCxnSpPr>
          <p:cNvPr id="8" name="Gerade Verbindung mit Pfeil 7"/>
          <p:cNvCxnSpPr/>
          <p:nvPr/>
        </p:nvCxnSpPr>
        <p:spPr>
          <a:xfrm rot="16200000" flipH="1">
            <a:off x="9380735" y="2618432"/>
            <a:ext cx="90487" cy="90488"/>
          </a:xfrm>
          <a:prstGeom prst="straightConnector1">
            <a:avLst/>
          </a:prstGeom>
          <a:ln w="15875"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/>
          <p:nvPr/>
        </p:nvCxnSpPr>
        <p:spPr>
          <a:xfrm rot="10800000">
            <a:off x="9478325" y="2701074"/>
            <a:ext cx="647700" cy="0"/>
          </a:xfrm>
          <a:prstGeom prst="straightConnector1">
            <a:avLst/>
          </a:prstGeom>
          <a:ln w="15875"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/>
          <p:cNvCxnSpPr/>
          <p:nvPr/>
        </p:nvCxnSpPr>
        <p:spPr>
          <a:xfrm rot="5400000">
            <a:off x="10082410" y="2662882"/>
            <a:ext cx="90487" cy="1588"/>
          </a:xfrm>
          <a:prstGeom prst="straightConnector1">
            <a:avLst/>
          </a:prstGeom>
          <a:ln w="19050"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/>
          <p:cNvCxnSpPr/>
          <p:nvPr/>
        </p:nvCxnSpPr>
        <p:spPr>
          <a:xfrm rot="10800000">
            <a:off x="1506265" y="2601837"/>
            <a:ext cx="1349375" cy="0"/>
          </a:xfrm>
          <a:prstGeom prst="straightConnector1">
            <a:avLst/>
          </a:prstGeom>
          <a:ln w="15875"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/>
          <p:cNvCxnSpPr/>
          <p:nvPr/>
        </p:nvCxnSpPr>
        <p:spPr>
          <a:xfrm flipH="1">
            <a:off x="1506264" y="2601838"/>
            <a:ext cx="1" cy="270519"/>
          </a:xfrm>
          <a:prstGeom prst="straightConnector1">
            <a:avLst/>
          </a:prstGeom>
          <a:ln w="15875"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Box 5"/>
          <p:cNvSpPr txBox="1">
            <a:spLocks noChangeArrowheads="1"/>
          </p:cNvSpPr>
          <p:nvPr/>
        </p:nvSpPr>
        <p:spPr bwMode="auto">
          <a:xfrm>
            <a:off x="3154182" y="4581128"/>
            <a:ext cx="5030050" cy="833178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algn="ctr">
              <a:defRPr/>
            </a:pPr>
            <a:r>
              <a:rPr lang="en-GB" sz="2400" b="1" u="sng" dirty="0" err="1">
                <a:solidFill>
                  <a:srgbClr val="C00000"/>
                </a:solidFill>
                <a:latin typeface="Calibri" pitchFamily="34" charset="0"/>
              </a:rPr>
              <a:t>Berechnen</a:t>
            </a:r>
            <a:r>
              <a:rPr lang="en-GB" sz="2400" b="1" u="sng" dirty="0">
                <a:solidFill>
                  <a:srgbClr val="C00000"/>
                </a:solidFill>
                <a:latin typeface="Calibri" pitchFamily="34" charset="0"/>
              </a:rPr>
              <a:t> </a:t>
            </a:r>
            <a:r>
              <a:rPr lang="en-GB" sz="2400" b="1" u="sng" dirty="0" err="1">
                <a:solidFill>
                  <a:srgbClr val="C00000"/>
                </a:solidFill>
                <a:latin typeface="Calibri" pitchFamily="34" charset="0"/>
              </a:rPr>
              <a:t>Sie</a:t>
            </a:r>
            <a:r>
              <a:rPr lang="en-GB" sz="2400" b="1" u="sng" dirty="0">
                <a:solidFill>
                  <a:srgbClr val="C00000"/>
                </a:solidFill>
                <a:latin typeface="Calibri" pitchFamily="34" charset="0"/>
              </a:rPr>
              <a:t> </a:t>
            </a:r>
            <a:r>
              <a:rPr lang="en-GB" sz="2400" b="1" u="sng" dirty="0" err="1">
                <a:solidFill>
                  <a:srgbClr val="C00000"/>
                </a:solidFill>
                <a:latin typeface="Calibri" pitchFamily="34" charset="0"/>
              </a:rPr>
              <a:t>jeweils</a:t>
            </a:r>
            <a:r>
              <a:rPr lang="en-GB" sz="2400" b="1" u="sng" dirty="0">
                <a:solidFill>
                  <a:srgbClr val="C00000"/>
                </a:solidFill>
                <a:latin typeface="Calibri" pitchFamily="34" charset="0"/>
              </a:rPr>
              <a:t> 5 + 6 und - 3 - 6! Sind die </a:t>
            </a:r>
            <a:r>
              <a:rPr lang="en-GB" sz="2400" b="1" u="sng" dirty="0" err="1">
                <a:solidFill>
                  <a:srgbClr val="C00000"/>
                </a:solidFill>
                <a:latin typeface="Calibri" pitchFamily="34" charset="0"/>
              </a:rPr>
              <a:t>Ergebnisse</a:t>
            </a:r>
            <a:r>
              <a:rPr lang="en-GB" sz="2400" b="1" u="sng" dirty="0">
                <a:solidFill>
                  <a:srgbClr val="C00000"/>
                </a:solidFill>
                <a:latin typeface="Calibri" pitchFamily="34" charset="0"/>
              </a:rPr>
              <a:t> </a:t>
            </a:r>
            <a:r>
              <a:rPr lang="en-GB" sz="2400" b="1" u="sng" dirty="0" err="1">
                <a:solidFill>
                  <a:srgbClr val="C00000"/>
                </a:solidFill>
                <a:latin typeface="Calibri" pitchFamily="34" charset="0"/>
              </a:rPr>
              <a:t>korrekt</a:t>
            </a:r>
            <a:r>
              <a:rPr lang="en-GB" sz="2400" b="1" u="sng" dirty="0">
                <a:solidFill>
                  <a:srgbClr val="C00000"/>
                </a:solidFill>
                <a:latin typeface="Calibri" pitchFamily="34" charset="0"/>
              </a:rPr>
              <a:t>?</a:t>
            </a:r>
            <a:endParaRPr lang="en-US" sz="2800" b="1" u="sng" dirty="0">
              <a:solidFill>
                <a:srgbClr val="C00000"/>
              </a:solidFill>
              <a:latin typeface="Calibri" pitchFamily="34" charset="0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3307146" y="2803510"/>
            <a:ext cx="3225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latin typeface="Courier New" pitchFamily="49" charset="0"/>
              </a:rPr>
              <a:t>1</a:t>
            </a:r>
            <a:endParaRPr lang="de-DE" dirty="0"/>
          </a:p>
        </p:txBody>
      </p:sp>
      <p:sp>
        <p:nvSpPr>
          <p:cNvPr id="19" name="Textfeld 18"/>
          <p:cNvSpPr txBox="1"/>
          <p:nvPr/>
        </p:nvSpPr>
        <p:spPr>
          <a:xfrm>
            <a:off x="3154182" y="2801948"/>
            <a:ext cx="3225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latin typeface="Courier New" pitchFamily="49" charset="0"/>
              </a:rPr>
              <a:t>0</a:t>
            </a:r>
            <a:endParaRPr lang="de-DE" dirty="0"/>
          </a:p>
        </p:txBody>
      </p:sp>
      <p:sp>
        <p:nvSpPr>
          <p:cNvPr id="20" name="Textfeld 19"/>
          <p:cNvSpPr txBox="1"/>
          <p:nvPr/>
        </p:nvSpPr>
        <p:spPr>
          <a:xfrm>
            <a:off x="2845130" y="2803166"/>
            <a:ext cx="3225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latin typeface="Courier New" pitchFamily="49" charset="0"/>
              </a:rPr>
              <a:t>0</a:t>
            </a:r>
            <a:endParaRPr lang="de-DE" dirty="0"/>
          </a:p>
        </p:txBody>
      </p:sp>
      <p:sp>
        <p:nvSpPr>
          <p:cNvPr id="21" name="Textfeld 20"/>
          <p:cNvSpPr txBox="1"/>
          <p:nvPr/>
        </p:nvSpPr>
        <p:spPr>
          <a:xfrm>
            <a:off x="2998094" y="2801948"/>
            <a:ext cx="3225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latin typeface="Courier New" pitchFamily="49" charset="0"/>
              </a:rPr>
              <a:t>1</a:t>
            </a:r>
            <a:endParaRPr lang="de-DE" dirty="0"/>
          </a:p>
        </p:txBody>
      </p:sp>
      <p:sp>
        <p:nvSpPr>
          <p:cNvPr id="22" name="Textfeld 21"/>
          <p:cNvSpPr txBox="1"/>
          <p:nvPr/>
        </p:nvSpPr>
        <p:spPr>
          <a:xfrm>
            <a:off x="4693356" y="2822968"/>
            <a:ext cx="3225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latin typeface="Courier New" pitchFamily="49" charset="0"/>
              </a:rPr>
              <a:t>5</a:t>
            </a:r>
            <a:endParaRPr lang="de-DE" dirty="0"/>
          </a:p>
        </p:txBody>
      </p:sp>
      <p:cxnSp>
        <p:nvCxnSpPr>
          <p:cNvPr id="5" name="Gerader Verbinder 4"/>
          <p:cNvCxnSpPr/>
          <p:nvPr/>
        </p:nvCxnSpPr>
        <p:spPr>
          <a:xfrm flipH="1">
            <a:off x="2423592" y="2801948"/>
            <a:ext cx="12060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636873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6" grpId="0"/>
      <p:bldP spid="19" grpId="0"/>
      <p:bldP spid="20" grpId="0"/>
      <p:bldP spid="21" grpId="0"/>
      <p:bldP spid="22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 err="1"/>
              <a:t>Binäre</a:t>
            </a:r>
            <a:r>
              <a:rPr lang="en-GB" sz="2800" dirty="0"/>
              <a:t> Addition</a:t>
            </a:r>
            <a:endParaRPr lang="de-DE" sz="2800" dirty="0"/>
          </a:p>
        </p:txBody>
      </p:sp>
      <p:sp>
        <p:nvSpPr>
          <p:cNvPr id="27651" name="Rectangle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defRPr/>
            </a:pPr>
            <a:r>
              <a:rPr lang="en-GB" sz="2400" dirty="0"/>
              <a:t>Addition von rechts nach links mit Übertrag (</a:t>
            </a:r>
            <a:r>
              <a:rPr lang="en-GB" sz="2400" i="1" dirty="0"/>
              <a:t>carry</a:t>
            </a:r>
            <a:r>
              <a:rPr lang="en-GB" sz="2400" dirty="0"/>
              <a:t>) wie in der Grundschule</a:t>
            </a:r>
          </a:p>
          <a:p>
            <a:pPr>
              <a:defRPr/>
            </a:pPr>
            <a:r>
              <a:rPr lang="en-GB" sz="2400" dirty="0"/>
              <a:t>Beispiele (4-Bit):</a:t>
            </a:r>
            <a:endParaRPr lang="en-GB" sz="2000" dirty="0"/>
          </a:p>
          <a:p>
            <a:pPr>
              <a:buFont typeface="Arial" charset="0"/>
              <a:buNone/>
              <a:defRPr/>
            </a:pPr>
            <a:r>
              <a:rPr lang="en-GB" sz="2000" dirty="0">
                <a:latin typeface="Courier New" pitchFamily="49" charset="0"/>
              </a:rPr>
              <a:t>			   	   			 1</a:t>
            </a:r>
            <a:endParaRPr lang="en-GB" sz="2000" dirty="0"/>
          </a:p>
          <a:p>
            <a:pPr>
              <a:buFont typeface="Arial" charset="0"/>
              <a:buNone/>
              <a:defRPr/>
            </a:pPr>
            <a:r>
              <a:rPr lang="en-GB" sz="2000" dirty="0">
                <a:latin typeface="Courier New" pitchFamily="49" charset="0"/>
              </a:rPr>
              <a:t>		  	  				0010		  		2</a:t>
            </a:r>
          </a:p>
          <a:p>
            <a:pPr marL="0" indent="0">
              <a:spcBef>
                <a:spcPts val="0"/>
              </a:spcBef>
              <a:buNone/>
              <a:defRPr/>
            </a:pPr>
            <a:r>
              <a:rPr lang="en-GB" sz="2000" dirty="0">
                <a:latin typeface="Courier New" pitchFamily="49" charset="0"/>
              </a:rPr>
              <a:t>	  			  	</a:t>
            </a:r>
            <a:r>
              <a:rPr lang="en-GB" sz="2000" u="sng" dirty="0">
                <a:latin typeface="Courier New" pitchFamily="49" charset="0"/>
              </a:rPr>
              <a:t>+	0011</a:t>
            </a:r>
            <a:r>
              <a:rPr lang="en-GB" sz="2000" dirty="0">
                <a:latin typeface="Courier New" pitchFamily="49" charset="0"/>
              </a:rPr>
              <a:t>			</a:t>
            </a:r>
            <a:r>
              <a:rPr lang="en-GB" sz="2000" u="sng" dirty="0">
                <a:latin typeface="Courier New" pitchFamily="49" charset="0"/>
              </a:rPr>
              <a:t>+	3</a:t>
            </a:r>
          </a:p>
          <a:p>
            <a:pPr>
              <a:buFont typeface="Arial" charset="0"/>
              <a:buNone/>
              <a:defRPr/>
            </a:pPr>
            <a:r>
              <a:rPr lang="en-GB" sz="2000" i="1" dirty="0">
                <a:solidFill>
                  <a:schemeClr val="accent1">
                    <a:lumMod val="50000"/>
                  </a:schemeClr>
                </a:solidFill>
              </a:rPr>
              <a:t>			carry</a:t>
            </a:r>
            <a:r>
              <a:rPr lang="en-GB" sz="2000" dirty="0">
                <a:latin typeface="Courier New" pitchFamily="49" charset="0"/>
              </a:rPr>
              <a:t> 			0101		  		5</a:t>
            </a:r>
            <a:endParaRPr lang="en-GB" sz="2000" dirty="0">
              <a:solidFill>
                <a:schemeClr val="accent1">
                  <a:lumMod val="50000"/>
                </a:schemeClr>
              </a:solidFill>
            </a:endParaRPr>
          </a:p>
          <a:p>
            <a:pPr>
              <a:buFont typeface="Arial" charset="0"/>
              <a:buNone/>
              <a:defRPr/>
            </a:pPr>
            <a:r>
              <a:rPr lang="en-GB" sz="2000" dirty="0">
                <a:latin typeface="Courier New" pitchFamily="49" charset="0"/>
              </a:rPr>
              <a:t>		  	</a:t>
            </a:r>
          </a:p>
          <a:p>
            <a:pPr>
              <a:buFont typeface="Arial" charset="0"/>
              <a:buNone/>
              <a:defRPr/>
            </a:pPr>
            <a:r>
              <a:rPr lang="en-GB" sz="2000" dirty="0">
                <a:latin typeface="Courier New" pitchFamily="49" charset="0"/>
              </a:rPr>
              <a:t>		   	     			1</a:t>
            </a:r>
          </a:p>
          <a:p>
            <a:pPr>
              <a:buFont typeface="Arial" charset="0"/>
              <a:buNone/>
              <a:defRPr/>
            </a:pPr>
            <a:r>
              <a:rPr lang="en-GB" sz="2000" dirty="0">
                <a:latin typeface="Courier New" pitchFamily="49" charset="0"/>
              </a:rPr>
              <a:t>					  	  	0101		  		5</a:t>
            </a:r>
          </a:p>
          <a:p>
            <a:pPr marL="0" indent="0">
              <a:spcBef>
                <a:spcPts val="0"/>
              </a:spcBef>
              <a:buNone/>
              <a:defRPr/>
            </a:pPr>
            <a:r>
              <a:rPr lang="en-GB" sz="2000" dirty="0">
                <a:latin typeface="Courier New" pitchFamily="49" charset="0"/>
              </a:rPr>
              <a:t>					</a:t>
            </a:r>
            <a:r>
              <a:rPr lang="en-GB" sz="2000" u="sng" dirty="0">
                <a:latin typeface="Courier New" pitchFamily="49" charset="0"/>
              </a:rPr>
              <a:t>+ 	0110</a:t>
            </a:r>
            <a:r>
              <a:rPr lang="en-GB" sz="2000" dirty="0">
                <a:latin typeface="Courier New" pitchFamily="49" charset="0"/>
              </a:rPr>
              <a:t>			</a:t>
            </a:r>
            <a:r>
              <a:rPr lang="en-GB" sz="2000" u="sng" dirty="0">
                <a:latin typeface="Courier New" pitchFamily="49" charset="0"/>
              </a:rPr>
              <a:t>+ 	6</a:t>
            </a:r>
          </a:p>
          <a:p>
            <a:pPr>
              <a:buFont typeface="Arial" charset="0"/>
              <a:buNone/>
              <a:defRPr/>
            </a:pPr>
            <a:r>
              <a:rPr lang="en-GB" sz="2000" dirty="0">
                <a:latin typeface="Courier New" pitchFamily="49" charset="0"/>
              </a:rPr>
              <a:t>		  	  				1011		 	  -	5	</a:t>
            </a:r>
            <a:endParaRPr lang="en-US" sz="2400" b="1" dirty="0">
              <a:solidFill>
                <a:srgbClr val="CC0000"/>
              </a:solidFill>
              <a:latin typeface="Courier New" pitchFamily="49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22</a:t>
            </a:fld>
            <a:endParaRPr lang="de-DE"/>
          </a:p>
        </p:txBody>
      </p:sp>
      <p:sp>
        <p:nvSpPr>
          <p:cNvPr id="121861" name="Text Box 5"/>
          <p:cNvSpPr txBox="1">
            <a:spLocks noChangeArrowheads="1"/>
          </p:cNvSpPr>
          <p:nvPr/>
        </p:nvSpPr>
        <p:spPr bwMode="auto">
          <a:xfrm>
            <a:off x="6498867" y="5053386"/>
            <a:ext cx="3557573" cy="463846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algn="l">
              <a:defRPr/>
            </a:pPr>
            <a:r>
              <a:rPr lang="en-GB" sz="2400" b="1" dirty="0">
                <a:solidFill>
                  <a:srgbClr val="FF0000"/>
                </a:solidFill>
                <a:latin typeface="Calibri" pitchFamily="34" charset="0"/>
                <a:sym typeface="Wingdings" panose="05000000000000000000" pitchFamily="2" charset="2"/>
              </a:rPr>
              <a:t></a:t>
            </a:r>
            <a:r>
              <a:rPr lang="en-GB" sz="2400" b="1" dirty="0">
                <a:solidFill>
                  <a:srgbClr val="FF0000"/>
                </a:solidFill>
                <a:latin typeface="Calibri" pitchFamily="34" charset="0"/>
              </a:rPr>
              <a:t> Überlauf (</a:t>
            </a:r>
            <a:r>
              <a:rPr lang="en-GB" sz="2400" b="1" i="1" dirty="0">
                <a:solidFill>
                  <a:srgbClr val="FF0000"/>
                </a:solidFill>
                <a:latin typeface="Calibri" pitchFamily="34" charset="0"/>
              </a:rPr>
              <a:t>overflow</a:t>
            </a:r>
            <a:r>
              <a:rPr lang="en-GB" sz="2400" b="1" dirty="0">
                <a:solidFill>
                  <a:srgbClr val="FF0000"/>
                </a:solidFill>
                <a:latin typeface="Calibri" pitchFamily="34" charset="0"/>
              </a:rPr>
              <a:t>)</a:t>
            </a:r>
            <a:endParaRPr lang="en-US" sz="2400" b="1" dirty="0">
              <a:solidFill>
                <a:srgbClr val="FF0000"/>
              </a:solidFill>
              <a:latin typeface="Calibri" pitchFamily="34" charset="0"/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7915274" y="2020888"/>
            <a:ext cx="2789237" cy="2308324"/>
          </a:xfrm>
          <a:prstGeom prst="rect">
            <a:avLst/>
          </a:prstGeom>
          <a:solidFill>
            <a:srgbClr val="3399FF">
              <a:alpha val="25000"/>
            </a:srgbClr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l">
              <a:defRPr/>
            </a:pPr>
            <a:r>
              <a:rPr lang="de-DE" sz="2400" dirty="0"/>
              <a:t>Rechenregeln:</a:t>
            </a:r>
          </a:p>
          <a:p>
            <a:pPr algn="l">
              <a:buFont typeface="Arial" pitchFamily="34" charset="0"/>
              <a:buChar char="•"/>
              <a:defRPr/>
            </a:pPr>
            <a:r>
              <a:rPr lang="de-DE" sz="2400" dirty="0"/>
              <a:t>   0 + 0 =   0</a:t>
            </a:r>
          </a:p>
          <a:p>
            <a:pPr algn="l">
              <a:buFont typeface="Arial" pitchFamily="34" charset="0"/>
              <a:buChar char="•"/>
              <a:defRPr/>
            </a:pPr>
            <a:r>
              <a:rPr lang="de-DE" sz="2400" dirty="0"/>
              <a:t>   0 + 1 =   1</a:t>
            </a:r>
          </a:p>
          <a:p>
            <a:pPr algn="l">
              <a:buFont typeface="Arial" pitchFamily="34" charset="0"/>
              <a:buChar char="•"/>
              <a:defRPr/>
            </a:pPr>
            <a:r>
              <a:rPr lang="de-DE" sz="2400" dirty="0"/>
              <a:t>   1 + 0 =   1</a:t>
            </a:r>
          </a:p>
          <a:p>
            <a:pPr algn="l">
              <a:buFont typeface="Arial" pitchFamily="34" charset="0"/>
              <a:buChar char="•"/>
              <a:defRPr/>
            </a:pPr>
            <a:r>
              <a:rPr lang="de-DE" sz="2400" dirty="0"/>
              <a:t>   1 + 1 = </a:t>
            </a:r>
            <a:r>
              <a:rPr lang="de-DE" sz="2400" baseline="30000" dirty="0">
                <a:solidFill>
                  <a:schemeClr val="accent1">
                    <a:lumMod val="50000"/>
                  </a:schemeClr>
                </a:solidFill>
              </a:rPr>
              <a:t>1</a:t>
            </a:r>
            <a:r>
              <a:rPr lang="de-DE" sz="2400" dirty="0"/>
              <a:t>0</a:t>
            </a:r>
          </a:p>
          <a:p>
            <a:pPr algn="l">
              <a:defRPr/>
            </a:pPr>
            <a:r>
              <a:rPr lang="de-DE" sz="2400" dirty="0">
                <a:solidFill>
                  <a:schemeClr val="accent1">
                    <a:lumMod val="50000"/>
                  </a:schemeClr>
                </a:solidFill>
              </a:rPr>
              <a:t>       </a:t>
            </a:r>
            <a:r>
              <a:rPr lang="de-DE" sz="2400" i="1" dirty="0">
                <a:solidFill>
                  <a:schemeClr val="accent1">
                    <a:lumMod val="50000"/>
                  </a:schemeClr>
                </a:solidFill>
              </a:rPr>
              <a:t>carry</a:t>
            </a:r>
          </a:p>
        </p:txBody>
      </p:sp>
      <p:cxnSp>
        <p:nvCxnSpPr>
          <p:cNvPr id="9" name="Gerade Verbindung mit Pfeil 8"/>
          <p:cNvCxnSpPr/>
          <p:nvPr/>
        </p:nvCxnSpPr>
        <p:spPr>
          <a:xfrm rot="5400000">
            <a:off x="9620712" y="3950642"/>
            <a:ext cx="396875" cy="0"/>
          </a:xfrm>
          <a:prstGeom prst="straightConnector1">
            <a:avLst/>
          </a:prstGeom>
          <a:ln w="15875"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mit Pfeil 9"/>
          <p:cNvCxnSpPr/>
          <p:nvPr/>
        </p:nvCxnSpPr>
        <p:spPr>
          <a:xfrm>
            <a:off x="9638175" y="4144004"/>
            <a:ext cx="180975" cy="0"/>
          </a:xfrm>
          <a:prstGeom prst="straightConnector1">
            <a:avLst/>
          </a:prstGeom>
          <a:ln w="15875"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/>
          <p:cNvCxnSpPr/>
          <p:nvPr/>
        </p:nvCxnSpPr>
        <p:spPr>
          <a:xfrm rot="10800000">
            <a:off x="1703514" y="2349161"/>
            <a:ext cx="1800225" cy="0"/>
          </a:xfrm>
          <a:prstGeom prst="straightConnector1">
            <a:avLst/>
          </a:prstGeom>
          <a:ln w="15875"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mit Pfeil 11"/>
          <p:cNvCxnSpPr/>
          <p:nvPr/>
        </p:nvCxnSpPr>
        <p:spPr>
          <a:xfrm rot="10800000">
            <a:off x="1703513" y="4149079"/>
            <a:ext cx="1620838" cy="0"/>
          </a:xfrm>
          <a:prstGeom prst="straightConnector1">
            <a:avLst/>
          </a:prstGeom>
          <a:ln w="15875"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/>
          <p:nvPr/>
        </p:nvCxnSpPr>
        <p:spPr>
          <a:xfrm rot="5400000">
            <a:off x="1433638" y="3879204"/>
            <a:ext cx="539750" cy="0"/>
          </a:xfrm>
          <a:prstGeom prst="straightConnector1">
            <a:avLst/>
          </a:prstGeom>
          <a:ln w="15875"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/>
          <p:cNvCxnSpPr/>
          <p:nvPr/>
        </p:nvCxnSpPr>
        <p:spPr>
          <a:xfrm rot="5400000">
            <a:off x="1253457" y="2799217"/>
            <a:ext cx="900112" cy="0"/>
          </a:xfrm>
          <a:prstGeom prst="straightConnector1">
            <a:avLst/>
          </a:prstGeom>
          <a:ln w="15875"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77939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1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8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1861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 err="1"/>
              <a:t>Binäre</a:t>
            </a:r>
            <a:r>
              <a:rPr lang="en-GB" sz="2800" dirty="0"/>
              <a:t> </a:t>
            </a:r>
            <a:r>
              <a:rPr lang="en-GB" sz="2800" dirty="0" err="1"/>
              <a:t>Subtraktion</a:t>
            </a:r>
            <a:endParaRPr lang="de-DE" sz="2800" dirty="0"/>
          </a:p>
        </p:txBody>
      </p:sp>
      <p:sp>
        <p:nvSpPr>
          <p:cNvPr id="28675" name="Rectangle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Aft>
                <a:spcPts val="600"/>
              </a:spcAft>
              <a:defRPr/>
            </a:pPr>
            <a:r>
              <a:rPr lang="en-GB" sz="2200" dirty="0"/>
              <a:t>Beispiele (4-Bit):</a:t>
            </a:r>
          </a:p>
          <a:p>
            <a:pPr marL="0" indent="0">
              <a:spcBef>
                <a:spcPts val="0"/>
              </a:spcBef>
              <a:buNone/>
              <a:defRPr/>
            </a:pPr>
            <a:r>
              <a:rPr lang="en-GB" sz="2000" dirty="0">
                <a:latin typeface="Courier New" pitchFamily="49" charset="0"/>
              </a:rPr>
              <a:t>		  			0110		  6</a:t>
            </a:r>
            <a:br>
              <a:rPr lang="en-GB" sz="2000" dirty="0">
                <a:latin typeface="Courier New" pitchFamily="49" charset="0"/>
              </a:rPr>
            </a:br>
            <a:r>
              <a:rPr lang="en-GB" sz="2000" dirty="0">
                <a:latin typeface="Courier New" pitchFamily="49" charset="0"/>
              </a:rPr>
              <a:t>	    		- 	0001		</a:t>
            </a:r>
            <a:r>
              <a:rPr lang="en-GB" sz="2000" u="sng" dirty="0">
                <a:latin typeface="Courier New" pitchFamily="49" charset="0"/>
              </a:rPr>
              <a:t>- 1</a:t>
            </a:r>
          </a:p>
          <a:p>
            <a:pPr defTabSz="495300">
              <a:buFont typeface="Arial" charset="0"/>
              <a:buNone/>
              <a:defRPr/>
            </a:pPr>
            <a:r>
              <a:rPr lang="en-GB" sz="2000" dirty="0">
                <a:latin typeface="Courier New" pitchFamily="49" charset="0"/>
              </a:rPr>
              <a:t>		    	    </a:t>
            </a:r>
            <a:r>
              <a:rPr lang="en-GB" sz="2000" u="sng" dirty="0">
                <a:latin typeface="Courier New" pitchFamily="49" charset="0"/>
              </a:rPr>
              <a:t>     1 _</a:t>
            </a:r>
            <a:r>
              <a:rPr lang="en-GB" sz="2000" dirty="0">
                <a:latin typeface="Courier New" pitchFamily="49" charset="0"/>
              </a:rPr>
              <a:t> </a:t>
            </a:r>
            <a:r>
              <a:rPr lang="en-GB" sz="2000" u="sng" dirty="0">
                <a:latin typeface="Courier New" pitchFamily="49" charset="0"/>
              </a:rPr>
              <a:t> </a:t>
            </a:r>
            <a:r>
              <a:rPr lang="en-GB" sz="2000" dirty="0">
                <a:latin typeface="Courier New" pitchFamily="49" charset="0"/>
              </a:rPr>
              <a:t> </a:t>
            </a:r>
            <a:r>
              <a:rPr lang="en-GB" sz="2000" u="sng" dirty="0">
                <a:latin typeface="Courier New" pitchFamily="49" charset="0"/>
              </a:rPr>
              <a:t>  </a:t>
            </a:r>
            <a:endParaRPr lang="en-GB" sz="2000" dirty="0">
              <a:latin typeface="Courier New" pitchFamily="49" charset="0"/>
            </a:endParaRPr>
          </a:p>
          <a:p>
            <a:pPr marL="0" indent="0">
              <a:spcAft>
                <a:spcPts val="1800"/>
              </a:spcAft>
              <a:buNone/>
              <a:defRPr/>
            </a:pPr>
            <a:r>
              <a:rPr lang="en-GB" sz="2000" i="1" dirty="0">
                <a:solidFill>
                  <a:schemeClr val="accent1">
                    <a:lumMod val="50000"/>
                  </a:schemeClr>
                </a:solidFill>
              </a:rPr>
              <a:t>	borrows </a:t>
            </a:r>
            <a:r>
              <a:rPr lang="en-GB" sz="2000" i="1" dirty="0">
                <a:latin typeface="Courier New" pitchFamily="49" charset="0"/>
              </a:rPr>
              <a:t>	</a:t>
            </a:r>
            <a:r>
              <a:rPr lang="en-GB" sz="2000" dirty="0">
                <a:latin typeface="Courier New" pitchFamily="49" charset="0"/>
              </a:rPr>
              <a:t>		0101		  5</a:t>
            </a:r>
          </a:p>
          <a:p>
            <a:pPr>
              <a:buFont typeface="Arial" charset="0"/>
              <a:buNone/>
              <a:defRPr/>
            </a:pPr>
            <a:r>
              <a:rPr lang="en-GB" sz="2000" dirty="0">
                <a:latin typeface="Courier New" pitchFamily="49" charset="0"/>
              </a:rPr>
              <a:t>	  				1101		- 3</a:t>
            </a:r>
          </a:p>
          <a:p>
            <a:pPr marL="0" indent="0">
              <a:spcBef>
                <a:spcPts val="0"/>
              </a:spcBef>
              <a:buNone/>
              <a:defRPr/>
            </a:pPr>
            <a:r>
              <a:rPr lang="en-GB" sz="2000" dirty="0">
                <a:latin typeface="Courier New" pitchFamily="49" charset="0"/>
              </a:rPr>
              <a:t>			    - 	0110		</a:t>
            </a:r>
            <a:r>
              <a:rPr lang="en-GB" sz="2000" u="sng" dirty="0">
                <a:latin typeface="Courier New" pitchFamily="49" charset="0"/>
              </a:rPr>
              <a:t>- 6</a:t>
            </a:r>
          </a:p>
          <a:p>
            <a:pPr>
              <a:buFont typeface="Arial" charset="0"/>
              <a:buNone/>
              <a:defRPr/>
            </a:pPr>
            <a:r>
              <a:rPr lang="en-GB" sz="2000" dirty="0">
                <a:latin typeface="Courier New" pitchFamily="49" charset="0"/>
              </a:rPr>
              <a:t>		    		 </a:t>
            </a:r>
            <a:r>
              <a:rPr lang="en-GB" sz="2000" u="sng" dirty="0">
                <a:latin typeface="Courier New" pitchFamily="49" charset="0"/>
              </a:rPr>
              <a:t>  	11 _</a:t>
            </a:r>
            <a:r>
              <a:rPr lang="en-GB" sz="2000" dirty="0">
                <a:latin typeface="Courier New" pitchFamily="49" charset="0"/>
              </a:rPr>
              <a:t>       </a:t>
            </a:r>
          </a:p>
          <a:p>
            <a:pPr>
              <a:buFont typeface="Arial" charset="0"/>
              <a:buNone/>
              <a:defRPr/>
            </a:pPr>
            <a:r>
              <a:rPr lang="en-GB" sz="2000" dirty="0">
                <a:latin typeface="Courier New" pitchFamily="49" charset="0"/>
              </a:rPr>
              <a:t>		      			0111		  7		</a:t>
            </a:r>
            <a:endParaRPr lang="en-GB" sz="2000" b="1" dirty="0">
              <a:solidFill>
                <a:srgbClr val="C0504D"/>
              </a:solidFill>
            </a:endParaRPr>
          </a:p>
          <a:p>
            <a:pPr>
              <a:defRPr/>
            </a:pPr>
            <a:endParaRPr lang="en-GB" sz="2200" u="sng" dirty="0"/>
          </a:p>
          <a:p>
            <a:pPr>
              <a:defRPr/>
            </a:pPr>
            <a:r>
              <a:rPr lang="en-GB" sz="2200" dirty="0" err="1"/>
              <a:t>Überläufe</a:t>
            </a:r>
            <a:r>
              <a:rPr lang="en-GB" sz="2200" dirty="0"/>
              <a:t> </a:t>
            </a:r>
            <a:r>
              <a:rPr lang="en-GB" sz="2200" dirty="0" err="1"/>
              <a:t>müssen</a:t>
            </a:r>
            <a:r>
              <a:rPr lang="en-GB" sz="2200" dirty="0"/>
              <a:t> </a:t>
            </a:r>
            <a:r>
              <a:rPr lang="en-GB" sz="2200" dirty="0" err="1"/>
              <a:t>erkannt</a:t>
            </a:r>
            <a:r>
              <a:rPr lang="en-GB" sz="2200" dirty="0"/>
              <a:t> und </a:t>
            </a:r>
            <a:r>
              <a:rPr lang="en-GB" sz="2200" dirty="0" err="1"/>
              <a:t>angezeigt</a:t>
            </a:r>
            <a:r>
              <a:rPr lang="en-GB" sz="2200" dirty="0"/>
              <a:t> </a:t>
            </a:r>
            <a:r>
              <a:rPr lang="en-GB" sz="2200" dirty="0" err="1"/>
              <a:t>werden</a:t>
            </a:r>
            <a:r>
              <a:rPr lang="en-GB" sz="2200" dirty="0"/>
              <a:t>!</a:t>
            </a:r>
            <a:endParaRPr lang="en-US" sz="220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23</a:t>
            </a:fld>
            <a:endParaRPr lang="de-DE"/>
          </a:p>
        </p:txBody>
      </p:sp>
      <p:sp>
        <p:nvSpPr>
          <p:cNvPr id="7" name="Textfeld 6"/>
          <p:cNvSpPr txBox="1"/>
          <p:nvPr/>
        </p:nvSpPr>
        <p:spPr>
          <a:xfrm>
            <a:off x="7265988" y="1449388"/>
            <a:ext cx="4086596" cy="1938992"/>
          </a:xfrm>
          <a:prstGeom prst="rect">
            <a:avLst/>
          </a:prstGeom>
          <a:solidFill>
            <a:srgbClr val="3399FF">
              <a:alpha val="25000"/>
            </a:srgbClr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l">
              <a:defRPr/>
            </a:pPr>
            <a:r>
              <a:rPr lang="de-DE" sz="2400" dirty="0"/>
              <a:t>Rechenregeln:</a:t>
            </a:r>
          </a:p>
          <a:p>
            <a:pPr algn="l">
              <a:buFont typeface="Arial" pitchFamily="34" charset="0"/>
              <a:buChar char="•"/>
              <a:defRPr/>
            </a:pPr>
            <a:r>
              <a:rPr lang="de-DE" sz="2400" dirty="0"/>
              <a:t>   0 - 0 =   0</a:t>
            </a:r>
          </a:p>
          <a:p>
            <a:pPr algn="l">
              <a:buFont typeface="Arial" pitchFamily="34" charset="0"/>
              <a:buChar char="•"/>
              <a:defRPr/>
            </a:pPr>
            <a:r>
              <a:rPr lang="de-DE" sz="2400" dirty="0"/>
              <a:t>   0 - 1 =   </a:t>
            </a:r>
            <a:r>
              <a:rPr lang="de-DE" sz="2400" baseline="-25000" dirty="0">
                <a:solidFill>
                  <a:schemeClr val="accent1">
                    <a:lumMod val="50000"/>
                  </a:schemeClr>
                </a:solidFill>
              </a:rPr>
              <a:t>1</a:t>
            </a:r>
            <a:r>
              <a:rPr lang="de-DE" sz="2400" dirty="0"/>
              <a:t>1   (</a:t>
            </a:r>
            <a:r>
              <a:rPr lang="de-DE" sz="2400" i="1" dirty="0" err="1">
                <a:solidFill>
                  <a:schemeClr val="accent1">
                    <a:lumMod val="50000"/>
                  </a:schemeClr>
                </a:solidFill>
              </a:rPr>
              <a:t>borrow</a:t>
            </a:r>
            <a:r>
              <a:rPr lang="de-DE" sz="2400" dirty="0"/>
              <a:t>)</a:t>
            </a:r>
          </a:p>
          <a:p>
            <a:pPr algn="l">
              <a:buFont typeface="Arial" pitchFamily="34" charset="0"/>
              <a:buChar char="•"/>
              <a:defRPr/>
            </a:pPr>
            <a:r>
              <a:rPr lang="de-DE" sz="2400" dirty="0"/>
              <a:t>   1 - 0 =   1</a:t>
            </a:r>
          </a:p>
          <a:p>
            <a:pPr algn="l">
              <a:buFont typeface="Arial" pitchFamily="34" charset="0"/>
              <a:buChar char="•"/>
              <a:defRPr/>
            </a:pPr>
            <a:r>
              <a:rPr lang="de-DE" sz="2400" dirty="0"/>
              <a:t>   1 - 1 = </a:t>
            </a:r>
            <a:r>
              <a:rPr lang="de-DE" sz="2400" dirty="0">
                <a:solidFill>
                  <a:schemeClr val="accent1">
                    <a:lumMod val="50000"/>
                  </a:schemeClr>
                </a:solidFill>
              </a:rPr>
              <a:t>  </a:t>
            </a:r>
            <a:r>
              <a:rPr lang="de-DE" sz="2400" dirty="0"/>
              <a:t>0</a:t>
            </a:r>
          </a:p>
        </p:txBody>
      </p:sp>
      <p:cxnSp>
        <p:nvCxnSpPr>
          <p:cNvPr id="8" name="Gerade Verbindung mit Pfeil 7"/>
          <p:cNvCxnSpPr/>
          <p:nvPr/>
        </p:nvCxnSpPr>
        <p:spPr>
          <a:xfrm rot="16200000" flipH="1">
            <a:off x="9380735" y="2618432"/>
            <a:ext cx="90487" cy="90488"/>
          </a:xfrm>
          <a:prstGeom prst="straightConnector1">
            <a:avLst/>
          </a:prstGeom>
          <a:ln w="15875"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/>
          <p:nvPr/>
        </p:nvCxnSpPr>
        <p:spPr>
          <a:xfrm rot="10800000">
            <a:off x="9478325" y="2701074"/>
            <a:ext cx="647700" cy="0"/>
          </a:xfrm>
          <a:prstGeom prst="straightConnector1">
            <a:avLst/>
          </a:prstGeom>
          <a:ln w="15875"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/>
          <p:cNvCxnSpPr/>
          <p:nvPr/>
        </p:nvCxnSpPr>
        <p:spPr>
          <a:xfrm rot="5400000">
            <a:off x="10082410" y="2662882"/>
            <a:ext cx="90487" cy="1588"/>
          </a:xfrm>
          <a:prstGeom prst="straightConnector1">
            <a:avLst/>
          </a:prstGeom>
          <a:ln w="19050"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/>
          <p:cNvCxnSpPr/>
          <p:nvPr/>
        </p:nvCxnSpPr>
        <p:spPr>
          <a:xfrm rot="10800000">
            <a:off x="1506265" y="2601837"/>
            <a:ext cx="1349375" cy="0"/>
          </a:xfrm>
          <a:prstGeom prst="straightConnector1">
            <a:avLst/>
          </a:prstGeom>
          <a:ln w="15875"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/>
          <p:cNvCxnSpPr/>
          <p:nvPr/>
        </p:nvCxnSpPr>
        <p:spPr>
          <a:xfrm flipH="1">
            <a:off x="1506264" y="2601838"/>
            <a:ext cx="1" cy="270519"/>
          </a:xfrm>
          <a:prstGeom prst="straightConnector1">
            <a:avLst/>
          </a:prstGeom>
          <a:ln w="15875"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/>
          <p:nvPr/>
        </p:nvCxnSpPr>
        <p:spPr>
          <a:xfrm rot="10800000">
            <a:off x="1506265" y="4221087"/>
            <a:ext cx="1349375" cy="0"/>
          </a:xfrm>
          <a:prstGeom prst="straightConnector1">
            <a:avLst/>
          </a:prstGeom>
          <a:ln w="15875"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/>
          <p:cNvCxnSpPr/>
          <p:nvPr/>
        </p:nvCxnSpPr>
        <p:spPr>
          <a:xfrm>
            <a:off x="1506264" y="3141909"/>
            <a:ext cx="1" cy="1079178"/>
          </a:xfrm>
          <a:prstGeom prst="straightConnector1">
            <a:avLst/>
          </a:prstGeom>
          <a:ln w="15875"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Box 5"/>
          <p:cNvSpPr txBox="1">
            <a:spLocks noChangeArrowheads="1"/>
          </p:cNvSpPr>
          <p:nvPr/>
        </p:nvSpPr>
        <p:spPr bwMode="auto">
          <a:xfrm>
            <a:off x="5303912" y="4437112"/>
            <a:ext cx="3557573" cy="463846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algn="l">
              <a:defRPr/>
            </a:pPr>
            <a:r>
              <a:rPr lang="en-GB" sz="2000" b="1" dirty="0">
                <a:solidFill>
                  <a:srgbClr val="FF0000"/>
                </a:solidFill>
                <a:latin typeface="Calibri" pitchFamily="34" charset="0"/>
                <a:sym typeface="Wingdings" panose="05000000000000000000" pitchFamily="2" charset="2"/>
              </a:rPr>
              <a:t></a:t>
            </a:r>
            <a:r>
              <a:rPr lang="en-GB" sz="2000" b="1" dirty="0">
                <a:solidFill>
                  <a:srgbClr val="FF0000"/>
                </a:solidFill>
                <a:latin typeface="Calibri" pitchFamily="34" charset="0"/>
              </a:rPr>
              <a:t> </a:t>
            </a:r>
            <a:r>
              <a:rPr lang="en-GB" sz="2400" b="1" dirty="0">
                <a:solidFill>
                  <a:srgbClr val="FF0000"/>
                </a:solidFill>
                <a:latin typeface="Calibri" pitchFamily="34" charset="0"/>
              </a:rPr>
              <a:t>Überlauf (</a:t>
            </a:r>
            <a:r>
              <a:rPr lang="en-GB" sz="2400" b="1" i="1" dirty="0">
                <a:solidFill>
                  <a:srgbClr val="FF0000"/>
                </a:solidFill>
                <a:latin typeface="Calibri" pitchFamily="34" charset="0"/>
              </a:rPr>
              <a:t>overflow</a:t>
            </a:r>
            <a:r>
              <a:rPr lang="en-GB" sz="2400" b="1" dirty="0">
                <a:solidFill>
                  <a:srgbClr val="FF0000"/>
                </a:solidFill>
                <a:latin typeface="Calibri" pitchFamily="34" charset="0"/>
              </a:rPr>
              <a:t>)</a:t>
            </a:r>
            <a:endParaRPr lang="en-US" sz="2400" b="1" dirty="0">
              <a:solidFill>
                <a:srgbClr val="FF00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00444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/>
          </p:cNvSpPr>
          <p:nvPr>
            <p:ph type="title"/>
          </p:nvPr>
        </p:nvSpPr>
        <p:spPr>
          <a:xfrm>
            <a:off x="1981200" y="381000"/>
            <a:ext cx="8507288" cy="577054"/>
          </a:xfrm>
        </p:spPr>
        <p:txBody>
          <a:bodyPr anchor="t">
            <a:noAutofit/>
          </a:bodyPr>
          <a:lstStyle/>
          <a:p>
            <a:r>
              <a:rPr lang="en-GB" sz="2800" dirty="0" err="1"/>
              <a:t>Subtraktion</a:t>
            </a:r>
            <a:r>
              <a:rPr lang="en-GB" sz="2800" dirty="0"/>
              <a:t> </a:t>
            </a:r>
            <a:r>
              <a:rPr lang="en-GB" sz="2800" dirty="0" err="1"/>
              <a:t>durch</a:t>
            </a:r>
            <a:r>
              <a:rPr lang="en-GB" sz="2800" dirty="0"/>
              <a:t> Addition der Negation</a:t>
            </a:r>
            <a:endParaRPr lang="en-US" sz="2800" dirty="0"/>
          </a:p>
        </p:txBody>
      </p:sp>
      <p:sp>
        <p:nvSpPr>
          <p:cNvPr id="28675" name="Rectangle 3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>
              <a:spcAft>
                <a:spcPts val="600"/>
              </a:spcAft>
              <a:defRPr/>
            </a:pPr>
            <a:r>
              <a:rPr lang="en-GB" sz="2400" dirty="0" err="1"/>
              <a:t>Beispiel</a:t>
            </a:r>
            <a:r>
              <a:rPr lang="en-GB" sz="2400" dirty="0"/>
              <a:t> (4-Bit):</a:t>
            </a:r>
          </a:p>
          <a:p>
            <a:pPr marL="0" indent="0">
              <a:spcBef>
                <a:spcPts val="0"/>
              </a:spcBef>
              <a:buNone/>
              <a:defRPr/>
            </a:pPr>
            <a:r>
              <a:rPr lang="en-GB" sz="2000" dirty="0">
                <a:latin typeface="Courier New" pitchFamily="49" charset="0"/>
              </a:rPr>
              <a:t>		  		0010		  2</a:t>
            </a:r>
            <a:br>
              <a:rPr lang="en-GB" sz="2000" dirty="0">
                <a:latin typeface="Courier New" pitchFamily="49" charset="0"/>
              </a:rPr>
            </a:br>
            <a:r>
              <a:rPr lang="en-GB" sz="2000" dirty="0">
                <a:latin typeface="Courier New" pitchFamily="49" charset="0"/>
              </a:rPr>
              <a:t>	    	</a:t>
            </a:r>
            <a:r>
              <a:rPr lang="en-GB" sz="2000" u="sng" dirty="0">
                <a:latin typeface="Courier New" pitchFamily="49" charset="0"/>
              </a:rPr>
              <a:t>- 	0011</a:t>
            </a:r>
            <a:r>
              <a:rPr lang="en-GB" sz="2000" dirty="0">
                <a:latin typeface="Courier New" pitchFamily="49" charset="0"/>
              </a:rPr>
              <a:t>		</a:t>
            </a:r>
            <a:r>
              <a:rPr lang="en-GB" sz="2000" u="sng" dirty="0">
                <a:latin typeface="Courier New" pitchFamily="49" charset="0"/>
              </a:rPr>
              <a:t>- 3</a:t>
            </a:r>
          </a:p>
          <a:p>
            <a:pPr>
              <a:defRPr/>
            </a:pPr>
            <a:endParaRPr lang="en-GB" sz="2200" dirty="0"/>
          </a:p>
          <a:p>
            <a:pPr>
              <a:defRPr/>
            </a:pPr>
            <a:r>
              <a:rPr lang="en-GB" sz="2400" dirty="0" err="1"/>
              <a:t>Negiere</a:t>
            </a:r>
            <a:r>
              <a:rPr lang="en-GB" sz="2400" dirty="0"/>
              <a:t> </a:t>
            </a:r>
            <a:r>
              <a:rPr lang="en-GB" sz="2400" dirty="0">
                <a:latin typeface="Courier New"/>
                <a:cs typeface="Courier New"/>
              </a:rPr>
              <a:t>0011</a:t>
            </a:r>
          </a:p>
          <a:p>
            <a:pPr lvl="1">
              <a:defRPr/>
            </a:pPr>
            <a:r>
              <a:rPr lang="en-GB" sz="2000" dirty="0" err="1"/>
              <a:t>Invertieren</a:t>
            </a:r>
            <a:r>
              <a:rPr lang="en-GB" sz="2000" dirty="0"/>
              <a:t>: </a:t>
            </a:r>
            <a:r>
              <a:rPr lang="en-GB" sz="2000" dirty="0">
                <a:latin typeface="Courier New"/>
                <a:cs typeface="Courier New"/>
              </a:rPr>
              <a:t>1100</a:t>
            </a:r>
          </a:p>
          <a:p>
            <a:pPr lvl="1">
              <a:defRPr/>
            </a:pPr>
            <a:r>
              <a:rPr lang="en-GB" sz="2000" dirty="0"/>
              <a:t>1 </a:t>
            </a:r>
            <a:r>
              <a:rPr lang="en-GB" sz="2000" dirty="0" err="1"/>
              <a:t>addieren</a:t>
            </a:r>
            <a:r>
              <a:rPr lang="en-GB" sz="2000" dirty="0"/>
              <a:t>: </a:t>
            </a:r>
            <a:r>
              <a:rPr lang="en-GB" sz="2000" dirty="0">
                <a:latin typeface="Courier New"/>
                <a:cs typeface="Courier New"/>
              </a:rPr>
              <a:t>1101</a:t>
            </a:r>
          </a:p>
          <a:p>
            <a:pPr>
              <a:defRPr/>
            </a:pPr>
            <a:endParaRPr lang="en-GB" sz="2200" dirty="0"/>
          </a:p>
          <a:p>
            <a:pPr>
              <a:defRPr/>
            </a:pPr>
            <a:r>
              <a:rPr lang="en-GB" sz="2400" dirty="0" err="1"/>
              <a:t>Addieren</a:t>
            </a:r>
            <a:endParaRPr lang="en-GB" sz="2400" dirty="0"/>
          </a:p>
          <a:p>
            <a:pPr marL="0" indent="0">
              <a:buNone/>
              <a:defRPr/>
            </a:pPr>
            <a:r>
              <a:rPr lang="en-GB" dirty="0">
                <a:latin typeface="Courier New" pitchFamily="49" charset="0"/>
              </a:rPr>
              <a:t>	</a:t>
            </a:r>
            <a:r>
              <a:rPr lang="en-GB" sz="2000" dirty="0">
                <a:latin typeface="Courier New" pitchFamily="49" charset="0"/>
              </a:rPr>
              <a:t>			0010		  2</a:t>
            </a:r>
            <a:br>
              <a:rPr lang="en-GB" sz="2000" dirty="0">
                <a:latin typeface="Courier New" pitchFamily="49" charset="0"/>
              </a:rPr>
            </a:br>
            <a:r>
              <a:rPr lang="en-GB" sz="2000" dirty="0">
                <a:latin typeface="Courier New" pitchFamily="49" charset="0"/>
              </a:rPr>
              <a:t>	    	</a:t>
            </a:r>
            <a:r>
              <a:rPr lang="en-GB" sz="2000" u="sng" dirty="0">
                <a:latin typeface="Courier New" pitchFamily="49" charset="0"/>
              </a:rPr>
              <a:t>+ 	1101</a:t>
            </a:r>
            <a:r>
              <a:rPr lang="en-GB" sz="2000" dirty="0">
                <a:latin typeface="Courier New" pitchFamily="49" charset="0"/>
              </a:rPr>
              <a:t>		</a:t>
            </a:r>
            <a:r>
              <a:rPr lang="en-GB" sz="2000" u="sng" dirty="0">
                <a:latin typeface="Courier New" pitchFamily="49" charset="0"/>
              </a:rPr>
              <a:t>- 3</a:t>
            </a:r>
          </a:p>
          <a:p>
            <a:pPr marL="0" indent="0">
              <a:buNone/>
              <a:defRPr/>
            </a:pPr>
            <a:r>
              <a:rPr lang="en-GB" sz="2000" dirty="0">
                <a:latin typeface="Courier New" pitchFamily="49" charset="0"/>
              </a:rPr>
              <a:t>				1111		 -1</a:t>
            </a:r>
          </a:p>
          <a:p>
            <a:pPr>
              <a:defRPr/>
            </a:pP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99302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ChangeArrowheads="1"/>
          </p:cNvSpPr>
          <p:nvPr/>
        </p:nvSpPr>
        <p:spPr bwMode="auto">
          <a:xfrm>
            <a:off x="5026026" y="693739"/>
            <a:ext cx="2855913" cy="47783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29699" name="Rectangle 3"/>
          <p:cNvSpPr>
            <a:spLocks noGrp="1"/>
          </p:cNvSpPr>
          <p:nvPr>
            <p:ph idx="1"/>
          </p:nvPr>
        </p:nvSpPr>
        <p:spPr/>
        <p:txBody>
          <a:bodyPr vert="horz" lIns="90488" tIns="44450" rIns="90488" bIns="44450" rtlCol="0" anchor="t" anchorCtr="0">
            <a:noAutofit/>
          </a:bodyPr>
          <a:lstStyle/>
          <a:p>
            <a:pPr>
              <a:spcBef>
                <a:spcPct val="10000"/>
              </a:spcBef>
              <a:defRPr/>
            </a:pPr>
            <a:r>
              <a:rPr lang="en-GB" sz="2200" b="1" dirty="0" err="1">
                <a:solidFill>
                  <a:srgbClr val="0000FF"/>
                </a:solidFill>
              </a:rPr>
              <a:t>Überlauf</a:t>
            </a:r>
            <a:r>
              <a:rPr lang="en-GB" sz="2200" b="1" dirty="0">
                <a:solidFill>
                  <a:srgbClr val="0000FF"/>
                </a:solidFill>
              </a:rPr>
              <a:t> (</a:t>
            </a:r>
            <a:r>
              <a:rPr lang="en-GB" sz="2200" b="1" i="1" dirty="0">
                <a:solidFill>
                  <a:srgbClr val="0000FF"/>
                </a:solidFill>
              </a:rPr>
              <a:t>overflow</a:t>
            </a:r>
            <a:r>
              <a:rPr lang="en-GB" sz="2200" b="1" dirty="0">
                <a:solidFill>
                  <a:srgbClr val="0000FF"/>
                </a:solidFill>
              </a:rPr>
              <a:t>)</a:t>
            </a:r>
            <a:r>
              <a:rPr lang="en-GB" sz="2200" dirty="0">
                <a:solidFill>
                  <a:srgbClr val="0000FF"/>
                </a:solidFill>
              </a:rPr>
              <a:t>: </a:t>
            </a:r>
          </a:p>
          <a:p>
            <a:pPr lvl="1">
              <a:spcBef>
                <a:spcPct val="10000"/>
              </a:spcBef>
              <a:defRPr/>
            </a:pPr>
            <a:r>
              <a:rPr lang="en-GB" sz="2000"/>
              <a:t>Das Ergebnis ist zu groß um mit der gegebenen Anzahl an Bits gespeichert zu werden.</a:t>
            </a:r>
            <a:endParaRPr lang="en-GB" sz="3200" dirty="0"/>
          </a:p>
          <a:p>
            <a:pPr lvl="1">
              <a:spcBef>
                <a:spcPct val="10000"/>
              </a:spcBef>
              <a:defRPr/>
            </a:pPr>
            <a:r>
              <a:rPr lang="en-GB" sz="2000" dirty="0"/>
              <a:t>z.B. Addition von zwei n-Bit-Zahlen </a:t>
            </a:r>
            <a:r>
              <a:rPr lang="en-GB" sz="2000"/>
              <a:t>muss keine </a:t>
            </a:r>
            <a:r>
              <a:rPr lang="en-GB" sz="2000" dirty="0"/>
              <a:t>n-Bit-Zahl ergeben.</a:t>
            </a:r>
            <a:endParaRPr lang="en-GB" sz="2000" u="sng" dirty="0"/>
          </a:p>
          <a:p>
            <a:pPr>
              <a:spcBef>
                <a:spcPct val="10000"/>
              </a:spcBef>
              <a:defRPr/>
            </a:pPr>
            <a:r>
              <a:rPr lang="en-GB" sz="2200" u="sng" dirty="0"/>
              <a:t>Kein</a:t>
            </a:r>
            <a:r>
              <a:rPr lang="en-GB" sz="2200" dirty="0"/>
              <a:t> Überlauf, wenn …</a:t>
            </a:r>
          </a:p>
          <a:p>
            <a:pPr lvl="1">
              <a:spcBef>
                <a:spcPct val="10000"/>
              </a:spcBef>
              <a:defRPr/>
            </a:pPr>
            <a:r>
              <a:rPr lang="en-GB" sz="2000" dirty="0"/>
              <a:t>Addition von 2 Zahlen mit entgegengesetztem Vorzeichen</a:t>
            </a:r>
          </a:p>
          <a:p>
            <a:pPr lvl="2">
              <a:spcBef>
                <a:spcPct val="10000"/>
              </a:spcBef>
              <a:defRPr/>
            </a:pPr>
            <a:r>
              <a:rPr lang="en-GB" sz="2000"/>
              <a:t>Beispiel</a:t>
            </a:r>
            <a:r>
              <a:rPr lang="en-GB" sz="2000" dirty="0"/>
              <a:t>: -10 + 6 = -4</a:t>
            </a:r>
          </a:p>
          <a:p>
            <a:pPr lvl="1">
              <a:spcBef>
                <a:spcPct val="10000"/>
              </a:spcBef>
              <a:defRPr/>
            </a:pPr>
            <a:r>
              <a:rPr lang="en-GB" sz="2000" dirty="0"/>
              <a:t>Subtraktion von 2 Zahlen </a:t>
            </a:r>
            <a:r>
              <a:rPr lang="en-GB" sz="2000" dirty="0" err="1"/>
              <a:t>mit</a:t>
            </a:r>
            <a:r>
              <a:rPr lang="en-GB" sz="2000" dirty="0"/>
              <a:t> </a:t>
            </a:r>
            <a:r>
              <a:rPr lang="en-GB" sz="2000" dirty="0" err="1"/>
              <a:t>demselben</a:t>
            </a:r>
            <a:r>
              <a:rPr lang="en-GB" sz="2000" dirty="0"/>
              <a:t> Vorzeichen</a:t>
            </a:r>
          </a:p>
          <a:p>
            <a:pPr>
              <a:spcBef>
                <a:spcPct val="10000"/>
              </a:spcBef>
              <a:defRPr/>
            </a:pPr>
            <a:r>
              <a:rPr lang="en-GB" sz="2200"/>
              <a:t>Überlauf </a:t>
            </a:r>
            <a:r>
              <a:rPr lang="en-GB" sz="2200" dirty="0"/>
              <a:t>tritt auf, wenn…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25</a:t>
            </a:fld>
            <a:endParaRPr lang="de-DE"/>
          </a:p>
        </p:txBody>
      </p:sp>
      <p:graphicFrame>
        <p:nvGraphicFramePr>
          <p:cNvPr id="67649" name="Group 6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0688644"/>
              </p:ext>
            </p:extLst>
          </p:nvPr>
        </p:nvGraphicFramePr>
        <p:xfrm>
          <a:off x="3935760" y="4329280"/>
          <a:ext cx="5257800" cy="1620000"/>
        </p:xfrm>
        <a:graphic>
          <a:graphicData uri="http://schemas.openxmlformats.org/drawingml/2006/table">
            <a:tbl>
              <a:tblPr/>
              <a:tblGrid>
                <a:gridCol w="13144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14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144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144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Operation</a:t>
                      </a:r>
                      <a:endParaRPr kumimoji="0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FF">
                        <a:alpha val="2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A</a:t>
                      </a:r>
                      <a:endParaRPr kumimoji="0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FF">
                        <a:alpha val="2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B</a:t>
                      </a:r>
                      <a:endParaRPr kumimoji="0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FF">
                        <a:alpha val="2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Ergebnis</a:t>
                      </a:r>
                      <a:endParaRPr kumimoji="0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FF">
                        <a:alpha val="2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A+B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sng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&gt;</a:t>
                      </a:r>
                      <a:r>
                        <a:rPr kumimoji="0" lang="en-GB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 0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sng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&gt;</a:t>
                      </a:r>
                      <a:r>
                        <a:rPr kumimoji="0" lang="en-GB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 0</a:t>
                      </a:r>
                      <a:endParaRPr kumimoji="0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&lt; 0</a:t>
                      </a:r>
                      <a:endParaRPr kumimoji="0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A+B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&lt; 0</a:t>
                      </a:r>
                      <a:endParaRPr kumimoji="0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&lt; 0</a:t>
                      </a:r>
                      <a:endParaRPr kumimoji="0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sng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&gt;</a:t>
                      </a:r>
                      <a:r>
                        <a:rPr kumimoji="0" lang="en-GB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 0</a:t>
                      </a:r>
                      <a:endParaRPr kumimoji="0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A-B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sng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&gt;</a:t>
                      </a:r>
                      <a:r>
                        <a:rPr kumimoji="0" lang="en-GB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 0</a:t>
                      </a:r>
                      <a:endParaRPr kumimoji="0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&lt; 0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&lt; 0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A-B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&lt; 0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sng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&gt;</a:t>
                      </a:r>
                      <a:r>
                        <a:rPr kumimoji="0" lang="en-GB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 0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sng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&gt;</a:t>
                      </a:r>
                      <a:r>
                        <a:rPr kumimoji="0" lang="en-GB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 0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" name="Textfeld 1"/>
          <p:cNvSpPr txBox="1"/>
          <p:nvPr/>
        </p:nvSpPr>
        <p:spPr>
          <a:xfrm>
            <a:off x="9192344" y="4532927"/>
            <a:ext cx="283716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b="1" u="sng">
                <a:solidFill>
                  <a:srgbClr val="C00000"/>
                </a:solidFill>
                <a:latin typeface="Meta Offc Pro" panose="020B0504030101020102"/>
              </a:rPr>
              <a:t>An welchen Bits können wir das erkennen?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/>
              <a:t>Überlauf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840445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9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9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9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9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9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6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/>
        </p:nvSpPr>
        <p:spPr>
          <a:xfrm>
            <a:off x="6168008" y="3829655"/>
            <a:ext cx="5617842" cy="54951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38100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0963" name="Rectangle 3"/>
          <p:cNvSpPr>
            <a:spLocks noGrp="1"/>
          </p:cNvSpPr>
          <p:nvPr>
            <p:ph idx="1"/>
          </p:nvPr>
        </p:nvSpPr>
        <p:spPr>
          <a:xfrm>
            <a:off x="359990" y="958054"/>
            <a:ext cx="11472025" cy="4785525"/>
          </a:xfrm>
          <a:noFill/>
        </p:spPr>
        <p:txBody>
          <a:bodyPr vert="horz" lIns="90488" tIns="44450" rIns="90488" bIns="44450" rtlCol="0" anchor="ctr" anchorCtr="0">
            <a:normAutofit/>
          </a:bodyPr>
          <a:lstStyle/>
          <a:p>
            <a:r>
              <a:rPr lang="de-DE" sz="2400"/>
              <a:t>Ein Überlauf tritt genau dann </a:t>
            </a:r>
            <a:r>
              <a:rPr lang="de-DE" sz="2400" dirty="0"/>
              <a:t>auf, wenn das </a:t>
            </a:r>
            <a:r>
              <a:rPr lang="de-DE" sz="2400" dirty="0" err="1"/>
              <a:t>Übertragsbit</a:t>
            </a:r>
            <a:r>
              <a:rPr lang="de-DE" sz="2400" dirty="0"/>
              <a:t> (</a:t>
            </a:r>
            <a:r>
              <a:rPr lang="de-DE" sz="2400" i="1" dirty="0"/>
              <a:t>carry in</a:t>
            </a:r>
            <a:r>
              <a:rPr lang="de-DE" sz="2400" dirty="0"/>
              <a:t>) für das </a:t>
            </a:r>
            <a:r>
              <a:rPr lang="de-DE" sz="2400"/>
              <a:t>MSB </a:t>
            </a:r>
            <a:r>
              <a:rPr lang="de-DE" sz="2400">
                <a:sym typeface="Symbol" pitchFamily="18" charset="2"/>
              </a:rPr>
              <a:t>ungleich </a:t>
            </a:r>
            <a:r>
              <a:rPr lang="de-DE" sz="2400" dirty="0">
                <a:sym typeface="Symbol" pitchFamily="18" charset="2"/>
              </a:rPr>
              <a:t>dem entstehenden </a:t>
            </a:r>
            <a:r>
              <a:rPr lang="de-DE" sz="2400" dirty="0" err="1">
                <a:sym typeface="Symbol" pitchFamily="18" charset="2"/>
              </a:rPr>
              <a:t>Übertragsbit</a:t>
            </a:r>
            <a:r>
              <a:rPr lang="de-DE" sz="2400" dirty="0">
                <a:sym typeface="Symbol" pitchFamily="18" charset="2"/>
              </a:rPr>
              <a:t> (</a:t>
            </a:r>
            <a:r>
              <a:rPr lang="de-DE" sz="2400" i="1" dirty="0">
                <a:sym typeface="Symbol" pitchFamily="18" charset="2"/>
              </a:rPr>
              <a:t>carry out</a:t>
            </a:r>
            <a:r>
              <a:rPr lang="de-DE" sz="2400" dirty="0">
                <a:sym typeface="Symbol" pitchFamily="18" charset="2"/>
              </a:rPr>
              <a:t>) aus der </a:t>
            </a:r>
            <a:r>
              <a:rPr lang="de-DE" sz="2400">
                <a:sym typeface="Symbol" pitchFamily="18" charset="2"/>
              </a:rPr>
              <a:t>Operation ist.</a:t>
            </a:r>
          </a:p>
          <a:p>
            <a:pPr marL="0" indent="0">
              <a:buNone/>
            </a:pPr>
            <a:endParaRPr lang="de-DE" sz="2400">
              <a:sym typeface="Symbol" pitchFamily="18" charset="2"/>
            </a:endParaRPr>
          </a:p>
          <a:p>
            <a:pPr marL="0" indent="0">
              <a:buNone/>
            </a:pPr>
            <a:endParaRPr lang="de-DE" sz="2400" dirty="0">
              <a:sym typeface="Symbol" pitchFamily="18" charset="2"/>
            </a:endParaRPr>
          </a:p>
          <a:p>
            <a:r>
              <a:rPr lang="en-GB" sz="2400" dirty="0" err="1"/>
              <a:t>Beispiel</a:t>
            </a:r>
            <a:r>
              <a:rPr lang="en-GB" sz="2400" dirty="0"/>
              <a:t> (4-Bit):</a:t>
            </a:r>
          </a:p>
          <a:p>
            <a:pPr>
              <a:buFont typeface="Arial" charset="0"/>
              <a:buNone/>
            </a:pPr>
            <a:r>
              <a:rPr lang="en-GB" sz="2200" dirty="0">
                <a:latin typeface="Courier New" pitchFamily="49" charset="0"/>
              </a:rPr>
              <a:t>		 </a:t>
            </a:r>
            <a:r>
              <a:rPr lang="en-GB" sz="2200" dirty="0"/>
              <a:t>carry out</a:t>
            </a:r>
            <a:r>
              <a:rPr lang="en-GB" sz="2200" dirty="0">
                <a:latin typeface="Courier New" pitchFamily="49" charset="0"/>
              </a:rPr>
              <a:t>	  	</a:t>
            </a:r>
            <a:r>
              <a:rPr lang="en-GB" sz="2200">
                <a:latin typeface="Courier New" pitchFamily="49" charset="0"/>
              </a:rPr>
              <a:t>  01</a:t>
            </a:r>
            <a:r>
              <a:rPr lang="en-GB" sz="2200" dirty="0">
                <a:latin typeface="Courier New" pitchFamily="49" charset="0"/>
              </a:rPr>
              <a:t>	     </a:t>
            </a:r>
            <a:r>
              <a:rPr lang="en-GB" sz="2200" dirty="0"/>
              <a:t>carry in</a:t>
            </a:r>
            <a:endParaRPr lang="en-GB" sz="2200" dirty="0">
              <a:latin typeface="Courier New" pitchFamily="49" charset="0"/>
            </a:endParaRPr>
          </a:p>
          <a:p>
            <a:pPr>
              <a:buFont typeface="Arial" charset="0"/>
              <a:buNone/>
            </a:pPr>
            <a:r>
              <a:rPr lang="en-GB" sz="2200" dirty="0">
                <a:latin typeface="Courier New" pitchFamily="49" charset="0"/>
              </a:rPr>
              <a:t>			 		 </a:t>
            </a:r>
            <a:r>
              <a:rPr lang="en-GB" sz="1100" dirty="0">
                <a:latin typeface="Courier New" pitchFamily="49" charset="0"/>
              </a:rPr>
              <a:t> 	</a:t>
            </a:r>
            <a:r>
              <a:rPr lang="en-GB" sz="1100">
                <a:latin typeface="Courier New" pitchFamily="49" charset="0"/>
              </a:rPr>
              <a:t>	</a:t>
            </a:r>
            <a:r>
              <a:rPr lang="en-GB" sz="2200">
                <a:latin typeface="Courier New" pitchFamily="49" charset="0"/>
              </a:rPr>
              <a:t>0111</a:t>
            </a:r>
            <a:endParaRPr lang="en-GB" sz="2200" dirty="0">
              <a:latin typeface="Courier New" pitchFamily="49" charset="0"/>
            </a:endParaRPr>
          </a:p>
          <a:p>
            <a:pPr>
              <a:buFont typeface="Arial" charset="0"/>
              <a:buNone/>
            </a:pPr>
            <a:r>
              <a:rPr lang="en-GB" sz="2200" dirty="0">
                <a:latin typeface="Courier New" pitchFamily="49" charset="0"/>
              </a:rPr>
              <a:t>				     	</a:t>
            </a:r>
            <a:r>
              <a:rPr lang="en-GB" sz="2200" u="sng" dirty="0">
                <a:latin typeface="Courier New" pitchFamily="49" charset="0"/>
              </a:rPr>
              <a:t>+ </a:t>
            </a:r>
            <a:r>
              <a:rPr lang="en-GB" sz="2200" u="sng">
                <a:latin typeface="Courier New" pitchFamily="49" charset="0"/>
              </a:rPr>
              <a:t>	0001</a:t>
            </a:r>
            <a:endParaRPr lang="en-GB" sz="2200" u="sng" dirty="0">
              <a:latin typeface="Courier New" pitchFamily="49" charset="0"/>
            </a:endParaRPr>
          </a:p>
          <a:p>
            <a:pPr>
              <a:buFont typeface="Arial" charset="0"/>
              <a:buNone/>
            </a:pPr>
            <a:r>
              <a:rPr lang="en-GB" sz="2200" dirty="0">
                <a:latin typeface="Courier New" pitchFamily="49" charset="0"/>
              </a:rPr>
              <a:t>			  		 </a:t>
            </a:r>
            <a:r>
              <a:rPr lang="en-GB" sz="1200" dirty="0">
                <a:latin typeface="Courier New" pitchFamily="49" charset="0"/>
              </a:rPr>
              <a:t> 	</a:t>
            </a:r>
            <a:r>
              <a:rPr lang="en-GB" sz="1200">
                <a:latin typeface="Courier New" pitchFamily="49" charset="0"/>
              </a:rPr>
              <a:t>	</a:t>
            </a:r>
            <a:r>
              <a:rPr lang="en-GB" sz="2200">
                <a:latin typeface="Courier New" pitchFamily="49" charset="0"/>
              </a:rPr>
              <a:t>1000</a:t>
            </a:r>
            <a:r>
              <a:rPr lang="en-GB" sz="2200"/>
              <a:t> </a:t>
            </a:r>
            <a:endParaRPr lang="en-GB" sz="2200" dirty="0"/>
          </a:p>
        </p:txBody>
      </p:sp>
      <p:graphicFrame>
        <p:nvGraphicFramePr>
          <p:cNvPr id="13" name="Group 6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1869868"/>
              </p:ext>
            </p:extLst>
          </p:nvPr>
        </p:nvGraphicFramePr>
        <p:xfrm>
          <a:off x="6168008" y="3266900"/>
          <a:ext cx="5617842" cy="2645840"/>
        </p:xfrm>
        <a:graphic>
          <a:graphicData uri="http://schemas.openxmlformats.org/drawingml/2006/table">
            <a:tbl>
              <a:tblPr/>
              <a:tblGrid>
                <a:gridCol w="12961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920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2068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2352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92088">
                  <a:extLst>
                    <a:ext uri="{9D8B030D-6E8A-4147-A177-3AD203B41FA5}">
                      <a16:colId xmlns:a16="http://schemas.microsoft.com/office/drawing/2014/main" val="974411343"/>
                    </a:ext>
                  </a:extLst>
                </a:gridCol>
                <a:gridCol w="793306">
                  <a:extLst>
                    <a:ext uri="{9D8B030D-6E8A-4147-A177-3AD203B41FA5}">
                      <a16:colId xmlns:a16="http://schemas.microsoft.com/office/drawing/2014/main" val="765061225"/>
                    </a:ext>
                  </a:extLst>
                </a:gridCol>
              </a:tblGrid>
              <a:tr h="569735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Operation</a:t>
                      </a:r>
                      <a:endParaRPr kumimoji="0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FF">
                        <a:alpha val="2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A</a:t>
                      </a:r>
                      <a:endParaRPr kumimoji="0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FF">
                        <a:alpha val="2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B</a:t>
                      </a:r>
                      <a:endParaRPr kumimoji="0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FF">
                        <a:alpha val="2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Ergebnis</a:t>
                      </a:r>
                      <a:endParaRPr kumimoji="0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FF">
                        <a:alpha val="2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carry out</a:t>
                      </a:r>
                      <a:endParaRPr kumimoji="0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FF">
                        <a:alpha val="2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carry in</a:t>
                      </a:r>
                      <a:endParaRPr kumimoji="0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FF">
                        <a:alpha val="2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530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A+B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sng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&gt;</a:t>
                      </a:r>
                      <a:r>
                        <a:rPr kumimoji="0" lang="en-GB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 0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sng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&gt;</a:t>
                      </a:r>
                      <a:r>
                        <a:rPr kumimoji="0" lang="en-GB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 0</a:t>
                      </a:r>
                      <a:endParaRPr kumimoji="0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&lt; 0</a:t>
                      </a:r>
                      <a:endParaRPr kumimoji="0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</a:t>
                      </a: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530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A+B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&lt; 0</a:t>
                      </a:r>
                      <a:endParaRPr kumimoji="0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&lt; 0</a:t>
                      </a:r>
                      <a:endParaRPr kumimoji="0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sng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&gt;</a:t>
                      </a:r>
                      <a:r>
                        <a:rPr kumimoji="0" lang="en-GB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 0</a:t>
                      </a:r>
                      <a:endParaRPr kumimoji="0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530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A-B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sng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&gt;</a:t>
                      </a:r>
                      <a:r>
                        <a:rPr kumimoji="0" lang="en-GB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 0</a:t>
                      </a:r>
                      <a:endParaRPr kumimoji="0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&lt; 0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&lt; 0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1530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A-B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&lt; 0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sng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&gt;</a:t>
                      </a:r>
                      <a:r>
                        <a:rPr kumimoji="0" lang="en-GB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 0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sng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&gt;</a:t>
                      </a:r>
                      <a:r>
                        <a:rPr kumimoji="0" lang="en-GB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 0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40962" name="Rectangle 2"/>
          <p:cNvSpPr>
            <a:spLocks noChangeArrowheads="1"/>
          </p:cNvSpPr>
          <p:nvPr/>
        </p:nvSpPr>
        <p:spPr bwMode="auto">
          <a:xfrm>
            <a:off x="5026026" y="693739"/>
            <a:ext cx="2855913" cy="47783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/>
              <a:t>Überlauf</a:t>
            </a:r>
            <a:endParaRPr lang="de-DE" sz="320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26</a:t>
            </a:fld>
            <a:endParaRPr lang="de-DE"/>
          </a:p>
        </p:txBody>
      </p:sp>
      <p:sp>
        <p:nvSpPr>
          <p:cNvPr id="8" name="Rectangle 4"/>
          <p:cNvSpPr txBox="1">
            <a:spLocks/>
          </p:cNvSpPr>
          <p:nvPr/>
        </p:nvSpPr>
        <p:spPr bwMode="auto">
          <a:xfrm>
            <a:off x="3201989" y="533400"/>
            <a:ext cx="7215187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488" tIns="44450" rIns="90488" bIns="44450"/>
          <a:lstStyle/>
          <a:p>
            <a:pPr eaLnBrk="0" hangingPunct="0">
              <a:defRPr/>
            </a:pPr>
            <a:endParaRPr lang="en-GB" sz="2800" dirty="0">
              <a:latin typeface="+mj-lt"/>
              <a:ea typeface="+mj-ea"/>
              <a:cs typeface="+mj-cs"/>
            </a:endParaRPr>
          </a:p>
        </p:txBody>
      </p:sp>
      <p:cxnSp>
        <p:nvCxnSpPr>
          <p:cNvPr id="9" name="Gerade Verbindung mit Pfeil 8"/>
          <p:cNvCxnSpPr/>
          <p:nvPr/>
        </p:nvCxnSpPr>
        <p:spPr>
          <a:xfrm rot="10800000">
            <a:off x="2495601" y="3815587"/>
            <a:ext cx="719138" cy="1588"/>
          </a:xfrm>
          <a:prstGeom prst="straightConnector1">
            <a:avLst/>
          </a:prstGeom>
          <a:ln w="15875"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mit Pfeil 11"/>
          <p:cNvCxnSpPr/>
          <p:nvPr/>
        </p:nvCxnSpPr>
        <p:spPr>
          <a:xfrm rot="10800000">
            <a:off x="3791745" y="3815587"/>
            <a:ext cx="792162" cy="1588"/>
          </a:xfrm>
          <a:prstGeom prst="straightConnector1">
            <a:avLst/>
          </a:prstGeom>
          <a:ln w="15875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Rechteck 2"/>
              <p:cNvSpPr/>
              <p:nvPr/>
            </p:nvSpPr>
            <p:spPr>
              <a:xfrm>
                <a:off x="3791744" y="2348880"/>
                <a:ext cx="4983116" cy="504056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 xmlns:m="http://schemas.openxmlformats.org/officeDocument/2006/math">
                    <m:r>
                      <a:rPr lang="de-DE" sz="2400" i="1">
                        <a:latin typeface="Cambria Math" panose="02040503050406030204" pitchFamily="18" charset="0"/>
                        <a:ea typeface="Cambria Math" panose="02040503050406030204" pitchFamily="18" charset="0"/>
                        <a:sym typeface="Symbol" pitchFamily="18" charset="2"/>
                      </a:rPr>
                      <m:t>𝑐𝑎𝑟𝑟𝑦</m:t>
                    </m:r>
                    <m:r>
                      <a:rPr lang="de-DE" sz="2400" i="1">
                        <a:latin typeface="Cambria Math" panose="02040503050406030204" pitchFamily="18" charset="0"/>
                        <a:ea typeface="Cambria Math" panose="02040503050406030204" pitchFamily="18" charset="0"/>
                        <a:sym typeface="Symbol" pitchFamily="18" charset="2"/>
                      </a:rPr>
                      <m:t> </m:t>
                    </m:r>
                    <m:r>
                      <a:rPr lang="de-DE" sz="2400" i="1">
                        <a:latin typeface="Cambria Math" panose="02040503050406030204" pitchFamily="18" charset="0"/>
                        <a:ea typeface="Cambria Math" panose="02040503050406030204" pitchFamily="18" charset="0"/>
                        <a:sym typeface="Symbol" pitchFamily="18" charset="2"/>
                      </a:rPr>
                      <m:t>𝑖𝑛</m:t>
                    </m:r>
                    <m:r>
                      <a:rPr lang="de-DE" sz="2400" i="1">
                        <a:latin typeface="Cambria Math" panose="02040503050406030204" pitchFamily="18" charset="0"/>
                        <a:ea typeface="Cambria Math" panose="02040503050406030204" pitchFamily="18" charset="0"/>
                        <a:sym typeface="Symbol" pitchFamily="18" charset="2"/>
                      </a:rPr>
                      <m:t>≠</m:t>
                    </m:r>
                    <m:r>
                      <a:rPr lang="de-DE" sz="2400" i="1">
                        <a:latin typeface="Cambria Math" panose="02040503050406030204" pitchFamily="18" charset="0"/>
                        <a:ea typeface="Cambria Math" panose="02040503050406030204" pitchFamily="18" charset="0"/>
                        <a:sym typeface="Symbol" pitchFamily="18" charset="2"/>
                      </a:rPr>
                      <m:t>𝑐𝑎𝑟𝑟𝑦</m:t>
                    </m:r>
                    <m:r>
                      <a:rPr lang="de-DE" sz="2400" i="1">
                        <a:latin typeface="Cambria Math" panose="02040503050406030204" pitchFamily="18" charset="0"/>
                        <a:ea typeface="Cambria Math" panose="02040503050406030204" pitchFamily="18" charset="0"/>
                        <a:sym typeface="Symbol" pitchFamily="18" charset="2"/>
                      </a:rPr>
                      <m:t> </m:t>
                    </m:r>
                    <m:r>
                      <a:rPr lang="de-DE" sz="2400" i="1">
                        <a:latin typeface="Cambria Math" panose="02040503050406030204" pitchFamily="18" charset="0"/>
                        <a:ea typeface="Cambria Math" panose="02040503050406030204" pitchFamily="18" charset="0"/>
                        <a:sym typeface="Symbol" pitchFamily="18" charset="2"/>
                      </a:rPr>
                      <m:t>𝑜𝑢𝑡</m:t>
                    </m:r>
                    <m:r>
                      <a:rPr lang="de-DE" sz="2400" i="1">
                        <a:latin typeface="Cambria Math" panose="02040503050406030204" pitchFamily="18" charset="0"/>
                        <a:ea typeface="Cambria Math" panose="02040503050406030204" pitchFamily="18" charset="0"/>
                        <a:sym typeface="Symbol" pitchFamily="18" charset="2"/>
                      </a:rPr>
                      <m:t> →Ü</m:t>
                    </m:r>
                    <m:r>
                      <a:rPr lang="de-DE" sz="2400" i="1">
                        <a:latin typeface="Cambria Math" panose="02040503050406030204" pitchFamily="18" charset="0"/>
                        <a:ea typeface="Cambria Math" panose="02040503050406030204" pitchFamily="18" charset="0"/>
                        <a:sym typeface="Symbol" pitchFamily="18" charset="2"/>
                      </a:rPr>
                      <m:t>𝑏𝑒𝑟𝑙𝑎𝑢𝑓</m:t>
                    </m:r>
                  </m:oMath>
                </a14:m>
                <a:r>
                  <a:rPr lang="de-DE" sz="2400">
                    <a:sym typeface="Symbol" pitchFamily="18" charset="2"/>
                  </a:rPr>
                  <a:t>  </a:t>
                </a:r>
                <a:endParaRPr lang="de-DE" sz="2400" dirty="0">
                  <a:sym typeface="Symbol" pitchFamily="18" charset="2"/>
                </a:endParaRPr>
              </a:p>
            </p:txBody>
          </p:sp>
        </mc:Choice>
        <mc:Fallback xmlns="">
          <p:sp>
            <p:nvSpPr>
              <p:cNvPr id="3" name="Rechteck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91744" y="2348880"/>
                <a:ext cx="4983116" cy="504056"/>
              </a:xfrm>
              <a:prstGeom prst="rect">
                <a:avLst/>
              </a:prstGeom>
              <a:blipFill>
                <a:blip r:embed="rId3"/>
                <a:stretch>
                  <a:fillRect b="-18072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2937184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/>
        </p:nvSpPr>
        <p:spPr>
          <a:xfrm>
            <a:off x="6168008" y="4336968"/>
            <a:ext cx="5617842" cy="54951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38100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0962" name="Rectangle 2"/>
          <p:cNvSpPr>
            <a:spLocks noChangeArrowheads="1"/>
          </p:cNvSpPr>
          <p:nvPr/>
        </p:nvSpPr>
        <p:spPr bwMode="auto">
          <a:xfrm>
            <a:off x="5026026" y="693739"/>
            <a:ext cx="2855913" cy="47783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/>
              <a:t>Überlauf</a:t>
            </a:r>
            <a:endParaRPr lang="de-DE" sz="3200" dirty="0"/>
          </a:p>
        </p:txBody>
      </p:sp>
      <p:sp>
        <p:nvSpPr>
          <p:cNvPr id="40963" name="Rectangle 3"/>
          <p:cNvSpPr>
            <a:spLocks noGrp="1"/>
          </p:cNvSpPr>
          <p:nvPr>
            <p:ph idx="1"/>
          </p:nvPr>
        </p:nvSpPr>
        <p:spPr>
          <a:xfrm>
            <a:off x="359990" y="958054"/>
            <a:ext cx="11472025" cy="4785525"/>
          </a:xfrm>
          <a:noFill/>
        </p:spPr>
        <p:txBody>
          <a:bodyPr vert="horz" lIns="90488" tIns="44450" rIns="90488" bIns="44450" rtlCol="0" anchor="ctr" anchorCtr="0">
            <a:normAutofit/>
          </a:bodyPr>
          <a:lstStyle/>
          <a:p>
            <a:r>
              <a:rPr lang="de-DE" sz="2400"/>
              <a:t>Ein Überlauf tritt genau dann </a:t>
            </a:r>
            <a:r>
              <a:rPr lang="de-DE" sz="2400" dirty="0"/>
              <a:t>auf, wenn das </a:t>
            </a:r>
            <a:r>
              <a:rPr lang="de-DE" sz="2400" dirty="0" err="1"/>
              <a:t>Übertragsbit</a:t>
            </a:r>
            <a:r>
              <a:rPr lang="de-DE" sz="2400" dirty="0"/>
              <a:t> (</a:t>
            </a:r>
            <a:r>
              <a:rPr lang="de-DE" sz="2400" i="1" dirty="0"/>
              <a:t>carry in</a:t>
            </a:r>
            <a:r>
              <a:rPr lang="de-DE" sz="2400" dirty="0"/>
              <a:t>) für das </a:t>
            </a:r>
            <a:r>
              <a:rPr lang="de-DE" sz="2400"/>
              <a:t>MSB </a:t>
            </a:r>
            <a:r>
              <a:rPr lang="de-DE" sz="2400">
                <a:sym typeface="Symbol" pitchFamily="18" charset="2"/>
              </a:rPr>
              <a:t>ungleich </a:t>
            </a:r>
            <a:r>
              <a:rPr lang="de-DE" sz="2400" dirty="0">
                <a:sym typeface="Symbol" pitchFamily="18" charset="2"/>
              </a:rPr>
              <a:t>dem entstehenden </a:t>
            </a:r>
            <a:r>
              <a:rPr lang="de-DE" sz="2400" dirty="0" err="1">
                <a:sym typeface="Symbol" pitchFamily="18" charset="2"/>
              </a:rPr>
              <a:t>Übertragsbit</a:t>
            </a:r>
            <a:r>
              <a:rPr lang="de-DE" sz="2400" dirty="0">
                <a:sym typeface="Symbol" pitchFamily="18" charset="2"/>
              </a:rPr>
              <a:t> (</a:t>
            </a:r>
            <a:r>
              <a:rPr lang="de-DE" sz="2400" i="1" dirty="0">
                <a:sym typeface="Symbol" pitchFamily="18" charset="2"/>
              </a:rPr>
              <a:t>carry out</a:t>
            </a:r>
            <a:r>
              <a:rPr lang="de-DE" sz="2400" dirty="0">
                <a:sym typeface="Symbol" pitchFamily="18" charset="2"/>
              </a:rPr>
              <a:t>) aus der </a:t>
            </a:r>
            <a:r>
              <a:rPr lang="de-DE" sz="2400">
                <a:sym typeface="Symbol" pitchFamily="18" charset="2"/>
              </a:rPr>
              <a:t>Operation ist.</a:t>
            </a:r>
          </a:p>
          <a:p>
            <a:pPr marL="0" indent="0">
              <a:buNone/>
            </a:pPr>
            <a:endParaRPr lang="de-DE" sz="2400">
              <a:sym typeface="Symbol" pitchFamily="18" charset="2"/>
            </a:endParaRPr>
          </a:p>
          <a:p>
            <a:pPr marL="0" indent="0">
              <a:buNone/>
            </a:pPr>
            <a:endParaRPr lang="de-DE" sz="2400" dirty="0">
              <a:sym typeface="Symbol" pitchFamily="18" charset="2"/>
            </a:endParaRPr>
          </a:p>
          <a:p>
            <a:r>
              <a:rPr lang="en-GB" sz="2400" dirty="0" err="1"/>
              <a:t>Beispiel</a:t>
            </a:r>
            <a:r>
              <a:rPr lang="en-GB" sz="2400" dirty="0"/>
              <a:t> (4-Bit):</a:t>
            </a:r>
          </a:p>
          <a:p>
            <a:pPr>
              <a:buFont typeface="Arial" charset="0"/>
              <a:buNone/>
            </a:pPr>
            <a:r>
              <a:rPr lang="en-GB" sz="2200" dirty="0">
                <a:latin typeface="Courier New" pitchFamily="49" charset="0"/>
              </a:rPr>
              <a:t>		 </a:t>
            </a:r>
            <a:r>
              <a:rPr lang="en-GB" sz="2200" dirty="0"/>
              <a:t>carry out</a:t>
            </a:r>
            <a:r>
              <a:rPr lang="en-GB" sz="2200" dirty="0">
                <a:latin typeface="Courier New" pitchFamily="49" charset="0"/>
              </a:rPr>
              <a:t>	  	</a:t>
            </a:r>
            <a:r>
              <a:rPr lang="en-GB" sz="2200">
                <a:latin typeface="Courier New" pitchFamily="49" charset="0"/>
              </a:rPr>
              <a:t>  10</a:t>
            </a:r>
            <a:r>
              <a:rPr lang="en-GB" sz="2200" dirty="0">
                <a:latin typeface="Courier New" pitchFamily="49" charset="0"/>
              </a:rPr>
              <a:t>	     </a:t>
            </a:r>
            <a:r>
              <a:rPr lang="en-GB" sz="2200" dirty="0"/>
              <a:t>carry in</a:t>
            </a:r>
            <a:endParaRPr lang="en-GB" sz="2200" dirty="0">
              <a:latin typeface="Courier New" pitchFamily="49" charset="0"/>
            </a:endParaRPr>
          </a:p>
          <a:p>
            <a:pPr>
              <a:buFont typeface="Arial" charset="0"/>
              <a:buNone/>
            </a:pPr>
            <a:r>
              <a:rPr lang="en-GB" sz="2200" dirty="0">
                <a:latin typeface="Courier New" pitchFamily="49" charset="0"/>
              </a:rPr>
              <a:t>			 		 </a:t>
            </a:r>
            <a:r>
              <a:rPr lang="en-GB" sz="1100" dirty="0">
                <a:latin typeface="Courier New" pitchFamily="49" charset="0"/>
              </a:rPr>
              <a:t> 	</a:t>
            </a:r>
            <a:r>
              <a:rPr lang="en-GB" sz="1100">
                <a:latin typeface="Courier New" pitchFamily="49" charset="0"/>
              </a:rPr>
              <a:t>	</a:t>
            </a:r>
            <a:r>
              <a:rPr lang="en-GB" sz="2200">
                <a:latin typeface="Courier New" pitchFamily="49" charset="0"/>
              </a:rPr>
              <a:t>1000</a:t>
            </a:r>
            <a:endParaRPr lang="en-GB" sz="2200" dirty="0">
              <a:latin typeface="Courier New" pitchFamily="49" charset="0"/>
            </a:endParaRPr>
          </a:p>
          <a:p>
            <a:pPr>
              <a:buFont typeface="Arial" charset="0"/>
              <a:buNone/>
            </a:pPr>
            <a:r>
              <a:rPr lang="en-GB" sz="2200" dirty="0">
                <a:latin typeface="Courier New" pitchFamily="49" charset="0"/>
              </a:rPr>
              <a:t>				     </a:t>
            </a:r>
            <a:r>
              <a:rPr lang="en-GB" sz="2200">
                <a:latin typeface="Courier New" pitchFamily="49" charset="0"/>
              </a:rPr>
              <a:t>	</a:t>
            </a:r>
            <a:r>
              <a:rPr lang="en-GB" sz="2200" u="sng" dirty="0">
                <a:latin typeface="Courier New" pitchFamily="49" charset="0"/>
              </a:rPr>
              <a:t>+</a:t>
            </a:r>
            <a:r>
              <a:rPr lang="en-GB" sz="2200" u="sng">
                <a:latin typeface="Courier New" pitchFamily="49" charset="0"/>
              </a:rPr>
              <a:t> 	1111</a:t>
            </a:r>
            <a:endParaRPr lang="en-GB" sz="2200" u="sng" dirty="0">
              <a:latin typeface="Courier New" pitchFamily="49" charset="0"/>
            </a:endParaRPr>
          </a:p>
          <a:p>
            <a:pPr>
              <a:buFont typeface="Arial" charset="0"/>
              <a:buNone/>
            </a:pPr>
            <a:r>
              <a:rPr lang="en-GB" sz="2200" dirty="0">
                <a:latin typeface="Courier New" pitchFamily="49" charset="0"/>
              </a:rPr>
              <a:t>			  		 </a:t>
            </a:r>
            <a:r>
              <a:rPr lang="en-GB" sz="1200" dirty="0">
                <a:latin typeface="Courier New" pitchFamily="49" charset="0"/>
              </a:rPr>
              <a:t> 	</a:t>
            </a:r>
            <a:r>
              <a:rPr lang="en-GB" sz="1200">
                <a:latin typeface="Courier New" pitchFamily="49" charset="0"/>
              </a:rPr>
              <a:t>	</a:t>
            </a:r>
            <a:r>
              <a:rPr lang="en-GB" sz="2200">
                <a:latin typeface="Courier New" pitchFamily="49" charset="0"/>
              </a:rPr>
              <a:t>0111</a:t>
            </a:r>
            <a:r>
              <a:rPr lang="en-GB" sz="2200"/>
              <a:t> </a:t>
            </a:r>
            <a:endParaRPr lang="en-GB" sz="220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27</a:t>
            </a:fld>
            <a:endParaRPr lang="de-DE"/>
          </a:p>
        </p:txBody>
      </p:sp>
      <p:sp>
        <p:nvSpPr>
          <p:cNvPr id="8" name="Rectangle 4"/>
          <p:cNvSpPr txBox="1">
            <a:spLocks/>
          </p:cNvSpPr>
          <p:nvPr/>
        </p:nvSpPr>
        <p:spPr bwMode="auto">
          <a:xfrm>
            <a:off x="3201989" y="533400"/>
            <a:ext cx="7215187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488" tIns="44450" rIns="90488" bIns="44450"/>
          <a:lstStyle/>
          <a:p>
            <a:pPr eaLnBrk="0" hangingPunct="0">
              <a:defRPr/>
            </a:pPr>
            <a:endParaRPr lang="en-GB" sz="2800" dirty="0">
              <a:latin typeface="+mj-lt"/>
              <a:ea typeface="+mj-ea"/>
              <a:cs typeface="+mj-cs"/>
            </a:endParaRPr>
          </a:p>
        </p:txBody>
      </p:sp>
      <p:cxnSp>
        <p:nvCxnSpPr>
          <p:cNvPr id="9" name="Gerade Verbindung mit Pfeil 8"/>
          <p:cNvCxnSpPr/>
          <p:nvPr/>
        </p:nvCxnSpPr>
        <p:spPr>
          <a:xfrm rot="10800000">
            <a:off x="2495601" y="3815587"/>
            <a:ext cx="719138" cy="1588"/>
          </a:xfrm>
          <a:prstGeom prst="straightConnector1">
            <a:avLst/>
          </a:prstGeom>
          <a:ln w="15875"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mit Pfeil 11"/>
          <p:cNvCxnSpPr/>
          <p:nvPr/>
        </p:nvCxnSpPr>
        <p:spPr>
          <a:xfrm rot="10800000">
            <a:off x="3791745" y="3815587"/>
            <a:ext cx="792162" cy="1588"/>
          </a:xfrm>
          <a:prstGeom prst="straightConnector1">
            <a:avLst/>
          </a:prstGeom>
          <a:ln w="15875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Rechteck 2"/>
              <p:cNvSpPr/>
              <p:nvPr/>
            </p:nvSpPr>
            <p:spPr>
              <a:xfrm>
                <a:off x="3791744" y="2348880"/>
                <a:ext cx="4983116" cy="504056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 xmlns:m="http://schemas.openxmlformats.org/officeDocument/2006/math">
                    <m:r>
                      <a:rPr lang="de-DE" sz="2400" i="1">
                        <a:latin typeface="Cambria Math" panose="02040503050406030204" pitchFamily="18" charset="0"/>
                        <a:ea typeface="Cambria Math" panose="02040503050406030204" pitchFamily="18" charset="0"/>
                        <a:sym typeface="Symbol" pitchFamily="18" charset="2"/>
                      </a:rPr>
                      <m:t>𝑐𝑎𝑟𝑟𝑦</m:t>
                    </m:r>
                    <m:r>
                      <a:rPr lang="de-DE" sz="2400" i="1">
                        <a:latin typeface="Cambria Math" panose="02040503050406030204" pitchFamily="18" charset="0"/>
                        <a:ea typeface="Cambria Math" panose="02040503050406030204" pitchFamily="18" charset="0"/>
                        <a:sym typeface="Symbol" pitchFamily="18" charset="2"/>
                      </a:rPr>
                      <m:t> </m:t>
                    </m:r>
                    <m:r>
                      <a:rPr lang="de-DE" sz="2400" i="1">
                        <a:latin typeface="Cambria Math" panose="02040503050406030204" pitchFamily="18" charset="0"/>
                        <a:ea typeface="Cambria Math" panose="02040503050406030204" pitchFamily="18" charset="0"/>
                        <a:sym typeface="Symbol" pitchFamily="18" charset="2"/>
                      </a:rPr>
                      <m:t>𝑖𝑛</m:t>
                    </m:r>
                    <m:r>
                      <a:rPr lang="de-DE" sz="2400" i="1">
                        <a:latin typeface="Cambria Math" panose="02040503050406030204" pitchFamily="18" charset="0"/>
                        <a:ea typeface="Cambria Math" panose="02040503050406030204" pitchFamily="18" charset="0"/>
                        <a:sym typeface="Symbol" pitchFamily="18" charset="2"/>
                      </a:rPr>
                      <m:t>≠</m:t>
                    </m:r>
                    <m:r>
                      <a:rPr lang="de-DE" sz="2400" i="1">
                        <a:latin typeface="Cambria Math" panose="02040503050406030204" pitchFamily="18" charset="0"/>
                        <a:ea typeface="Cambria Math" panose="02040503050406030204" pitchFamily="18" charset="0"/>
                        <a:sym typeface="Symbol" pitchFamily="18" charset="2"/>
                      </a:rPr>
                      <m:t>𝑐𝑎𝑟𝑟𝑦</m:t>
                    </m:r>
                    <m:r>
                      <a:rPr lang="de-DE" sz="2400" i="1">
                        <a:latin typeface="Cambria Math" panose="02040503050406030204" pitchFamily="18" charset="0"/>
                        <a:ea typeface="Cambria Math" panose="02040503050406030204" pitchFamily="18" charset="0"/>
                        <a:sym typeface="Symbol" pitchFamily="18" charset="2"/>
                      </a:rPr>
                      <m:t> </m:t>
                    </m:r>
                    <m:r>
                      <a:rPr lang="de-DE" sz="2400" i="1">
                        <a:latin typeface="Cambria Math" panose="02040503050406030204" pitchFamily="18" charset="0"/>
                        <a:ea typeface="Cambria Math" panose="02040503050406030204" pitchFamily="18" charset="0"/>
                        <a:sym typeface="Symbol" pitchFamily="18" charset="2"/>
                      </a:rPr>
                      <m:t>𝑜𝑢𝑡</m:t>
                    </m:r>
                    <m:r>
                      <a:rPr lang="de-DE" sz="2400" i="1">
                        <a:latin typeface="Cambria Math" panose="02040503050406030204" pitchFamily="18" charset="0"/>
                        <a:ea typeface="Cambria Math" panose="02040503050406030204" pitchFamily="18" charset="0"/>
                        <a:sym typeface="Symbol" pitchFamily="18" charset="2"/>
                      </a:rPr>
                      <m:t> →Ü</m:t>
                    </m:r>
                    <m:r>
                      <a:rPr lang="de-DE" sz="2400" i="1">
                        <a:latin typeface="Cambria Math" panose="02040503050406030204" pitchFamily="18" charset="0"/>
                        <a:ea typeface="Cambria Math" panose="02040503050406030204" pitchFamily="18" charset="0"/>
                        <a:sym typeface="Symbol" pitchFamily="18" charset="2"/>
                      </a:rPr>
                      <m:t>𝑏𝑒𝑟𝑙𝑎𝑢𝑓</m:t>
                    </m:r>
                  </m:oMath>
                </a14:m>
                <a:r>
                  <a:rPr lang="de-DE" sz="2400">
                    <a:sym typeface="Symbol" pitchFamily="18" charset="2"/>
                  </a:rPr>
                  <a:t>  </a:t>
                </a:r>
                <a:endParaRPr lang="de-DE" sz="2400" dirty="0">
                  <a:sym typeface="Symbol" pitchFamily="18" charset="2"/>
                </a:endParaRPr>
              </a:p>
            </p:txBody>
          </p:sp>
        </mc:Choice>
        <mc:Fallback xmlns="">
          <p:sp>
            <p:nvSpPr>
              <p:cNvPr id="3" name="Rechteck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91744" y="2348880"/>
                <a:ext cx="4983116" cy="504056"/>
              </a:xfrm>
              <a:prstGeom prst="rect">
                <a:avLst/>
              </a:prstGeom>
              <a:blipFill>
                <a:blip r:embed="rId3"/>
                <a:stretch>
                  <a:fillRect b="-18072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13" name="Group 6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0298780"/>
              </p:ext>
            </p:extLst>
          </p:nvPr>
        </p:nvGraphicFramePr>
        <p:xfrm>
          <a:off x="6168008" y="3266900"/>
          <a:ext cx="5617842" cy="2645840"/>
        </p:xfrm>
        <a:graphic>
          <a:graphicData uri="http://schemas.openxmlformats.org/drawingml/2006/table">
            <a:tbl>
              <a:tblPr/>
              <a:tblGrid>
                <a:gridCol w="12961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920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2068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2352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92088">
                  <a:extLst>
                    <a:ext uri="{9D8B030D-6E8A-4147-A177-3AD203B41FA5}">
                      <a16:colId xmlns:a16="http://schemas.microsoft.com/office/drawing/2014/main" val="974411343"/>
                    </a:ext>
                  </a:extLst>
                </a:gridCol>
                <a:gridCol w="793306">
                  <a:extLst>
                    <a:ext uri="{9D8B030D-6E8A-4147-A177-3AD203B41FA5}">
                      <a16:colId xmlns:a16="http://schemas.microsoft.com/office/drawing/2014/main" val="765061225"/>
                    </a:ext>
                  </a:extLst>
                </a:gridCol>
              </a:tblGrid>
              <a:tr h="569735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Operation</a:t>
                      </a:r>
                      <a:endParaRPr kumimoji="0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FF">
                        <a:alpha val="2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A</a:t>
                      </a:r>
                      <a:endParaRPr kumimoji="0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FF">
                        <a:alpha val="2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B</a:t>
                      </a:r>
                      <a:endParaRPr kumimoji="0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FF">
                        <a:alpha val="2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Ergebnis</a:t>
                      </a:r>
                      <a:endParaRPr kumimoji="0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FF">
                        <a:alpha val="2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carry out</a:t>
                      </a:r>
                      <a:endParaRPr kumimoji="0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FF">
                        <a:alpha val="2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carry in</a:t>
                      </a:r>
                      <a:endParaRPr kumimoji="0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FF">
                        <a:alpha val="2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530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+B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sng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gt;</a:t>
                      </a:r>
                      <a:r>
                        <a:rPr kumimoji="0" lang="en-GB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0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sng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gt;</a:t>
                      </a:r>
                      <a:r>
                        <a:rPr kumimoji="0" lang="en-GB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0</a:t>
                      </a:r>
                      <a:endParaRPr kumimoji="0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lt; 0</a:t>
                      </a:r>
                      <a:endParaRPr kumimoji="0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530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+B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lt; 0</a:t>
                      </a:r>
                      <a:endParaRPr kumimoji="0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lt; 0</a:t>
                      </a:r>
                      <a:endParaRPr kumimoji="0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sng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gt;</a:t>
                      </a:r>
                      <a:r>
                        <a:rPr kumimoji="0" lang="en-GB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0</a:t>
                      </a:r>
                      <a:endParaRPr kumimoji="0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1378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530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-B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sng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gt;</a:t>
                      </a:r>
                      <a:r>
                        <a:rPr kumimoji="0" lang="en-GB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0</a:t>
                      </a:r>
                      <a:endParaRPr kumimoji="0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lt; 0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lt; 0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80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80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1530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-B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lt; 0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sng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gt;</a:t>
                      </a:r>
                      <a:r>
                        <a:rPr kumimoji="0" lang="en-GB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0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sng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gt;</a:t>
                      </a:r>
                      <a:r>
                        <a:rPr kumimoji="0" lang="en-GB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0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267597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/>
        </p:nvSpPr>
        <p:spPr>
          <a:xfrm>
            <a:off x="6168008" y="4837767"/>
            <a:ext cx="5617842" cy="54951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38100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0962" name="Rectangle 2"/>
          <p:cNvSpPr>
            <a:spLocks noChangeArrowheads="1"/>
          </p:cNvSpPr>
          <p:nvPr/>
        </p:nvSpPr>
        <p:spPr bwMode="auto">
          <a:xfrm>
            <a:off x="5026026" y="693739"/>
            <a:ext cx="2855913" cy="47783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/>
              <a:t>Überlauf</a:t>
            </a:r>
            <a:endParaRPr lang="de-DE" sz="3200" dirty="0"/>
          </a:p>
        </p:txBody>
      </p:sp>
      <p:sp>
        <p:nvSpPr>
          <p:cNvPr id="40963" name="Rectangle 3"/>
          <p:cNvSpPr>
            <a:spLocks noGrp="1"/>
          </p:cNvSpPr>
          <p:nvPr>
            <p:ph idx="1"/>
          </p:nvPr>
        </p:nvSpPr>
        <p:spPr>
          <a:xfrm>
            <a:off x="359990" y="958054"/>
            <a:ext cx="11472025" cy="4785525"/>
          </a:xfrm>
          <a:noFill/>
        </p:spPr>
        <p:txBody>
          <a:bodyPr vert="horz" lIns="90488" tIns="44450" rIns="90488" bIns="44450" rtlCol="0" anchor="ctr" anchorCtr="0">
            <a:normAutofit/>
          </a:bodyPr>
          <a:lstStyle/>
          <a:p>
            <a:r>
              <a:rPr lang="de-DE" sz="2400"/>
              <a:t>Ein Überlauf tritt genau dann </a:t>
            </a:r>
            <a:r>
              <a:rPr lang="de-DE" sz="2400" dirty="0"/>
              <a:t>auf, wenn das </a:t>
            </a:r>
            <a:r>
              <a:rPr lang="de-DE" sz="2400" dirty="0" err="1"/>
              <a:t>Übertragsbit</a:t>
            </a:r>
            <a:r>
              <a:rPr lang="de-DE" sz="2400" dirty="0"/>
              <a:t> (</a:t>
            </a:r>
            <a:r>
              <a:rPr lang="de-DE" sz="2400" i="1" dirty="0"/>
              <a:t>carry in</a:t>
            </a:r>
            <a:r>
              <a:rPr lang="de-DE" sz="2400" dirty="0"/>
              <a:t>) für das </a:t>
            </a:r>
            <a:r>
              <a:rPr lang="de-DE" sz="2400"/>
              <a:t>MSB </a:t>
            </a:r>
            <a:r>
              <a:rPr lang="de-DE" sz="2400">
                <a:sym typeface="Symbol" pitchFamily="18" charset="2"/>
              </a:rPr>
              <a:t>ungleich </a:t>
            </a:r>
            <a:r>
              <a:rPr lang="de-DE" sz="2400" dirty="0">
                <a:sym typeface="Symbol" pitchFamily="18" charset="2"/>
              </a:rPr>
              <a:t>dem entstehenden </a:t>
            </a:r>
            <a:r>
              <a:rPr lang="de-DE" sz="2400" dirty="0" err="1">
                <a:sym typeface="Symbol" pitchFamily="18" charset="2"/>
              </a:rPr>
              <a:t>Übertragsbit</a:t>
            </a:r>
            <a:r>
              <a:rPr lang="de-DE" sz="2400" dirty="0">
                <a:sym typeface="Symbol" pitchFamily="18" charset="2"/>
              </a:rPr>
              <a:t> (</a:t>
            </a:r>
            <a:r>
              <a:rPr lang="de-DE" sz="2400" i="1" dirty="0">
                <a:sym typeface="Symbol" pitchFamily="18" charset="2"/>
              </a:rPr>
              <a:t>carry out</a:t>
            </a:r>
            <a:r>
              <a:rPr lang="de-DE" sz="2400" dirty="0">
                <a:sym typeface="Symbol" pitchFamily="18" charset="2"/>
              </a:rPr>
              <a:t>) aus der </a:t>
            </a:r>
            <a:r>
              <a:rPr lang="de-DE" sz="2400">
                <a:sym typeface="Symbol" pitchFamily="18" charset="2"/>
              </a:rPr>
              <a:t>Operation ist.</a:t>
            </a:r>
          </a:p>
          <a:p>
            <a:pPr marL="0" indent="0">
              <a:buNone/>
            </a:pPr>
            <a:endParaRPr lang="de-DE" sz="2400">
              <a:sym typeface="Symbol" pitchFamily="18" charset="2"/>
            </a:endParaRPr>
          </a:p>
          <a:p>
            <a:pPr marL="0" indent="0">
              <a:buNone/>
            </a:pPr>
            <a:endParaRPr lang="de-DE" sz="2400" dirty="0">
              <a:sym typeface="Symbol" pitchFamily="18" charset="2"/>
            </a:endParaRPr>
          </a:p>
          <a:p>
            <a:r>
              <a:rPr lang="en-GB" sz="2800"/>
              <a:t>Beispiel (4-Bit):</a:t>
            </a:r>
          </a:p>
          <a:p>
            <a:pPr>
              <a:buFont typeface="Arial" charset="0"/>
              <a:buNone/>
            </a:pPr>
            <a:r>
              <a:rPr lang="en-GB" sz="2400">
                <a:latin typeface="Courier New" pitchFamily="49" charset="0"/>
              </a:rPr>
              <a:t>		 </a:t>
            </a:r>
            <a:r>
              <a:rPr lang="en-GB" sz="2400"/>
              <a:t>carry out</a:t>
            </a:r>
            <a:r>
              <a:rPr lang="en-GB" sz="2400">
                <a:latin typeface="Courier New" pitchFamily="49" charset="0"/>
              </a:rPr>
              <a:t>	  	 </a:t>
            </a:r>
            <a:r>
              <a:rPr lang="en-GB" sz="2000">
                <a:latin typeface="Courier New" pitchFamily="49" charset="0"/>
              </a:rPr>
              <a:t> </a:t>
            </a:r>
            <a:r>
              <a:rPr lang="en-GB" sz="2400">
                <a:latin typeface="Courier New" pitchFamily="49" charset="0"/>
              </a:rPr>
              <a:t>10	     </a:t>
            </a:r>
            <a:r>
              <a:rPr lang="en-GB" sz="2400"/>
              <a:t>carry in</a:t>
            </a:r>
            <a:endParaRPr lang="en-GB" sz="2400">
              <a:latin typeface="Courier New" pitchFamily="49" charset="0"/>
            </a:endParaRPr>
          </a:p>
          <a:p>
            <a:pPr>
              <a:buFont typeface="Arial" charset="0"/>
              <a:buNone/>
            </a:pPr>
            <a:r>
              <a:rPr lang="en-GB" sz="2400">
                <a:latin typeface="Courier New" pitchFamily="49" charset="0"/>
              </a:rPr>
              <a:t>			 		 </a:t>
            </a:r>
            <a:r>
              <a:rPr lang="en-GB" sz="1200">
                <a:latin typeface="Courier New" pitchFamily="49" charset="0"/>
              </a:rPr>
              <a:t> 		</a:t>
            </a:r>
            <a:r>
              <a:rPr lang="en-GB" sz="2400">
                <a:latin typeface="Courier New" pitchFamily="49" charset="0"/>
              </a:rPr>
              <a:t>0111</a:t>
            </a:r>
          </a:p>
          <a:p>
            <a:pPr>
              <a:buFont typeface="Arial" charset="0"/>
              <a:buNone/>
            </a:pPr>
            <a:r>
              <a:rPr lang="en-GB" sz="2400">
                <a:latin typeface="Courier New" pitchFamily="49" charset="0"/>
              </a:rPr>
              <a:t>				     	</a:t>
            </a:r>
            <a:r>
              <a:rPr lang="en-GB" sz="2400" u="sng">
                <a:latin typeface="Courier New" pitchFamily="49" charset="0"/>
              </a:rPr>
              <a:t>- 	1111</a:t>
            </a:r>
          </a:p>
          <a:p>
            <a:pPr>
              <a:buFont typeface="Arial" charset="0"/>
              <a:buNone/>
            </a:pPr>
            <a:r>
              <a:rPr lang="en-GB" sz="2400">
                <a:latin typeface="Courier New" pitchFamily="49" charset="0"/>
              </a:rPr>
              <a:t>			  		 </a:t>
            </a:r>
            <a:r>
              <a:rPr lang="en-GB" sz="1400">
                <a:latin typeface="Courier New" pitchFamily="49" charset="0"/>
              </a:rPr>
              <a:t> 		</a:t>
            </a:r>
            <a:r>
              <a:rPr lang="en-GB" sz="2400">
                <a:latin typeface="Courier New" pitchFamily="49" charset="0"/>
              </a:rPr>
              <a:t>1000</a:t>
            </a:r>
            <a:r>
              <a:rPr lang="en-GB" sz="2400"/>
              <a:t> </a:t>
            </a:r>
            <a:endParaRPr lang="en-GB" sz="240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28</a:t>
            </a:fld>
            <a:endParaRPr lang="de-DE"/>
          </a:p>
        </p:txBody>
      </p:sp>
      <p:sp>
        <p:nvSpPr>
          <p:cNvPr id="8" name="Rectangle 4"/>
          <p:cNvSpPr txBox="1">
            <a:spLocks/>
          </p:cNvSpPr>
          <p:nvPr/>
        </p:nvSpPr>
        <p:spPr bwMode="auto">
          <a:xfrm>
            <a:off x="3201989" y="533400"/>
            <a:ext cx="7215187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488" tIns="44450" rIns="90488" bIns="44450"/>
          <a:lstStyle/>
          <a:p>
            <a:pPr eaLnBrk="0" hangingPunct="0">
              <a:defRPr/>
            </a:pPr>
            <a:endParaRPr lang="en-GB" sz="2800" dirty="0">
              <a:latin typeface="+mj-lt"/>
              <a:ea typeface="+mj-ea"/>
              <a:cs typeface="+mj-cs"/>
            </a:endParaRPr>
          </a:p>
        </p:txBody>
      </p:sp>
      <p:cxnSp>
        <p:nvCxnSpPr>
          <p:cNvPr id="9" name="Gerade Verbindung mit Pfeil 8"/>
          <p:cNvCxnSpPr/>
          <p:nvPr/>
        </p:nvCxnSpPr>
        <p:spPr>
          <a:xfrm rot="10800000">
            <a:off x="2495601" y="3815587"/>
            <a:ext cx="719138" cy="1588"/>
          </a:xfrm>
          <a:prstGeom prst="straightConnector1">
            <a:avLst/>
          </a:prstGeom>
          <a:ln w="15875"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mit Pfeil 11"/>
          <p:cNvCxnSpPr/>
          <p:nvPr/>
        </p:nvCxnSpPr>
        <p:spPr>
          <a:xfrm rot="10800000">
            <a:off x="3791745" y="3815587"/>
            <a:ext cx="792162" cy="1588"/>
          </a:xfrm>
          <a:prstGeom prst="straightConnector1">
            <a:avLst/>
          </a:prstGeom>
          <a:ln w="15875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Rechteck 2"/>
              <p:cNvSpPr/>
              <p:nvPr/>
            </p:nvSpPr>
            <p:spPr>
              <a:xfrm>
                <a:off x="3791744" y="2348880"/>
                <a:ext cx="4983116" cy="504056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 xmlns:m="http://schemas.openxmlformats.org/officeDocument/2006/math">
                    <m:r>
                      <a:rPr lang="de-DE" sz="2400" i="1">
                        <a:latin typeface="Cambria Math" panose="02040503050406030204" pitchFamily="18" charset="0"/>
                        <a:ea typeface="Cambria Math" panose="02040503050406030204" pitchFamily="18" charset="0"/>
                        <a:sym typeface="Symbol" pitchFamily="18" charset="2"/>
                      </a:rPr>
                      <m:t>𝑐𝑎𝑟𝑟𝑦</m:t>
                    </m:r>
                    <m:r>
                      <a:rPr lang="de-DE" sz="2400" i="1">
                        <a:latin typeface="Cambria Math" panose="02040503050406030204" pitchFamily="18" charset="0"/>
                        <a:ea typeface="Cambria Math" panose="02040503050406030204" pitchFamily="18" charset="0"/>
                        <a:sym typeface="Symbol" pitchFamily="18" charset="2"/>
                      </a:rPr>
                      <m:t> </m:t>
                    </m:r>
                    <m:r>
                      <a:rPr lang="de-DE" sz="2400" i="1">
                        <a:latin typeface="Cambria Math" panose="02040503050406030204" pitchFamily="18" charset="0"/>
                        <a:ea typeface="Cambria Math" panose="02040503050406030204" pitchFamily="18" charset="0"/>
                        <a:sym typeface="Symbol" pitchFamily="18" charset="2"/>
                      </a:rPr>
                      <m:t>𝑖𝑛</m:t>
                    </m:r>
                    <m:r>
                      <a:rPr lang="de-DE" sz="2400" i="1">
                        <a:latin typeface="Cambria Math" panose="02040503050406030204" pitchFamily="18" charset="0"/>
                        <a:ea typeface="Cambria Math" panose="02040503050406030204" pitchFamily="18" charset="0"/>
                        <a:sym typeface="Symbol" pitchFamily="18" charset="2"/>
                      </a:rPr>
                      <m:t>≠</m:t>
                    </m:r>
                    <m:r>
                      <a:rPr lang="de-DE" sz="2400" i="1">
                        <a:latin typeface="Cambria Math" panose="02040503050406030204" pitchFamily="18" charset="0"/>
                        <a:ea typeface="Cambria Math" panose="02040503050406030204" pitchFamily="18" charset="0"/>
                        <a:sym typeface="Symbol" pitchFamily="18" charset="2"/>
                      </a:rPr>
                      <m:t>𝑐𝑎𝑟𝑟𝑦</m:t>
                    </m:r>
                    <m:r>
                      <a:rPr lang="de-DE" sz="2400" i="1">
                        <a:latin typeface="Cambria Math" panose="02040503050406030204" pitchFamily="18" charset="0"/>
                        <a:ea typeface="Cambria Math" panose="02040503050406030204" pitchFamily="18" charset="0"/>
                        <a:sym typeface="Symbol" pitchFamily="18" charset="2"/>
                      </a:rPr>
                      <m:t> </m:t>
                    </m:r>
                    <m:r>
                      <a:rPr lang="de-DE" sz="2400" i="1">
                        <a:latin typeface="Cambria Math" panose="02040503050406030204" pitchFamily="18" charset="0"/>
                        <a:ea typeface="Cambria Math" panose="02040503050406030204" pitchFamily="18" charset="0"/>
                        <a:sym typeface="Symbol" pitchFamily="18" charset="2"/>
                      </a:rPr>
                      <m:t>𝑜𝑢𝑡</m:t>
                    </m:r>
                    <m:r>
                      <a:rPr lang="de-DE" sz="2400" i="1">
                        <a:latin typeface="Cambria Math" panose="02040503050406030204" pitchFamily="18" charset="0"/>
                        <a:ea typeface="Cambria Math" panose="02040503050406030204" pitchFamily="18" charset="0"/>
                        <a:sym typeface="Symbol" pitchFamily="18" charset="2"/>
                      </a:rPr>
                      <m:t> →Ü</m:t>
                    </m:r>
                    <m:r>
                      <a:rPr lang="de-DE" sz="2400" i="1">
                        <a:latin typeface="Cambria Math" panose="02040503050406030204" pitchFamily="18" charset="0"/>
                        <a:ea typeface="Cambria Math" panose="02040503050406030204" pitchFamily="18" charset="0"/>
                        <a:sym typeface="Symbol" pitchFamily="18" charset="2"/>
                      </a:rPr>
                      <m:t>𝑏𝑒𝑟𝑙𝑎𝑢𝑓</m:t>
                    </m:r>
                  </m:oMath>
                </a14:m>
                <a:r>
                  <a:rPr lang="de-DE" sz="2400">
                    <a:sym typeface="Symbol" pitchFamily="18" charset="2"/>
                  </a:rPr>
                  <a:t>  </a:t>
                </a:r>
                <a:endParaRPr lang="de-DE" sz="2400" dirty="0">
                  <a:sym typeface="Symbol" pitchFamily="18" charset="2"/>
                </a:endParaRPr>
              </a:p>
            </p:txBody>
          </p:sp>
        </mc:Choice>
        <mc:Fallback xmlns="">
          <p:sp>
            <p:nvSpPr>
              <p:cNvPr id="3" name="Rechteck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91744" y="2348880"/>
                <a:ext cx="4983116" cy="504056"/>
              </a:xfrm>
              <a:prstGeom prst="rect">
                <a:avLst/>
              </a:prstGeom>
              <a:blipFill>
                <a:blip r:embed="rId3"/>
                <a:stretch>
                  <a:fillRect b="-18072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13" name="Group 6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93002433"/>
              </p:ext>
            </p:extLst>
          </p:nvPr>
        </p:nvGraphicFramePr>
        <p:xfrm>
          <a:off x="6168008" y="3266900"/>
          <a:ext cx="5617842" cy="2645840"/>
        </p:xfrm>
        <a:graphic>
          <a:graphicData uri="http://schemas.openxmlformats.org/drawingml/2006/table">
            <a:tbl>
              <a:tblPr/>
              <a:tblGrid>
                <a:gridCol w="12961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920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2068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2352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92088">
                  <a:extLst>
                    <a:ext uri="{9D8B030D-6E8A-4147-A177-3AD203B41FA5}">
                      <a16:colId xmlns:a16="http://schemas.microsoft.com/office/drawing/2014/main" val="974411343"/>
                    </a:ext>
                  </a:extLst>
                </a:gridCol>
                <a:gridCol w="793306">
                  <a:extLst>
                    <a:ext uri="{9D8B030D-6E8A-4147-A177-3AD203B41FA5}">
                      <a16:colId xmlns:a16="http://schemas.microsoft.com/office/drawing/2014/main" val="765061225"/>
                    </a:ext>
                  </a:extLst>
                </a:gridCol>
              </a:tblGrid>
              <a:tr h="569735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Operation</a:t>
                      </a:r>
                      <a:endParaRPr kumimoji="0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FF">
                        <a:alpha val="2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A</a:t>
                      </a:r>
                      <a:endParaRPr kumimoji="0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FF">
                        <a:alpha val="2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B</a:t>
                      </a:r>
                      <a:endParaRPr kumimoji="0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FF">
                        <a:alpha val="2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Ergebnis</a:t>
                      </a:r>
                      <a:endParaRPr kumimoji="0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FF">
                        <a:alpha val="2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carry out</a:t>
                      </a:r>
                      <a:endParaRPr kumimoji="0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FF">
                        <a:alpha val="2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carry in</a:t>
                      </a:r>
                      <a:endParaRPr kumimoji="0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FF">
                        <a:alpha val="2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530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+B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sng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gt;</a:t>
                      </a:r>
                      <a:r>
                        <a:rPr kumimoji="0" lang="en-GB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0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sng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gt;</a:t>
                      </a:r>
                      <a:r>
                        <a:rPr kumimoji="0" lang="en-GB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0</a:t>
                      </a:r>
                      <a:endParaRPr kumimoji="0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lt; 0</a:t>
                      </a:r>
                      <a:endParaRPr kumimoji="0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530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+B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lt; 0</a:t>
                      </a:r>
                      <a:endParaRPr kumimoji="0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lt; 0</a:t>
                      </a:r>
                      <a:endParaRPr kumimoji="0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sng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gt;</a:t>
                      </a:r>
                      <a:r>
                        <a:rPr kumimoji="0" lang="en-GB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0</a:t>
                      </a:r>
                      <a:endParaRPr kumimoji="0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1378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530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-B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sng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gt;</a:t>
                      </a:r>
                      <a:r>
                        <a:rPr kumimoji="0" lang="en-GB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0</a:t>
                      </a:r>
                      <a:endParaRPr kumimoji="0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lt; 0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lt; 0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1530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-B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lt; 0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sng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gt;</a:t>
                      </a:r>
                      <a:r>
                        <a:rPr kumimoji="0" lang="en-GB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0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sng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gt;</a:t>
                      </a:r>
                      <a:r>
                        <a:rPr kumimoji="0" lang="en-GB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0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768830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/>
        </p:nvSpPr>
        <p:spPr>
          <a:xfrm>
            <a:off x="6168008" y="5355891"/>
            <a:ext cx="5617842" cy="54951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38100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0962" name="Rectangle 2"/>
          <p:cNvSpPr>
            <a:spLocks noChangeArrowheads="1"/>
          </p:cNvSpPr>
          <p:nvPr/>
        </p:nvSpPr>
        <p:spPr bwMode="auto">
          <a:xfrm>
            <a:off x="5026026" y="693739"/>
            <a:ext cx="2855913" cy="47783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/>
              <a:t>Überlauf</a:t>
            </a:r>
            <a:endParaRPr lang="de-DE" sz="3200" dirty="0"/>
          </a:p>
        </p:txBody>
      </p:sp>
      <p:sp>
        <p:nvSpPr>
          <p:cNvPr id="40963" name="Rectangle 3"/>
          <p:cNvSpPr>
            <a:spLocks noGrp="1"/>
          </p:cNvSpPr>
          <p:nvPr>
            <p:ph idx="1"/>
          </p:nvPr>
        </p:nvSpPr>
        <p:spPr>
          <a:xfrm>
            <a:off x="359990" y="958054"/>
            <a:ext cx="11472025" cy="4785525"/>
          </a:xfrm>
          <a:noFill/>
        </p:spPr>
        <p:txBody>
          <a:bodyPr vert="horz" lIns="90488" tIns="44450" rIns="90488" bIns="44450" rtlCol="0" anchor="ctr" anchorCtr="0">
            <a:normAutofit/>
          </a:bodyPr>
          <a:lstStyle/>
          <a:p>
            <a:r>
              <a:rPr lang="de-DE" sz="2400"/>
              <a:t>Ein Überlauf tritt genau dann </a:t>
            </a:r>
            <a:r>
              <a:rPr lang="de-DE" sz="2400" dirty="0"/>
              <a:t>auf, wenn das </a:t>
            </a:r>
            <a:r>
              <a:rPr lang="de-DE" sz="2400" dirty="0" err="1"/>
              <a:t>Übertragsbit</a:t>
            </a:r>
            <a:r>
              <a:rPr lang="de-DE" sz="2400" dirty="0"/>
              <a:t> (</a:t>
            </a:r>
            <a:r>
              <a:rPr lang="de-DE" sz="2400" i="1" dirty="0"/>
              <a:t>carry in</a:t>
            </a:r>
            <a:r>
              <a:rPr lang="de-DE" sz="2400" dirty="0"/>
              <a:t>) für das </a:t>
            </a:r>
            <a:r>
              <a:rPr lang="de-DE" sz="2400"/>
              <a:t>MSB </a:t>
            </a:r>
            <a:r>
              <a:rPr lang="de-DE" sz="2400">
                <a:sym typeface="Symbol" pitchFamily="18" charset="2"/>
              </a:rPr>
              <a:t>ungleich </a:t>
            </a:r>
            <a:r>
              <a:rPr lang="de-DE" sz="2400" dirty="0">
                <a:sym typeface="Symbol" pitchFamily="18" charset="2"/>
              </a:rPr>
              <a:t>dem entstehenden </a:t>
            </a:r>
            <a:r>
              <a:rPr lang="de-DE" sz="2400" dirty="0" err="1">
                <a:sym typeface="Symbol" pitchFamily="18" charset="2"/>
              </a:rPr>
              <a:t>Übertragsbit</a:t>
            </a:r>
            <a:r>
              <a:rPr lang="de-DE" sz="2400" dirty="0">
                <a:sym typeface="Symbol" pitchFamily="18" charset="2"/>
              </a:rPr>
              <a:t> (</a:t>
            </a:r>
            <a:r>
              <a:rPr lang="de-DE" sz="2400" i="1" dirty="0">
                <a:sym typeface="Symbol" pitchFamily="18" charset="2"/>
              </a:rPr>
              <a:t>carry out</a:t>
            </a:r>
            <a:r>
              <a:rPr lang="de-DE" sz="2400" dirty="0">
                <a:sym typeface="Symbol" pitchFamily="18" charset="2"/>
              </a:rPr>
              <a:t>) aus der </a:t>
            </a:r>
            <a:r>
              <a:rPr lang="de-DE" sz="2400">
                <a:sym typeface="Symbol" pitchFamily="18" charset="2"/>
              </a:rPr>
              <a:t>Operation ist.</a:t>
            </a:r>
          </a:p>
          <a:p>
            <a:pPr marL="0" indent="0">
              <a:buNone/>
            </a:pPr>
            <a:endParaRPr lang="de-DE" sz="2400">
              <a:sym typeface="Symbol" pitchFamily="18" charset="2"/>
            </a:endParaRPr>
          </a:p>
          <a:p>
            <a:pPr marL="0" indent="0">
              <a:buNone/>
            </a:pPr>
            <a:endParaRPr lang="de-DE" sz="2400" dirty="0">
              <a:sym typeface="Symbol" pitchFamily="18" charset="2"/>
            </a:endParaRPr>
          </a:p>
          <a:p>
            <a:r>
              <a:rPr lang="en-GB" sz="2800"/>
              <a:t>Beispiel (4-Bit):</a:t>
            </a:r>
          </a:p>
          <a:p>
            <a:pPr>
              <a:buFont typeface="Arial" charset="0"/>
              <a:buNone/>
            </a:pPr>
            <a:r>
              <a:rPr lang="en-GB" sz="2400">
                <a:latin typeface="Courier New" pitchFamily="49" charset="0"/>
              </a:rPr>
              <a:t>		 </a:t>
            </a:r>
            <a:r>
              <a:rPr lang="en-GB" sz="2400"/>
              <a:t>carry out</a:t>
            </a:r>
            <a:r>
              <a:rPr lang="en-GB" sz="2400">
                <a:latin typeface="Courier New" pitchFamily="49" charset="0"/>
              </a:rPr>
              <a:t>	  	 </a:t>
            </a:r>
            <a:r>
              <a:rPr lang="en-GB">
                <a:latin typeface="Courier New" pitchFamily="49" charset="0"/>
              </a:rPr>
              <a:t> </a:t>
            </a:r>
            <a:r>
              <a:rPr lang="en-GB" sz="2400">
                <a:latin typeface="Courier New" pitchFamily="49" charset="0"/>
              </a:rPr>
              <a:t>01	     </a:t>
            </a:r>
            <a:r>
              <a:rPr lang="en-GB" sz="2400"/>
              <a:t>carry in</a:t>
            </a:r>
            <a:endParaRPr lang="en-GB" sz="2400">
              <a:latin typeface="Courier New" pitchFamily="49" charset="0"/>
            </a:endParaRPr>
          </a:p>
          <a:p>
            <a:pPr>
              <a:buFont typeface="Arial" charset="0"/>
              <a:buNone/>
            </a:pPr>
            <a:r>
              <a:rPr lang="en-GB" sz="2400">
                <a:latin typeface="Courier New" pitchFamily="49" charset="0"/>
              </a:rPr>
              <a:t>			 		 </a:t>
            </a:r>
            <a:r>
              <a:rPr lang="en-GB" sz="1200">
                <a:latin typeface="Courier New" pitchFamily="49" charset="0"/>
              </a:rPr>
              <a:t> 		</a:t>
            </a:r>
            <a:r>
              <a:rPr lang="en-GB" sz="2400">
                <a:latin typeface="Courier New" pitchFamily="49" charset="0"/>
              </a:rPr>
              <a:t>1000</a:t>
            </a:r>
          </a:p>
          <a:p>
            <a:pPr>
              <a:buFont typeface="Arial" charset="0"/>
              <a:buNone/>
            </a:pPr>
            <a:r>
              <a:rPr lang="en-GB" sz="2400">
                <a:latin typeface="Courier New" pitchFamily="49" charset="0"/>
              </a:rPr>
              <a:t>				     	</a:t>
            </a:r>
            <a:r>
              <a:rPr lang="en-GB" sz="2400" u="sng">
                <a:latin typeface="Courier New" pitchFamily="49" charset="0"/>
              </a:rPr>
              <a:t>- 	0001</a:t>
            </a:r>
          </a:p>
          <a:p>
            <a:pPr>
              <a:buFont typeface="Arial" charset="0"/>
              <a:buNone/>
            </a:pPr>
            <a:r>
              <a:rPr lang="en-GB" sz="2400">
                <a:latin typeface="Courier New" pitchFamily="49" charset="0"/>
              </a:rPr>
              <a:t>			  		 </a:t>
            </a:r>
            <a:r>
              <a:rPr lang="en-GB" sz="1400">
                <a:latin typeface="Courier New" pitchFamily="49" charset="0"/>
              </a:rPr>
              <a:t> 		</a:t>
            </a:r>
            <a:r>
              <a:rPr lang="en-GB" sz="2400">
                <a:latin typeface="Courier New" pitchFamily="49" charset="0"/>
              </a:rPr>
              <a:t>0111</a:t>
            </a:r>
            <a:r>
              <a:rPr lang="en-GB" sz="2400"/>
              <a:t> </a:t>
            </a:r>
            <a:endParaRPr lang="en-GB" sz="240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29</a:t>
            </a:fld>
            <a:endParaRPr lang="de-DE"/>
          </a:p>
        </p:txBody>
      </p:sp>
      <p:sp>
        <p:nvSpPr>
          <p:cNvPr id="8" name="Rectangle 4"/>
          <p:cNvSpPr txBox="1">
            <a:spLocks/>
          </p:cNvSpPr>
          <p:nvPr/>
        </p:nvSpPr>
        <p:spPr bwMode="auto">
          <a:xfrm>
            <a:off x="3201989" y="533400"/>
            <a:ext cx="7215187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488" tIns="44450" rIns="90488" bIns="44450"/>
          <a:lstStyle/>
          <a:p>
            <a:pPr eaLnBrk="0" hangingPunct="0">
              <a:defRPr/>
            </a:pPr>
            <a:endParaRPr lang="en-GB" sz="2800" dirty="0">
              <a:latin typeface="+mj-lt"/>
              <a:ea typeface="+mj-ea"/>
              <a:cs typeface="+mj-cs"/>
            </a:endParaRPr>
          </a:p>
        </p:txBody>
      </p:sp>
      <p:cxnSp>
        <p:nvCxnSpPr>
          <p:cNvPr id="9" name="Gerade Verbindung mit Pfeil 8"/>
          <p:cNvCxnSpPr/>
          <p:nvPr/>
        </p:nvCxnSpPr>
        <p:spPr>
          <a:xfrm rot="10800000">
            <a:off x="2495601" y="3815587"/>
            <a:ext cx="719138" cy="1588"/>
          </a:xfrm>
          <a:prstGeom prst="straightConnector1">
            <a:avLst/>
          </a:prstGeom>
          <a:ln w="15875"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mit Pfeil 11"/>
          <p:cNvCxnSpPr/>
          <p:nvPr/>
        </p:nvCxnSpPr>
        <p:spPr>
          <a:xfrm rot="10800000">
            <a:off x="3791745" y="3815587"/>
            <a:ext cx="792162" cy="1588"/>
          </a:xfrm>
          <a:prstGeom prst="straightConnector1">
            <a:avLst/>
          </a:prstGeom>
          <a:ln w="15875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Rechteck 2"/>
              <p:cNvSpPr/>
              <p:nvPr/>
            </p:nvSpPr>
            <p:spPr>
              <a:xfrm>
                <a:off x="3791744" y="2348880"/>
                <a:ext cx="4983116" cy="504056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 xmlns:m="http://schemas.openxmlformats.org/officeDocument/2006/math">
                    <m:r>
                      <a:rPr lang="de-DE" sz="2400" i="1">
                        <a:latin typeface="Cambria Math" panose="02040503050406030204" pitchFamily="18" charset="0"/>
                        <a:ea typeface="Cambria Math" panose="02040503050406030204" pitchFamily="18" charset="0"/>
                        <a:sym typeface="Symbol" pitchFamily="18" charset="2"/>
                      </a:rPr>
                      <m:t>𝑐𝑎𝑟𝑟𝑦</m:t>
                    </m:r>
                    <m:r>
                      <a:rPr lang="de-DE" sz="2400" i="1">
                        <a:latin typeface="Cambria Math" panose="02040503050406030204" pitchFamily="18" charset="0"/>
                        <a:ea typeface="Cambria Math" panose="02040503050406030204" pitchFamily="18" charset="0"/>
                        <a:sym typeface="Symbol" pitchFamily="18" charset="2"/>
                      </a:rPr>
                      <m:t> </m:t>
                    </m:r>
                    <m:r>
                      <a:rPr lang="de-DE" sz="2400" i="1">
                        <a:latin typeface="Cambria Math" panose="02040503050406030204" pitchFamily="18" charset="0"/>
                        <a:ea typeface="Cambria Math" panose="02040503050406030204" pitchFamily="18" charset="0"/>
                        <a:sym typeface="Symbol" pitchFamily="18" charset="2"/>
                      </a:rPr>
                      <m:t>𝑖𝑛</m:t>
                    </m:r>
                    <m:r>
                      <a:rPr lang="de-DE" sz="2400" i="1">
                        <a:latin typeface="Cambria Math" panose="02040503050406030204" pitchFamily="18" charset="0"/>
                        <a:ea typeface="Cambria Math" panose="02040503050406030204" pitchFamily="18" charset="0"/>
                        <a:sym typeface="Symbol" pitchFamily="18" charset="2"/>
                      </a:rPr>
                      <m:t>≠</m:t>
                    </m:r>
                    <m:r>
                      <a:rPr lang="de-DE" sz="2400" i="1">
                        <a:latin typeface="Cambria Math" panose="02040503050406030204" pitchFamily="18" charset="0"/>
                        <a:ea typeface="Cambria Math" panose="02040503050406030204" pitchFamily="18" charset="0"/>
                        <a:sym typeface="Symbol" pitchFamily="18" charset="2"/>
                      </a:rPr>
                      <m:t>𝑐𝑎𝑟𝑟𝑦</m:t>
                    </m:r>
                    <m:r>
                      <a:rPr lang="de-DE" sz="2400" i="1">
                        <a:latin typeface="Cambria Math" panose="02040503050406030204" pitchFamily="18" charset="0"/>
                        <a:ea typeface="Cambria Math" panose="02040503050406030204" pitchFamily="18" charset="0"/>
                        <a:sym typeface="Symbol" pitchFamily="18" charset="2"/>
                      </a:rPr>
                      <m:t> </m:t>
                    </m:r>
                    <m:r>
                      <a:rPr lang="de-DE" sz="2400" i="1">
                        <a:latin typeface="Cambria Math" panose="02040503050406030204" pitchFamily="18" charset="0"/>
                        <a:ea typeface="Cambria Math" panose="02040503050406030204" pitchFamily="18" charset="0"/>
                        <a:sym typeface="Symbol" pitchFamily="18" charset="2"/>
                      </a:rPr>
                      <m:t>𝑜𝑢𝑡</m:t>
                    </m:r>
                    <m:r>
                      <a:rPr lang="de-DE" sz="2400" i="1">
                        <a:latin typeface="Cambria Math" panose="02040503050406030204" pitchFamily="18" charset="0"/>
                        <a:ea typeface="Cambria Math" panose="02040503050406030204" pitchFamily="18" charset="0"/>
                        <a:sym typeface="Symbol" pitchFamily="18" charset="2"/>
                      </a:rPr>
                      <m:t> →Ü</m:t>
                    </m:r>
                    <m:r>
                      <a:rPr lang="de-DE" sz="2400" i="1">
                        <a:latin typeface="Cambria Math" panose="02040503050406030204" pitchFamily="18" charset="0"/>
                        <a:ea typeface="Cambria Math" panose="02040503050406030204" pitchFamily="18" charset="0"/>
                        <a:sym typeface="Symbol" pitchFamily="18" charset="2"/>
                      </a:rPr>
                      <m:t>𝑏𝑒𝑟𝑙𝑎𝑢𝑓</m:t>
                    </m:r>
                  </m:oMath>
                </a14:m>
                <a:r>
                  <a:rPr lang="de-DE" sz="2400">
                    <a:sym typeface="Symbol" pitchFamily="18" charset="2"/>
                  </a:rPr>
                  <a:t>  </a:t>
                </a:r>
                <a:endParaRPr lang="de-DE" sz="2400" dirty="0">
                  <a:sym typeface="Symbol" pitchFamily="18" charset="2"/>
                </a:endParaRPr>
              </a:p>
            </p:txBody>
          </p:sp>
        </mc:Choice>
        <mc:Fallback xmlns="">
          <p:sp>
            <p:nvSpPr>
              <p:cNvPr id="3" name="Rechteck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91744" y="2348880"/>
                <a:ext cx="4983116" cy="504056"/>
              </a:xfrm>
              <a:prstGeom prst="rect">
                <a:avLst/>
              </a:prstGeom>
              <a:blipFill>
                <a:blip r:embed="rId3"/>
                <a:stretch>
                  <a:fillRect b="-18072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13" name="Group 6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2090269"/>
              </p:ext>
            </p:extLst>
          </p:nvPr>
        </p:nvGraphicFramePr>
        <p:xfrm>
          <a:off x="6168008" y="3266900"/>
          <a:ext cx="5617842" cy="2645840"/>
        </p:xfrm>
        <a:graphic>
          <a:graphicData uri="http://schemas.openxmlformats.org/drawingml/2006/table">
            <a:tbl>
              <a:tblPr/>
              <a:tblGrid>
                <a:gridCol w="12961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920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2068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2352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92088">
                  <a:extLst>
                    <a:ext uri="{9D8B030D-6E8A-4147-A177-3AD203B41FA5}">
                      <a16:colId xmlns:a16="http://schemas.microsoft.com/office/drawing/2014/main" val="974411343"/>
                    </a:ext>
                  </a:extLst>
                </a:gridCol>
                <a:gridCol w="793306">
                  <a:extLst>
                    <a:ext uri="{9D8B030D-6E8A-4147-A177-3AD203B41FA5}">
                      <a16:colId xmlns:a16="http://schemas.microsoft.com/office/drawing/2014/main" val="765061225"/>
                    </a:ext>
                  </a:extLst>
                </a:gridCol>
              </a:tblGrid>
              <a:tr h="569735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Operation</a:t>
                      </a:r>
                      <a:endParaRPr kumimoji="0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FF">
                        <a:alpha val="2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A</a:t>
                      </a:r>
                      <a:endParaRPr kumimoji="0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FF">
                        <a:alpha val="2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B</a:t>
                      </a:r>
                      <a:endParaRPr kumimoji="0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FF">
                        <a:alpha val="2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Ergebnis</a:t>
                      </a:r>
                      <a:endParaRPr kumimoji="0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FF">
                        <a:alpha val="2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carry out</a:t>
                      </a:r>
                      <a:endParaRPr kumimoji="0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FF">
                        <a:alpha val="2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carry in</a:t>
                      </a:r>
                      <a:endParaRPr kumimoji="0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FF">
                        <a:alpha val="2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530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+B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sng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gt;</a:t>
                      </a:r>
                      <a:r>
                        <a:rPr kumimoji="0" lang="en-GB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0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sng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gt;</a:t>
                      </a:r>
                      <a:r>
                        <a:rPr kumimoji="0" lang="en-GB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0</a:t>
                      </a:r>
                      <a:endParaRPr kumimoji="0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lt; 0</a:t>
                      </a:r>
                      <a:endParaRPr kumimoji="0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530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+B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lt; 0</a:t>
                      </a:r>
                      <a:endParaRPr kumimoji="0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lt; 0</a:t>
                      </a:r>
                      <a:endParaRPr kumimoji="0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sng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gt;</a:t>
                      </a:r>
                      <a:r>
                        <a:rPr kumimoji="0" lang="en-GB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0</a:t>
                      </a:r>
                      <a:endParaRPr kumimoji="0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1378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530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-B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sng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gt;</a:t>
                      </a:r>
                      <a:r>
                        <a:rPr kumimoji="0" lang="en-GB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0</a:t>
                      </a:r>
                      <a:endParaRPr kumimoji="0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lt; 0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lt; 0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1530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-B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lt; 0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sng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gt;</a:t>
                      </a:r>
                      <a:r>
                        <a:rPr kumimoji="0" lang="en-GB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0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sz="1800" b="0" i="0" u="sng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gt;</a:t>
                      </a:r>
                      <a:r>
                        <a:rPr kumimoji="0" lang="en-GB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0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18000" marB="180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515177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Übersicht über die heutige Vorlesu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r>
              <a:rPr lang="de-DE" sz="2400" dirty="0"/>
              <a:t>Zahlensysteme und ihre Konvertierung</a:t>
            </a:r>
          </a:p>
          <a:p>
            <a:r>
              <a:rPr lang="de-DE" sz="2400" dirty="0"/>
              <a:t>Vorzeichenbehaftete und vorzeichenlose Zahlen</a:t>
            </a:r>
          </a:p>
          <a:p>
            <a:r>
              <a:rPr lang="de-DE" sz="2400" dirty="0"/>
              <a:t>Arithmetische Operationen</a:t>
            </a:r>
          </a:p>
          <a:p>
            <a:pPr lvl="1"/>
            <a:r>
              <a:rPr lang="de-DE" sz="2200" dirty="0"/>
              <a:t>Addition und Subtraktion</a:t>
            </a:r>
          </a:p>
          <a:p>
            <a:pPr lvl="1"/>
            <a:r>
              <a:rPr lang="de-DE" sz="2200" dirty="0"/>
              <a:t>Multiplikation</a:t>
            </a:r>
          </a:p>
          <a:p>
            <a:pPr lvl="1"/>
            <a:r>
              <a:rPr lang="de-DE" sz="2200" dirty="0"/>
              <a:t>Division</a:t>
            </a:r>
          </a:p>
          <a:p>
            <a:r>
              <a:rPr lang="de-DE" sz="2400" dirty="0"/>
              <a:t>Gleitkommazahlen (Floating Point)</a:t>
            </a:r>
          </a:p>
          <a:p>
            <a:r>
              <a:rPr lang="de-DE" sz="2400" dirty="0"/>
              <a:t>„Pentium Bug“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352413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2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GB" sz="2800" dirty="0" err="1"/>
              <a:t>Multiplikation</a:t>
            </a:r>
            <a:endParaRPr lang="en-US" dirty="0"/>
          </a:p>
        </p:txBody>
      </p:sp>
      <p:sp>
        <p:nvSpPr>
          <p:cNvPr id="48131" name="Rectangle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2400" dirty="0"/>
              <a:t>Für den Moment betrachten wir nur positive Zahlen.</a:t>
            </a:r>
          </a:p>
          <a:p>
            <a:r>
              <a:rPr lang="de-DE" sz="2400"/>
              <a:t>Schulmathematik: Es wird immer die ganze linke Zahl mit einer Stelle der rechten Zahl multipliziert (oder umgekehrt).</a:t>
            </a:r>
            <a:endParaRPr lang="de-DE" sz="2000" dirty="0">
              <a:latin typeface="Courier New" pitchFamily="49" charset="0"/>
            </a:endParaRPr>
          </a:p>
          <a:p>
            <a:pPr>
              <a:buFont typeface="Arial" charset="0"/>
              <a:buNone/>
              <a:tabLst>
                <a:tab pos="900113" algn="l"/>
                <a:tab pos="1435100" algn="l"/>
                <a:tab pos="1884363" algn="l"/>
                <a:tab pos="2236788" algn="l"/>
                <a:tab pos="2786063" algn="l"/>
                <a:tab pos="3503613" algn="l"/>
                <a:tab pos="3854450" algn="l"/>
              </a:tabLst>
            </a:pPr>
            <a:r>
              <a:rPr lang="de-DE" sz="2000" dirty="0">
                <a:latin typeface="Courier New" pitchFamily="49" charset="0"/>
              </a:rPr>
              <a:t>	</a:t>
            </a:r>
            <a:r>
              <a:rPr lang="de-DE" sz="1050" dirty="0">
                <a:latin typeface="Courier New" pitchFamily="49" charset="0"/>
              </a:rPr>
              <a:t>		</a:t>
            </a:r>
            <a:r>
              <a:rPr lang="de-DE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	        		</a:t>
            </a:r>
          </a:p>
          <a:p>
            <a:pPr>
              <a:buFont typeface="Arial" charset="0"/>
              <a:buNone/>
              <a:tabLst>
                <a:tab pos="900113" algn="l"/>
                <a:tab pos="1435100" algn="l"/>
                <a:tab pos="1884363" algn="l"/>
                <a:tab pos="2236788" algn="l"/>
                <a:tab pos="2786063" algn="l"/>
                <a:tab pos="3503613" algn="l"/>
                <a:tab pos="3854450" algn="l"/>
              </a:tabLst>
            </a:pPr>
            <a:r>
              <a:rPr lang="de-DE" sz="2000">
                <a:latin typeface="Courier New" panose="02070309020205020404" pitchFamily="49" charset="0"/>
                <a:cs typeface="Courier New" panose="02070309020205020404" pitchFamily="49" charset="0"/>
              </a:rPr>
              <a:t>		         </a:t>
            </a:r>
            <a:r>
              <a:rPr lang="de-DE" sz="2000" u="sng">
                <a:latin typeface="Courier New" panose="02070309020205020404" pitchFamily="49" charset="0"/>
                <a:cs typeface="Courier New" panose="02070309020205020404" pitchFamily="49" charset="0"/>
              </a:rPr>
              <a:t>1101 </a:t>
            </a:r>
            <a:r>
              <a:rPr lang="de-DE" sz="2000" u="sng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</a:t>
            </a:r>
            <a:r>
              <a:rPr lang="de-DE" sz="1100" u="sng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 </a:t>
            </a:r>
            <a:r>
              <a:rPr lang="de-DE" sz="2000" u="sng">
                <a:latin typeface="Courier New" panose="02070309020205020404" pitchFamily="49" charset="0"/>
                <a:cs typeface="Courier New" panose="02070309020205020404" pitchFamily="49" charset="0"/>
              </a:rPr>
              <a:t> 1011</a:t>
            </a:r>
            <a:r>
              <a:rPr lang="de-DE" sz="2000">
                <a:latin typeface="Courier New" panose="02070309020205020404" pitchFamily="49" charset="0"/>
                <a:cs typeface="Courier New" panose="02070309020205020404" pitchFamily="49" charset="0"/>
              </a:rPr>
              <a:t>	 		   </a:t>
            </a:r>
            <a:r>
              <a:rPr lang="de-DE" sz="2000" u="sng">
                <a:latin typeface="Courier New" panose="02070309020205020404" pitchFamily="49" charset="0"/>
                <a:cs typeface="Courier New" panose="02070309020205020404" pitchFamily="49" charset="0"/>
              </a:rPr>
              <a:t>13 </a:t>
            </a:r>
            <a:r>
              <a:rPr lang="de-DE" sz="2000" u="sng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</a:t>
            </a:r>
            <a:r>
              <a:rPr lang="de-DE" sz="2000" u="sng">
                <a:latin typeface="Courier New" panose="02070309020205020404" pitchFamily="49" charset="0"/>
                <a:cs typeface="Courier New" panose="02070309020205020404" pitchFamily="49" charset="0"/>
              </a:rPr>
              <a:t> 11</a:t>
            </a:r>
          </a:p>
          <a:p>
            <a:pPr>
              <a:buFont typeface="Arial" charset="0"/>
              <a:buNone/>
              <a:tabLst>
                <a:tab pos="900113" algn="l"/>
                <a:tab pos="1435100" algn="l"/>
                <a:tab pos="1884363" algn="l"/>
                <a:tab pos="2236788" algn="l"/>
                <a:tab pos="2786063" algn="l"/>
                <a:tab pos="3503613" algn="l"/>
                <a:tab pos="3854450" algn="l"/>
              </a:tabLst>
            </a:pPr>
            <a:r>
              <a:rPr lang="de-DE" sz="2000">
                <a:latin typeface="Courier New" panose="02070309020205020404" pitchFamily="49" charset="0"/>
                <a:cs typeface="Courier New" panose="02070309020205020404" pitchFamily="49" charset="0"/>
              </a:rPr>
              <a:t>		                1101             </a:t>
            </a:r>
            <a:r>
              <a:rPr lang="de-DE" sz="1200"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sz="2000">
                <a:latin typeface="Courier New" panose="02070309020205020404" pitchFamily="49" charset="0"/>
                <a:cs typeface="Courier New" panose="02070309020205020404" pitchFamily="49" charset="0"/>
              </a:rPr>
              <a:t> 13</a:t>
            </a:r>
          </a:p>
          <a:p>
            <a:pPr>
              <a:buFont typeface="Arial" charset="0"/>
              <a:buNone/>
              <a:tabLst>
                <a:tab pos="900113" algn="l"/>
                <a:tab pos="1435100" algn="l"/>
                <a:tab pos="1884363" algn="l"/>
                <a:tab pos="2236788" algn="l"/>
                <a:tab pos="2786063" algn="l"/>
                <a:tab pos="3503613" algn="l"/>
                <a:tab pos="3854450" algn="l"/>
              </a:tabLst>
            </a:pPr>
            <a:r>
              <a:rPr lang="de-DE" sz="2000">
                <a:latin typeface="Courier New" panose="02070309020205020404" pitchFamily="49" charset="0"/>
                <a:cs typeface="Courier New" panose="02070309020205020404" pitchFamily="49" charset="0"/>
              </a:rPr>
              <a:t>		               1101</a:t>
            </a:r>
            <a:r>
              <a:rPr lang="de-DE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			 	</a:t>
            </a:r>
            <a:r>
              <a:rPr lang="de-DE" sz="2000">
                <a:latin typeface="Courier New" panose="02070309020205020404" pitchFamily="49" charset="0"/>
                <a:cs typeface="Courier New" panose="02070309020205020404" pitchFamily="49" charset="0"/>
              </a:rPr>
              <a:t>	 </a:t>
            </a:r>
            <a:r>
              <a:rPr lang="de-DE" sz="1100"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sz="2000">
                <a:latin typeface="Courier New" panose="02070309020205020404" pitchFamily="49" charset="0"/>
                <a:cs typeface="Courier New" panose="02070309020205020404" pitchFamily="49" charset="0"/>
              </a:rPr>
              <a:t> 13</a:t>
            </a:r>
            <a:endParaRPr lang="de-DE" sz="2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buFont typeface="Arial" charset="0"/>
              <a:buNone/>
              <a:tabLst>
                <a:tab pos="900113" algn="l"/>
                <a:tab pos="1435100" algn="l"/>
                <a:tab pos="1884363" algn="l"/>
                <a:tab pos="2236788" algn="l"/>
                <a:tab pos="2786063" algn="l"/>
                <a:tab pos="3503613" algn="l"/>
                <a:tab pos="3854450" algn="l"/>
              </a:tabLst>
            </a:pPr>
            <a:r>
              <a:rPr lang="de-DE" sz="2000">
                <a:latin typeface="Courier New" panose="02070309020205020404" pitchFamily="49" charset="0"/>
                <a:cs typeface="Courier New" panose="02070309020205020404" pitchFamily="49" charset="0"/>
              </a:rPr>
              <a:t>		              0000</a:t>
            </a:r>
          </a:p>
          <a:p>
            <a:pPr>
              <a:buFont typeface="Arial" charset="0"/>
              <a:buNone/>
              <a:tabLst>
                <a:tab pos="900113" algn="l"/>
                <a:tab pos="1435100" algn="l"/>
                <a:tab pos="1884363" algn="l"/>
                <a:tab pos="2236788" algn="l"/>
                <a:tab pos="2786063" algn="l"/>
                <a:tab pos="3503613" algn="l"/>
                <a:tab pos="3854450" algn="l"/>
              </a:tabLst>
            </a:pPr>
            <a:r>
              <a:rPr lang="de-DE" sz="2000" u="sng">
                <a:latin typeface="Courier New" panose="02070309020205020404" pitchFamily="49" charset="0"/>
                <a:cs typeface="Courier New" panose="02070309020205020404" pitchFamily="49" charset="0"/>
              </a:rPr>
              <a:t>		             1101   </a:t>
            </a:r>
            <a:r>
              <a:rPr lang="de-DE" sz="2000" u="sng" dirty="0">
                <a:latin typeface="Courier New" panose="02070309020205020404" pitchFamily="49" charset="0"/>
                <a:cs typeface="Courier New" panose="02070309020205020404" pitchFamily="49" charset="0"/>
              </a:rPr>
              <a:t>			</a:t>
            </a:r>
            <a:r>
              <a:rPr lang="de-DE" sz="2000" u="sng">
                <a:latin typeface="Courier New" panose="02070309020205020404" pitchFamily="49" charset="0"/>
                <a:cs typeface="Courier New" panose="02070309020205020404" pitchFamily="49" charset="0"/>
              </a:rPr>
              <a:t>       	         </a:t>
            </a:r>
            <a:endParaRPr lang="de-DE" sz="2000" u="sng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buFont typeface="Arial" charset="0"/>
              <a:buNone/>
            </a:pPr>
            <a:r>
              <a:rPr lang="de-DE" sz="2000">
                <a:latin typeface="Courier New" panose="02070309020205020404" pitchFamily="49" charset="0"/>
                <a:cs typeface="Courier New" panose="02070309020205020404" pitchFamily="49" charset="0"/>
              </a:rPr>
              <a:t>      Produkt     10001111</a:t>
            </a:r>
            <a:r>
              <a:rPr lang="de-DE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	 		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20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de-DE" sz="140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sz="2000">
                <a:latin typeface="Courier New" panose="02070309020205020404" pitchFamily="49" charset="0"/>
                <a:cs typeface="Courier New" panose="02070309020205020404" pitchFamily="49" charset="0"/>
              </a:rPr>
              <a:t>143</a:t>
            </a:r>
            <a:endParaRPr lang="de-DE" sz="2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sz="1200" dirty="0"/>
          </a:p>
          <a:p>
            <a:r>
              <a:rPr lang="de-DE" sz="2400" dirty="0"/>
              <a:t>Produkt kann doppelte Stellenanzahl erfordern!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92842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3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3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3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3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3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3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3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3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31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2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GB" sz="2800"/>
              <a:t>Division</a:t>
            </a:r>
            <a:endParaRPr lang="en-US" sz="2800" dirty="0"/>
          </a:p>
        </p:txBody>
      </p:sp>
      <p:sp>
        <p:nvSpPr>
          <p:cNvPr id="43011" name="Rectangle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defRPr/>
            </a:pPr>
            <a:r>
              <a:rPr lang="de-DE" sz="2400"/>
              <a:t>Schulmathematik: Es wird immer ein Teil der linken Zahl (Dividend) durch die gesamte rechte Zahl (Divisor) geteilt.</a:t>
            </a:r>
            <a:endParaRPr lang="de-DE" sz="2000" dirty="0">
              <a:latin typeface="Courier New" pitchFamily="49" charset="0"/>
            </a:endParaRPr>
          </a:p>
          <a:p>
            <a:pPr>
              <a:buFont typeface="Arial" charset="0"/>
              <a:buNone/>
              <a:defRPr/>
            </a:pPr>
            <a:endParaRPr lang="de-DE" sz="2000" dirty="0">
              <a:latin typeface="Courier New" pitchFamily="49" charset="0"/>
            </a:endParaRPr>
          </a:p>
          <a:p>
            <a:pPr>
              <a:buFont typeface="Arial" charset="0"/>
              <a:buNone/>
              <a:defRPr/>
            </a:pPr>
            <a:r>
              <a:rPr lang="de-DE" sz="2000" dirty="0">
                <a:solidFill>
                  <a:srgbClr val="0000FF"/>
                </a:solidFill>
              </a:rPr>
              <a:t>Dividend			Divisor			Quotient</a:t>
            </a:r>
          </a:p>
          <a:p>
            <a:pPr>
              <a:buFont typeface="Arial" charset="0"/>
              <a:buNone/>
              <a:defRPr/>
            </a:pPr>
            <a:r>
              <a:rPr lang="de-DE" sz="2000" dirty="0">
                <a:latin typeface="Courier New" pitchFamily="49" charset="0"/>
              </a:rPr>
              <a:t>1001010  / 	1000 	  = </a:t>
            </a:r>
            <a:r>
              <a:rPr lang="de-DE" sz="2000">
                <a:latin typeface="Courier New" pitchFamily="49" charset="0"/>
              </a:rPr>
              <a:t>	</a:t>
            </a:r>
            <a:endParaRPr lang="de-DE" sz="2000" dirty="0">
              <a:latin typeface="Courier New" pitchFamily="49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050609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2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GB" sz="2800"/>
              <a:t>Division</a:t>
            </a:r>
            <a:endParaRPr lang="en-US" sz="2800" dirty="0"/>
          </a:p>
        </p:txBody>
      </p:sp>
      <p:sp>
        <p:nvSpPr>
          <p:cNvPr id="43011" name="Rectangle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defRPr/>
            </a:pPr>
            <a:r>
              <a:rPr lang="de-DE" sz="2400"/>
              <a:t>Schulmathematik: Es wird immer ein Teil der linken Zahl (Dividend) durch die gesamte rechte Zahl (Divisor) geteilt.</a:t>
            </a:r>
            <a:endParaRPr lang="de-DE" sz="2000">
              <a:latin typeface="Courier New" pitchFamily="49" charset="0"/>
            </a:endParaRPr>
          </a:p>
          <a:p>
            <a:pPr>
              <a:buFont typeface="Arial" charset="0"/>
              <a:buNone/>
              <a:defRPr/>
            </a:pPr>
            <a:endParaRPr lang="de-DE" sz="2000" dirty="0">
              <a:latin typeface="Courier New" pitchFamily="49" charset="0"/>
            </a:endParaRPr>
          </a:p>
          <a:p>
            <a:pPr>
              <a:buFont typeface="Arial" charset="0"/>
              <a:buNone/>
              <a:defRPr/>
            </a:pPr>
            <a:r>
              <a:rPr lang="de-DE" sz="2000" dirty="0">
                <a:solidFill>
                  <a:srgbClr val="0000FF"/>
                </a:solidFill>
              </a:rPr>
              <a:t>Dividend			Divisor			Quotient</a:t>
            </a:r>
          </a:p>
          <a:p>
            <a:pPr>
              <a:buFont typeface="Arial" charset="0"/>
              <a:buNone/>
              <a:defRPr/>
            </a:pPr>
            <a:r>
              <a:rPr lang="de-DE" sz="2000" dirty="0">
                <a:latin typeface="Courier New" pitchFamily="49" charset="0"/>
              </a:rPr>
              <a:t>1001010  / 	1000 	  = 	1</a:t>
            </a:r>
          </a:p>
          <a:p>
            <a:pPr>
              <a:buFont typeface="Arial" charset="0"/>
              <a:buNone/>
              <a:defRPr/>
            </a:pPr>
            <a:r>
              <a:rPr lang="de-DE" sz="2000" u="sng" dirty="0">
                <a:latin typeface="Courier New" pitchFamily="49" charset="0"/>
              </a:rPr>
              <a:t>1000</a:t>
            </a:r>
          </a:p>
          <a:p>
            <a:pPr>
              <a:buFont typeface="Arial" charset="0"/>
              <a:buNone/>
              <a:defRPr/>
            </a:pPr>
            <a:r>
              <a:rPr lang="de-DE" sz="2000" dirty="0">
                <a:latin typeface="Courier New" pitchFamily="49" charset="0"/>
              </a:rPr>
              <a:t>   1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3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4301173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2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GB" sz="2800"/>
              <a:t>Division </a:t>
            </a:r>
            <a:endParaRPr lang="en-US" sz="2800" dirty="0"/>
          </a:p>
        </p:txBody>
      </p:sp>
      <p:sp>
        <p:nvSpPr>
          <p:cNvPr id="43011" name="Rectangle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defRPr/>
            </a:pPr>
            <a:r>
              <a:rPr lang="de-DE" sz="2400"/>
              <a:t>Schulmathematik: Es wird immer ein Teil der linken Zahl (Dividend) durch die gesamte rechte Zahl (Divisor) geteilt.</a:t>
            </a:r>
            <a:endParaRPr lang="de-DE" sz="2000">
              <a:latin typeface="Courier New" pitchFamily="49" charset="0"/>
            </a:endParaRPr>
          </a:p>
          <a:p>
            <a:pPr>
              <a:buFont typeface="Arial" charset="0"/>
              <a:buNone/>
              <a:defRPr/>
            </a:pPr>
            <a:endParaRPr lang="de-DE" sz="2000" dirty="0">
              <a:latin typeface="Courier New" pitchFamily="49" charset="0"/>
            </a:endParaRPr>
          </a:p>
          <a:p>
            <a:pPr>
              <a:buFont typeface="Arial" charset="0"/>
              <a:buNone/>
              <a:defRPr/>
            </a:pPr>
            <a:r>
              <a:rPr lang="de-DE" sz="2000" dirty="0">
                <a:solidFill>
                  <a:srgbClr val="0000FF"/>
                </a:solidFill>
              </a:rPr>
              <a:t>Dividend			Divisor			Quotient</a:t>
            </a:r>
          </a:p>
          <a:p>
            <a:pPr>
              <a:buFont typeface="Arial" charset="0"/>
              <a:buNone/>
              <a:defRPr/>
            </a:pPr>
            <a:r>
              <a:rPr lang="de-DE" sz="2000" dirty="0">
                <a:latin typeface="Courier New" pitchFamily="49" charset="0"/>
              </a:rPr>
              <a:t>1001010  / 	1000 	  = 	10</a:t>
            </a:r>
          </a:p>
          <a:p>
            <a:pPr>
              <a:buFont typeface="Arial" charset="0"/>
              <a:buNone/>
              <a:defRPr/>
            </a:pPr>
            <a:r>
              <a:rPr lang="de-DE" sz="2000" u="sng" dirty="0">
                <a:latin typeface="Courier New" pitchFamily="49" charset="0"/>
              </a:rPr>
              <a:t>1000</a:t>
            </a:r>
          </a:p>
          <a:p>
            <a:pPr>
              <a:buFont typeface="Arial" charset="0"/>
              <a:buNone/>
              <a:defRPr/>
            </a:pPr>
            <a:r>
              <a:rPr lang="de-DE" sz="2000" dirty="0">
                <a:latin typeface="Courier New" pitchFamily="49" charset="0"/>
              </a:rPr>
              <a:t>   10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33</a:t>
            </a:fld>
            <a:endParaRPr lang="de-DE"/>
          </a:p>
        </p:txBody>
      </p:sp>
      <p:cxnSp>
        <p:nvCxnSpPr>
          <p:cNvPr id="7" name="Gerade Verbindung mit Pfeil 6"/>
          <p:cNvCxnSpPr/>
          <p:nvPr/>
        </p:nvCxnSpPr>
        <p:spPr>
          <a:xfrm rot="5400000">
            <a:off x="788960" y="3450551"/>
            <a:ext cx="504825" cy="0"/>
          </a:xfrm>
          <a:prstGeom prst="straightConnector1">
            <a:avLst/>
          </a:prstGeom>
          <a:ln w="15875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491884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2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GB" sz="2800"/>
              <a:t>Division </a:t>
            </a:r>
            <a:endParaRPr lang="en-US" sz="2800" dirty="0"/>
          </a:p>
        </p:txBody>
      </p:sp>
      <p:sp>
        <p:nvSpPr>
          <p:cNvPr id="43011" name="Rectangle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defRPr/>
            </a:pPr>
            <a:r>
              <a:rPr lang="de-DE" sz="2400"/>
              <a:t>Schulmathematik: Es wird immer ein Teil der linken Zahl (Dividend) durch die gesamte rechte Zahl (Divisor) geteilt.</a:t>
            </a:r>
            <a:endParaRPr lang="de-DE" sz="2000">
              <a:latin typeface="Courier New" pitchFamily="49" charset="0"/>
            </a:endParaRPr>
          </a:p>
          <a:p>
            <a:pPr>
              <a:buFont typeface="Arial" charset="0"/>
              <a:buNone/>
              <a:defRPr/>
            </a:pPr>
            <a:endParaRPr lang="de-DE" sz="2000" dirty="0">
              <a:latin typeface="Courier New" pitchFamily="49" charset="0"/>
            </a:endParaRPr>
          </a:p>
          <a:p>
            <a:pPr>
              <a:buFont typeface="Arial" charset="0"/>
              <a:buNone/>
              <a:defRPr/>
            </a:pPr>
            <a:r>
              <a:rPr lang="de-DE" sz="2000" dirty="0">
                <a:solidFill>
                  <a:srgbClr val="0000FF"/>
                </a:solidFill>
              </a:rPr>
              <a:t>Dividend			Divisor			Quotient</a:t>
            </a:r>
          </a:p>
          <a:p>
            <a:pPr>
              <a:buFont typeface="Arial" charset="0"/>
              <a:buNone/>
              <a:defRPr/>
            </a:pPr>
            <a:r>
              <a:rPr lang="de-DE" sz="2000" dirty="0">
                <a:latin typeface="Courier New" pitchFamily="49" charset="0"/>
              </a:rPr>
              <a:t>1001010  / 	1000 	  = 	100</a:t>
            </a:r>
          </a:p>
          <a:p>
            <a:pPr>
              <a:buFont typeface="Arial" charset="0"/>
              <a:buNone/>
              <a:defRPr/>
            </a:pPr>
            <a:r>
              <a:rPr lang="de-DE" sz="2000" u="sng" dirty="0">
                <a:latin typeface="Courier New" pitchFamily="49" charset="0"/>
              </a:rPr>
              <a:t>1000</a:t>
            </a:r>
          </a:p>
          <a:p>
            <a:pPr>
              <a:buFont typeface="Arial" charset="0"/>
              <a:buNone/>
              <a:defRPr/>
            </a:pPr>
            <a:r>
              <a:rPr lang="de-DE" sz="2000" dirty="0">
                <a:latin typeface="Courier New" pitchFamily="49" charset="0"/>
              </a:rPr>
              <a:t>   101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34</a:t>
            </a:fld>
            <a:endParaRPr lang="de-DE"/>
          </a:p>
        </p:txBody>
      </p:sp>
      <p:cxnSp>
        <p:nvCxnSpPr>
          <p:cNvPr id="7" name="Gerade Verbindung mit Pfeil 6"/>
          <p:cNvCxnSpPr/>
          <p:nvPr/>
        </p:nvCxnSpPr>
        <p:spPr>
          <a:xfrm rot="5400000">
            <a:off x="969990" y="3415558"/>
            <a:ext cx="458932" cy="0"/>
          </a:xfrm>
          <a:prstGeom prst="straightConnector1">
            <a:avLst/>
          </a:prstGeom>
          <a:ln w="15875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2902752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GB" sz="2800"/>
              <a:t>Division </a:t>
            </a:r>
            <a:endParaRPr lang="en-US" sz="2800" dirty="0"/>
          </a:p>
        </p:txBody>
      </p:sp>
      <p:sp>
        <p:nvSpPr>
          <p:cNvPr id="43011" name="Rectangle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defRPr/>
            </a:pPr>
            <a:r>
              <a:rPr lang="de-DE" sz="2400"/>
              <a:t>Schulmathematik: Es wird immer ein Teil der linken Zahl (Dividend) durch die gesamte rechte Zahl (Divisor) geteilt.</a:t>
            </a:r>
            <a:endParaRPr lang="de-DE" sz="2000">
              <a:latin typeface="Courier New" pitchFamily="49" charset="0"/>
            </a:endParaRPr>
          </a:p>
          <a:p>
            <a:pPr>
              <a:buFont typeface="Arial" charset="0"/>
              <a:buNone/>
              <a:defRPr/>
            </a:pPr>
            <a:endParaRPr lang="de-DE" sz="2000" dirty="0">
              <a:latin typeface="Courier New" pitchFamily="49" charset="0"/>
            </a:endParaRPr>
          </a:p>
          <a:p>
            <a:pPr>
              <a:buFont typeface="Arial" charset="0"/>
              <a:buNone/>
              <a:defRPr/>
            </a:pPr>
            <a:r>
              <a:rPr lang="de-DE" sz="2000" dirty="0">
                <a:solidFill>
                  <a:srgbClr val="0000FF"/>
                </a:solidFill>
              </a:rPr>
              <a:t>Dividend</a:t>
            </a:r>
            <a:r>
              <a:rPr lang="de-DE" sz="2000" dirty="0">
                <a:solidFill>
                  <a:srgbClr val="930000"/>
                </a:solidFill>
              </a:rPr>
              <a:t>			</a:t>
            </a:r>
            <a:r>
              <a:rPr lang="de-DE" sz="2000" dirty="0">
                <a:solidFill>
                  <a:srgbClr val="0000FF"/>
                </a:solidFill>
              </a:rPr>
              <a:t>Divisor</a:t>
            </a:r>
            <a:r>
              <a:rPr lang="de-DE" sz="2000" dirty="0">
                <a:solidFill>
                  <a:srgbClr val="930000"/>
                </a:solidFill>
              </a:rPr>
              <a:t>			</a:t>
            </a:r>
            <a:r>
              <a:rPr lang="de-DE" sz="2000" dirty="0">
                <a:solidFill>
                  <a:srgbClr val="0000FF"/>
                </a:solidFill>
              </a:rPr>
              <a:t>Quotient</a:t>
            </a:r>
          </a:p>
          <a:p>
            <a:pPr>
              <a:buFont typeface="Arial" charset="0"/>
              <a:buNone/>
              <a:defRPr/>
            </a:pPr>
            <a:r>
              <a:rPr lang="de-DE" sz="2000" dirty="0">
                <a:latin typeface="Courier New" pitchFamily="49" charset="0"/>
              </a:rPr>
              <a:t>1001010  / 	1000 	  = 	1001	</a:t>
            </a:r>
            <a:r>
              <a:rPr lang="de-DE" sz="2000">
                <a:latin typeface="Courier New" pitchFamily="49" charset="0"/>
              </a:rPr>
              <a:t>	</a:t>
            </a:r>
            <a:endParaRPr lang="de-DE" sz="2000"/>
          </a:p>
          <a:p>
            <a:pPr>
              <a:buFont typeface="Arial" charset="0"/>
              <a:buNone/>
              <a:defRPr/>
            </a:pPr>
            <a:r>
              <a:rPr lang="de-DE" sz="2000" u="sng">
                <a:latin typeface="Courier New" pitchFamily="49" charset="0"/>
              </a:rPr>
              <a:t>1000</a:t>
            </a:r>
          </a:p>
          <a:p>
            <a:pPr>
              <a:buFont typeface="Arial" charset="0"/>
              <a:buNone/>
              <a:defRPr/>
            </a:pPr>
            <a:r>
              <a:rPr lang="de-DE" sz="2000">
                <a:latin typeface="Courier New" pitchFamily="49" charset="0"/>
              </a:rPr>
              <a:t>   </a:t>
            </a:r>
            <a:r>
              <a:rPr lang="de-DE" sz="2000" dirty="0">
                <a:latin typeface="Courier New" pitchFamily="49" charset="0"/>
              </a:rPr>
              <a:t>1010			 		</a:t>
            </a:r>
            <a:r>
              <a:rPr lang="de-DE" sz="2000">
                <a:latin typeface="Courier New" pitchFamily="49" charset="0"/>
              </a:rPr>
              <a:t>	</a:t>
            </a:r>
            <a:endParaRPr lang="de-DE" sz="200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35</a:t>
            </a:fld>
            <a:endParaRPr lang="de-DE"/>
          </a:p>
        </p:txBody>
      </p:sp>
      <p:cxnSp>
        <p:nvCxnSpPr>
          <p:cNvPr id="7" name="Gerade Verbindung mit Pfeil 6"/>
          <p:cNvCxnSpPr/>
          <p:nvPr/>
        </p:nvCxnSpPr>
        <p:spPr>
          <a:xfrm rot="5400000">
            <a:off x="1091060" y="3464619"/>
            <a:ext cx="504825" cy="0"/>
          </a:xfrm>
          <a:prstGeom prst="straightConnector1">
            <a:avLst/>
          </a:prstGeom>
          <a:ln w="15875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758432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GB" sz="2800"/>
              <a:t>Division </a:t>
            </a:r>
            <a:endParaRPr lang="en-US" sz="2800" dirty="0"/>
          </a:p>
        </p:txBody>
      </p:sp>
      <p:sp>
        <p:nvSpPr>
          <p:cNvPr id="43011" name="Rectangle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defRPr/>
            </a:pPr>
            <a:r>
              <a:rPr lang="de-DE" sz="2400"/>
              <a:t>Schulmathematik: Es wird immer ein Teil der linken Zahl (Dividend) durch die gesamte rechte Zahl (Divisor) geteilt.</a:t>
            </a:r>
            <a:endParaRPr lang="de-DE" sz="2000">
              <a:latin typeface="Courier New" pitchFamily="49" charset="0"/>
            </a:endParaRPr>
          </a:p>
          <a:p>
            <a:pPr>
              <a:buFont typeface="Arial" charset="0"/>
              <a:buNone/>
              <a:defRPr/>
            </a:pPr>
            <a:endParaRPr lang="de-DE" sz="2000" dirty="0">
              <a:latin typeface="Courier New" pitchFamily="49" charset="0"/>
            </a:endParaRPr>
          </a:p>
          <a:p>
            <a:pPr>
              <a:buFont typeface="Arial" charset="0"/>
              <a:buNone/>
              <a:defRPr/>
            </a:pPr>
            <a:r>
              <a:rPr lang="de-DE" sz="2000" dirty="0">
                <a:solidFill>
                  <a:srgbClr val="0000FF"/>
                </a:solidFill>
              </a:rPr>
              <a:t>Dividend</a:t>
            </a:r>
            <a:r>
              <a:rPr lang="de-DE" sz="2000" dirty="0">
                <a:solidFill>
                  <a:srgbClr val="930000"/>
                </a:solidFill>
              </a:rPr>
              <a:t>			</a:t>
            </a:r>
            <a:r>
              <a:rPr lang="de-DE" sz="2000" dirty="0">
                <a:solidFill>
                  <a:srgbClr val="0000FF"/>
                </a:solidFill>
              </a:rPr>
              <a:t>Divisor</a:t>
            </a:r>
            <a:r>
              <a:rPr lang="de-DE" sz="2000" dirty="0">
                <a:solidFill>
                  <a:srgbClr val="930000"/>
                </a:solidFill>
              </a:rPr>
              <a:t>			</a:t>
            </a:r>
            <a:r>
              <a:rPr lang="de-DE" sz="2000" dirty="0">
                <a:solidFill>
                  <a:srgbClr val="0000FF"/>
                </a:solidFill>
              </a:rPr>
              <a:t>Quotient</a:t>
            </a:r>
          </a:p>
          <a:p>
            <a:pPr>
              <a:buFont typeface="Arial" charset="0"/>
              <a:buNone/>
              <a:defRPr/>
            </a:pPr>
            <a:r>
              <a:rPr lang="de-DE" sz="2000" dirty="0">
                <a:latin typeface="Courier New" pitchFamily="49" charset="0"/>
              </a:rPr>
              <a:t>1001010  / 	1000 	  = 	1001		</a:t>
            </a:r>
            <a:r>
              <a:rPr lang="de-DE" sz="2000" dirty="0"/>
              <a:t>74/8= 9 Rest 2</a:t>
            </a:r>
          </a:p>
          <a:p>
            <a:pPr>
              <a:buFont typeface="Arial" charset="0"/>
              <a:buNone/>
              <a:defRPr/>
            </a:pPr>
            <a:r>
              <a:rPr lang="de-DE" sz="2000" u="sng" dirty="0">
                <a:latin typeface="Courier New" pitchFamily="49" charset="0"/>
              </a:rPr>
              <a:t>1000</a:t>
            </a:r>
          </a:p>
          <a:p>
            <a:pPr>
              <a:buFont typeface="Arial" charset="0"/>
              <a:buNone/>
              <a:defRPr/>
            </a:pPr>
            <a:r>
              <a:rPr lang="de-DE" sz="2000" dirty="0">
                <a:latin typeface="Courier New" pitchFamily="49" charset="0"/>
              </a:rPr>
              <a:t>   1010			 			 </a:t>
            </a:r>
            <a:r>
              <a:rPr lang="de-DE" sz="2000" dirty="0"/>
              <a:t>= 9</a:t>
            </a:r>
          </a:p>
          <a:p>
            <a:pPr>
              <a:buFont typeface="Arial" charset="0"/>
              <a:buNone/>
              <a:defRPr/>
            </a:pPr>
            <a:r>
              <a:rPr lang="de-DE" sz="2000" dirty="0">
                <a:latin typeface="Courier New" pitchFamily="49" charset="0"/>
              </a:rPr>
              <a:t>   </a:t>
            </a:r>
            <a:r>
              <a:rPr lang="de-DE" sz="2000" u="sng" dirty="0">
                <a:latin typeface="Courier New" pitchFamily="49" charset="0"/>
              </a:rPr>
              <a:t>1000</a:t>
            </a:r>
          </a:p>
          <a:p>
            <a:pPr>
              <a:buFont typeface="Arial" charset="0"/>
              <a:buNone/>
              <a:defRPr/>
            </a:pPr>
            <a:r>
              <a:rPr lang="de-DE" sz="2000" dirty="0">
                <a:latin typeface="Courier New" pitchFamily="49" charset="0"/>
              </a:rPr>
              <a:t>	  </a:t>
            </a:r>
            <a:r>
              <a:rPr lang="de-DE" sz="1100" dirty="0">
                <a:latin typeface="Courier New" pitchFamily="49" charset="0"/>
              </a:rPr>
              <a:t>  </a:t>
            </a:r>
            <a:r>
              <a:rPr lang="de-DE" sz="2000" dirty="0">
                <a:latin typeface="Courier New" pitchFamily="49" charset="0"/>
              </a:rPr>
              <a:t>10  </a:t>
            </a:r>
            <a:r>
              <a:rPr lang="de-DE" sz="2000" dirty="0">
                <a:latin typeface="Courier New" pitchFamily="49" charset="0"/>
                <a:sym typeface="Wingdings" pitchFamily="2" charset="2"/>
              </a:rPr>
              <a:t></a:t>
            </a:r>
            <a:r>
              <a:rPr lang="de-DE" sz="2000" dirty="0">
                <a:sym typeface="Wingdings" pitchFamily="2" charset="2"/>
              </a:rPr>
              <a:t> Rest</a:t>
            </a:r>
            <a:endParaRPr lang="de-DE" sz="2000" dirty="0"/>
          </a:p>
          <a:p>
            <a:pPr>
              <a:buFont typeface="Arial" charset="0"/>
              <a:buNone/>
              <a:defRPr/>
            </a:pPr>
            <a:endParaRPr lang="de-DE" sz="2000" dirty="0">
              <a:latin typeface="Courier New" pitchFamily="49" charset="0"/>
            </a:endParaRPr>
          </a:p>
          <a:p>
            <a:pPr>
              <a:buFont typeface="Arial" charset="0"/>
              <a:buNone/>
              <a:defRPr/>
            </a:pPr>
            <a:r>
              <a:rPr lang="de-DE" sz="2000" dirty="0"/>
              <a:t>		  = 2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36</a:t>
            </a:fld>
            <a:endParaRPr lang="de-DE"/>
          </a:p>
        </p:txBody>
      </p:sp>
      <p:sp>
        <p:nvSpPr>
          <p:cNvPr id="8" name="Geschweifte Klammer rechts 7"/>
          <p:cNvSpPr/>
          <p:nvPr/>
        </p:nvSpPr>
        <p:spPr>
          <a:xfrm rot="5400000">
            <a:off x="4634643" y="2934494"/>
            <a:ext cx="269875" cy="71913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>
              <a:defRPr/>
            </a:pPr>
            <a:endParaRPr lang="de-DE"/>
          </a:p>
        </p:txBody>
      </p:sp>
      <p:sp>
        <p:nvSpPr>
          <p:cNvPr id="9" name="Geschweifte Klammer rechts 8"/>
          <p:cNvSpPr/>
          <p:nvPr/>
        </p:nvSpPr>
        <p:spPr>
          <a:xfrm rot="5400000">
            <a:off x="1100683" y="4698057"/>
            <a:ext cx="269875" cy="36036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>
              <a:defRPr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1183023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ultiplikation und Division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u="sng">
                <a:solidFill>
                  <a:srgbClr val="C00000"/>
                </a:solidFill>
              </a:rPr>
              <a:t>Berechnen Sie:</a:t>
            </a:r>
            <a:r>
              <a:rPr lang="de-DE" b="1">
                <a:solidFill>
                  <a:srgbClr val="C00000"/>
                </a:solidFill>
              </a:rPr>
              <a:t> </a:t>
            </a:r>
          </a:p>
          <a:p>
            <a:pPr marL="0" indent="0">
              <a:buNone/>
            </a:pPr>
            <a:endParaRPr lang="de-DE">
              <a:latin typeface="Courier" pitchFamily="49" charset="0"/>
            </a:endParaRPr>
          </a:p>
          <a:p>
            <a:pPr marL="0" indent="0">
              <a:buNone/>
            </a:pPr>
            <a:r>
              <a:rPr lang="de-DE">
                <a:latin typeface="Courier" pitchFamily="49" charset="0"/>
              </a:rPr>
              <a:t>101 </a:t>
            </a:r>
            <a:r>
              <a:rPr lang="de-DE">
                <a:latin typeface="Courier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 </a:t>
            </a:r>
            <a:r>
              <a:rPr lang="de-DE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011     1110 / 0010</a:t>
            </a:r>
            <a:endParaRPr lang="de-DE"/>
          </a:p>
          <a:p>
            <a:pPr marL="0" indent="0">
              <a:buNone/>
            </a:pPr>
            <a:endParaRPr lang="de-DE"/>
          </a:p>
          <a:p>
            <a:pPr marL="0" indent="0">
              <a:buNone/>
            </a:pP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37</a:t>
            </a:fld>
            <a:r>
              <a:rPr lang="de-DE"/>
              <a:t> </a:t>
            </a:r>
            <a:endParaRPr lang="de-DE" sz="787" dirty="0"/>
          </a:p>
        </p:txBody>
      </p:sp>
    </p:spTree>
    <p:extLst>
      <p:ext uri="{BB962C8B-B14F-4D97-AF65-F5344CB8AC3E}">
        <p14:creationId xmlns:p14="http://schemas.microsoft.com/office/powerpoint/2010/main" val="162122477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ultiplikation und Division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u="sng">
                <a:solidFill>
                  <a:srgbClr val="C00000"/>
                </a:solidFill>
              </a:rPr>
              <a:t>Berechnen Sie:</a:t>
            </a:r>
            <a:r>
              <a:rPr lang="de-DE" b="1">
                <a:solidFill>
                  <a:srgbClr val="C00000"/>
                </a:solidFill>
              </a:rPr>
              <a:t> </a:t>
            </a:r>
          </a:p>
          <a:p>
            <a:pPr marL="0" indent="0">
              <a:buNone/>
            </a:pPr>
            <a:endParaRPr lang="de-DE">
              <a:latin typeface="Courier" pitchFamily="49" charset="0"/>
            </a:endParaRPr>
          </a:p>
          <a:p>
            <a:pPr marL="0" indent="0">
              <a:buNone/>
            </a:pPr>
            <a:r>
              <a:rPr lang="de-DE" u="sng">
                <a:latin typeface="Courier" pitchFamily="49" charset="0"/>
              </a:rPr>
              <a:t>101 </a:t>
            </a:r>
            <a:r>
              <a:rPr lang="de-DE" u="sng">
                <a:latin typeface="Courier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</a:t>
            </a:r>
            <a:r>
              <a:rPr lang="de-DE" sz="1200" u="sng">
                <a:latin typeface="Courier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 </a:t>
            </a:r>
            <a:r>
              <a:rPr lang="de-DE" u="sng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011</a:t>
            </a:r>
            <a:r>
              <a:rPr lang="de-DE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     10101 / 0111 = 11</a:t>
            </a:r>
            <a:endParaRPr lang="de-DE"/>
          </a:p>
          <a:p>
            <a:pPr marL="0" indent="0">
              <a:buNone/>
            </a:pPr>
            <a:r>
              <a:rPr lang="de-DE">
                <a:latin typeface="Courier" pitchFamily="49" charset="0"/>
              </a:rPr>
              <a:t>     101     </a:t>
            </a:r>
            <a:r>
              <a:rPr lang="de-DE" u="sng">
                <a:latin typeface="Courier" pitchFamily="49" charset="0"/>
              </a:rPr>
              <a:t>0111</a:t>
            </a:r>
          </a:p>
          <a:p>
            <a:pPr marL="0" indent="0">
              <a:buNone/>
            </a:pPr>
            <a:r>
              <a:rPr lang="de-DE" u="sng">
                <a:latin typeface="Courier" pitchFamily="49" charset="0"/>
              </a:rPr>
              <a:t>    101 </a:t>
            </a:r>
            <a:r>
              <a:rPr lang="de-DE">
                <a:latin typeface="Courier" pitchFamily="49" charset="0"/>
              </a:rPr>
              <a:t>     00111</a:t>
            </a:r>
            <a:br>
              <a:rPr lang="de-DE">
                <a:latin typeface="Courier" pitchFamily="49" charset="0"/>
              </a:rPr>
            </a:br>
            <a:r>
              <a:rPr lang="de-DE">
                <a:latin typeface="Courier" pitchFamily="49" charset="0"/>
              </a:rPr>
              <a:t>    1111      </a:t>
            </a:r>
            <a:r>
              <a:rPr lang="de-DE" u="sng">
                <a:latin typeface="Courier" pitchFamily="49" charset="0"/>
              </a:rPr>
              <a:t>0111</a:t>
            </a:r>
          </a:p>
          <a:p>
            <a:pPr marL="0" indent="0">
              <a:buNone/>
            </a:pPr>
            <a:r>
              <a:rPr lang="de-DE">
                <a:latin typeface="Courier" pitchFamily="49" charset="0"/>
              </a:rPr>
              <a:t>              0000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FC03C-C266-4645-ABC5-645062898383}" type="slidenum">
              <a:rPr lang="de-DE" smtClean="0"/>
              <a:pPr/>
              <a:t>38</a:t>
            </a:fld>
            <a:r>
              <a:rPr lang="de-DE"/>
              <a:t> </a:t>
            </a:r>
            <a:endParaRPr lang="de-DE" sz="787" dirty="0"/>
          </a:p>
        </p:txBody>
      </p:sp>
      <p:cxnSp>
        <p:nvCxnSpPr>
          <p:cNvPr id="6" name="Gerade Verbindung mit Pfeil 5"/>
          <p:cNvCxnSpPr/>
          <p:nvPr/>
        </p:nvCxnSpPr>
        <p:spPr>
          <a:xfrm>
            <a:off x="3547584" y="2608776"/>
            <a:ext cx="0" cy="388178"/>
          </a:xfrm>
          <a:prstGeom prst="straightConnector1">
            <a:avLst/>
          </a:prstGeom>
          <a:ln w="15875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949771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Übersicht über die heutige Vorlesu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r>
              <a:rPr lang="de-DE" sz="24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Zahlensysteme und ihre Konvertierung</a:t>
            </a:r>
          </a:p>
          <a:p>
            <a:r>
              <a:rPr lang="de-DE" sz="24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Vorzeichenbehaftete und vorzeichenlose Zahlen</a:t>
            </a:r>
          </a:p>
          <a:p>
            <a:r>
              <a:rPr lang="de-DE" sz="24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Arithmetische Operationen</a:t>
            </a:r>
          </a:p>
          <a:p>
            <a:pPr lvl="1"/>
            <a:r>
              <a:rPr lang="de-DE" sz="22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Addition und Subtraktion</a:t>
            </a:r>
          </a:p>
          <a:p>
            <a:pPr lvl="1"/>
            <a:r>
              <a:rPr lang="de-DE" sz="22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Multiplikation</a:t>
            </a:r>
          </a:p>
          <a:p>
            <a:pPr lvl="1"/>
            <a:r>
              <a:rPr lang="de-DE" sz="22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Division</a:t>
            </a:r>
          </a:p>
          <a:p>
            <a:r>
              <a:rPr lang="de-DE" sz="2400" dirty="0"/>
              <a:t>Gleitkommazahlen (Floating Point)</a:t>
            </a:r>
          </a:p>
          <a:p>
            <a:r>
              <a:rPr lang="de-DE" sz="24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„Pentium Bug“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3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37255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Übersicht über die heutige Vorlesu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r>
              <a:rPr lang="de-DE" sz="2400" dirty="0"/>
              <a:t>Zahlensysteme und ihre Konvertierung</a:t>
            </a:r>
          </a:p>
          <a:p>
            <a:r>
              <a:rPr lang="de-DE" sz="24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Vorzeichenbehaftete und vorzeichenlose Zahlen</a:t>
            </a:r>
          </a:p>
          <a:p>
            <a:r>
              <a:rPr lang="de-DE" sz="24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Arithmetische Operationen</a:t>
            </a:r>
          </a:p>
          <a:p>
            <a:pPr lvl="1"/>
            <a:r>
              <a:rPr lang="de-DE" sz="22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Addition und Subtraktion</a:t>
            </a:r>
          </a:p>
          <a:p>
            <a:pPr lvl="1"/>
            <a:r>
              <a:rPr lang="de-DE" sz="22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Multiplikation</a:t>
            </a:r>
          </a:p>
          <a:p>
            <a:pPr lvl="1"/>
            <a:r>
              <a:rPr lang="de-DE" sz="22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Division</a:t>
            </a:r>
          </a:p>
          <a:p>
            <a:r>
              <a:rPr lang="de-DE" sz="24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Gleitkommazahlen (Floating Point)</a:t>
            </a:r>
          </a:p>
          <a:p>
            <a:r>
              <a:rPr lang="de-DE" sz="24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„Pentium Bug“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518711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Rectangle 2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 sz="2800" dirty="0"/>
              <a:t>Rationale Zahlen</a:t>
            </a:r>
          </a:p>
        </p:txBody>
      </p:sp>
      <p:sp>
        <p:nvSpPr>
          <p:cNvPr id="16388" name="Rectangle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2400" dirty="0"/>
              <a:t>Darstellung rationaler Zahlen:</a:t>
            </a:r>
          </a:p>
          <a:p>
            <a:endParaRPr lang="de-DE" sz="2400" dirty="0"/>
          </a:p>
          <a:p>
            <a:endParaRPr lang="de-DE" sz="2400" dirty="0"/>
          </a:p>
          <a:p>
            <a:endParaRPr lang="de-DE" sz="2400" dirty="0"/>
          </a:p>
          <a:p>
            <a:endParaRPr lang="de-DE" sz="2400" dirty="0"/>
          </a:p>
          <a:p>
            <a:endParaRPr lang="de-DE" sz="2400" dirty="0"/>
          </a:p>
          <a:p>
            <a:endParaRPr lang="de-DE" sz="2400" dirty="0"/>
          </a:p>
          <a:p>
            <a:r>
              <a:rPr lang="de-DE" sz="2400"/>
              <a:t>Beispiel (dezimal):    </a:t>
            </a:r>
            <a:r>
              <a:rPr lang="de-DE" sz="2200"/>
              <a:t>12,48</a:t>
            </a:r>
            <a:r>
              <a:rPr lang="de-DE" sz="2200" baseline="-25000"/>
              <a:t>D</a:t>
            </a:r>
            <a:r>
              <a:rPr lang="de-DE" sz="2200"/>
              <a:t> </a:t>
            </a:r>
            <a:r>
              <a:rPr lang="de-DE" sz="2200" dirty="0"/>
              <a:t>	</a:t>
            </a:r>
            <a:r>
              <a:rPr lang="de-DE" sz="2200"/>
              <a:t>= 1·10</a:t>
            </a:r>
            <a:r>
              <a:rPr lang="de-DE" sz="2200" baseline="30000"/>
              <a:t>1</a:t>
            </a:r>
            <a:r>
              <a:rPr lang="de-DE" sz="2200"/>
              <a:t> + 2·10</a:t>
            </a:r>
            <a:r>
              <a:rPr lang="de-DE" sz="2200" baseline="30000"/>
              <a:t>0</a:t>
            </a:r>
            <a:r>
              <a:rPr lang="de-DE" sz="2200"/>
              <a:t> + 4·10</a:t>
            </a:r>
            <a:r>
              <a:rPr lang="de-DE" sz="2200" baseline="30000"/>
              <a:t>-1</a:t>
            </a:r>
            <a:r>
              <a:rPr lang="de-DE" sz="2200"/>
              <a:t> + 8·10</a:t>
            </a:r>
            <a:r>
              <a:rPr lang="de-DE" sz="2200" baseline="30000"/>
              <a:t>-2</a:t>
            </a:r>
            <a:r>
              <a:rPr lang="de-DE" sz="2200"/>
              <a:t> </a:t>
            </a:r>
          </a:p>
          <a:p>
            <a:r>
              <a:rPr lang="de-DE" sz="2400" dirty="0"/>
              <a:t>Beispiel (binär):     </a:t>
            </a:r>
            <a:r>
              <a:rPr lang="de-DE" sz="2200" dirty="0"/>
              <a:t>11,1010</a:t>
            </a:r>
            <a:r>
              <a:rPr lang="de-DE" sz="2200" baseline="-25000" dirty="0"/>
              <a:t>B</a:t>
            </a:r>
            <a:r>
              <a:rPr lang="de-DE" sz="2200" dirty="0"/>
              <a:t> 	= 2</a:t>
            </a:r>
            <a:r>
              <a:rPr lang="de-DE" sz="2200" baseline="30000" dirty="0"/>
              <a:t>1</a:t>
            </a:r>
            <a:r>
              <a:rPr lang="de-DE" sz="2200" dirty="0"/>
              <a:t> + 2</a:t>
            </a:r>
            <a:r>
              <a:rPr lang="de-DE" sz="2200" baseline="30000" dirty="0"/>
              <a:t>0</a:t>
            </a:r>
            <a:r>
              <a:rPr lang="de-DE" sz="2200" dirty="0"/>
              <a:t> + 2</a:t>
            </a:r>
            <a:r>
              <a:rPr lang="de-DE" sz="2200" baseline="30000" dirty="0"/>
              <a:t>-1</a:t>
            </a:r>
            <a:r>
              <a:rPr lang="de-DE" sz="2200" dirty="0"/>
              <a:t> + 2</a:t>
            </a:r>
            <a:r>
              <a:rPr lang="de-DE" sz="2200" baseline="30000" dirty="0"/>
              <a:t>-3</a:t>
            </a:r>
          </a:p>
          <a:p>
            <a:pPr lvl="1">
              <a:buFont typeface="Arial" charset="0"/>
              <a:buNone/>
            </a:pPr>
            <a:r>
              <a:rPr lang="de-DE" sz="2200" dirty="0"/>
              <a:t>									= 3 + 0,5 + 0,125 = 3,625</a:t>
            </a:r>
            <a:r>
              <a:rPr lang="de-DE" sz="2200" baseline="-25000" dirty="0"/>
              <a:t>D</a:t>
            </a:r>
          </a:p>
          <a:p>
            <a:pPr marL="0" indent="0">
              <a:buNone/>
            </a:pPr>
            <a:r>
              <a:rPr lang="de-DE" sz="2200" dirty="0"/>
              <a:t>	</a:t>
            </a:r>
            <a:endParaRPr lang="de-DE" sz="2200" baseline="-2500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40</a:t>
            </a:fld>
            <a:endParaRPr lang="de-DE"/>
          </a:p>
        </p:txBody>
      </p:sp>
      <p:graphicFrame>
        <p:nvGraphicFramePr>
          <p:cNvPr id="16386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06427210"/>
              </p:ext>
            </p:extLst>
          </p:nvPr>
        </p:nvGraphicFramePr>
        <p:xfrm>
          <a:off x="2405508" y="1718773"/>
          <a:ext cx="1639888" cy="492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Formel" r:id="rId2" imgW="761760" imgH="228600" progId="Equation.3">
                  <p:embed/>
                </p:oleObj>
              </mc:Choice>
              <mc:Fallback>
                <p:oleObj name="Formel" r:id="rId2" imgW="761760" imgH="228600" progId="Equation.3">
                  <p:embed/>
                  <p:pic>
                    <p:nvPicPr>
                      <p:cNvPr id="16386" name="Object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05508" y="1718773"/>
                        <a:ext cx="1639888" cy="4921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k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41093408"/>
              </p:ext>
            </p:extLst>
          </p:nvPr>
        </p:nvGraphicFramePr>
        <p:xfrm>
          <a:off x="3935712" y="1718773"/>
          <a:ext cx="1612900" cy="4651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Formel" r:id="rId4" imgW="749160" imgH="215640" progId="Equation.3">
                  <p:embed/>
                </p:oleObj>
              </mc:Choice>
              <mc:Fallback>
                <p:oleObj name="Formel" r:id="rId4" imgW="749160" imgH="215640" progId="Equation.3">
                  <p:embed/>
                  <p:pic>
                    <p:nvPicPr>
                      <p:cNvPr id="2" name="Objek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35712" y="1718773"/>
                        <a:ext cx="1612900" cy="4651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k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5814060"/>
              </p:ext>
            </p:extLst>
          </p:nvPr>
        </p:nvGraphicFramePr>
        <p:xfrm>
          <a:off x="5105868" y="2258845"/>
          <a:ext cx="3937000" cy="492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Formel" r:id="rId6" imgW="1828800" imgH="228600" progId="Equation.3">
                  <p:embed/>
                </p:oleObj>
              </mc:Choice>
              <mc:Fallback>
                <p:oleObj name="Formel" r:id="rId6" imgW="1828800" imgH="228600" progId="Equation.3">
                  <p:embed/>
                  <p:pic>
                    <p:nvPicPr>
                      <p:cNvPr id="3" name="Objek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105868" y="2258845"/>
                        <a:ext cx="3937000" cy="4921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k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39181645"/>
              </p:ext>
            </p:extLst>
          </p:nvPr>
        </p:nvGraphicFramePr>
        <p:xfrm>
          <a:off x="3575665" y="2798917"/>
          <a:ext cx="1338263" cy="9286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Formel" r:id="rId8" imgW="622080" imgH="431640" progId="Equation.3">
                  <p:embed/>
                </p:oleObj>
              </mc:Choice>
              <mc:Fallback>
                <p:oleObj name="Formel" r:id="rId8" imgW="622080" imgH="431640" progId="Equation.3">
                  <p:embed/>
                  <p:pic>
                    <p:nvPicPr>
                      <p:cNvPr id="4" name="Objek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575665" y="2798917"/>
                        <a:ext cx="1338263" cy="9286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k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77472086"/>
              </p:ext>
            </p:extLst>
          </p:nvPr>
        </p:nvGraphicFramePr>
        <p:xfrm>
          <a:off x="2405063" y="2798916"/>
          <a:ext cx="1285875" cy="928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Formel" r:id="rId10" imgW="596880" imgH="431640" progId="Equation.3">
                  <p:embed/>
                </p:oleObj>
              </mc:Choice>
              <mc:Fallback>
                <p:oleObj name="Formel" r:id="rId10" imgW="596880" imgH="431640" progId="Equation.3">
                  <p:embed/>
                  <p:pic>
                    <p:nvPicPr>
                      <p:cNvPr id="8" name="Objekt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05063" y="2798916"/>
                        <a:ext cx="1285875" cy="9286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kt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0246789"/>
              </p:ext>
            </p:extLst>
          </p:nvPr>
        </p:nvGraphicFramePr>
        <p:xfrm>
          <a:off x="2405509" y="2258844"/>
          <a:ext cx="2789237" cy="519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Formel" r:id="rId12" imgW="1295280" imgH="241200" progId="Equation.3">
                  <p:embed/>
                </p:oleObj>
              </mc:Choice>
              <mc:Fallback>
                <p:oleObj name="Formel" r:id="rId12" imgW="1295280" imgH="241200" progId="Equation.3">
                  <p:embed/>
                  <p:pic>
                    <p:nvPicPr>
                      <p:cNvPr id="9" name="Objekt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05509" y="2258844"/>
                        <a:ext cx="2789237" cy="5191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271260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 sz="2800" dirty="0"/>
              <a:t>Konvertierung</a:t>
            </a:r>
            <a:endParaRPr lang="de-DE" dirty="0"/>
          </a:p>
        </p:txBody>
      </p:sp>
      <p:sp>
        <p:nvSpPr>
          <p:cNvPr id="60419" name="Rectangle 3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>
              <a:defRPr/>
            </a:pPr>
            <a:r>
              <a:rPr lang="de-DE" sz="2400" dirty="0"/>
              <a:t>Dezimal nach Dual</a:t>
            </a:r>
          </a:p>
          <a:p>
            <a:pPr lvl="1">
              <a:defRPr/>
            </a:pPr>
            <a:r>
              <a:rPr lang="de-DE" sz="2200" dirty="0"/>
              <a:t>2 · 0,b</a:t>
            </a:r>
            <a:r>
              <a:rPr lang="de-DE" sz="2200" baseline="-25000" dirty="0"/>
              <a:t>-1</a:t>
            </a:r>
            <a:r>
              <a:rPr lang="de-DE" sz="2200" dirty="0"/>
              <a:t>b</a:t>
            </a:r>
            <a:r>
              <a:rPr lang="de-DE" sz="2200" baseline="-25000" dirty="0"/>
              <a:t>-2</a:t>
            </a:r>
            <a:r>
              <a:rPr lang="de-DE" sz="2200" dirty="0"/>
              <a:t>...b</a:t>
            </a:r>
            <a:r>
              <a:rPr lang="de-DE" sz="2200" baseline="-25000" dirty="0"/>
              <a:t>-m</a:t>
            </a:r>
            <a:r>
              <a:rPr lang="de-DE" sz="2200" dirty="0"/>
              <a:t> = b</a:t>
            </a:r>
            <a:r>
              <a:rPr lang="de-DE" sz="2200" baseline="-25000" dirty="0"/>
              <a:t>-1</a:t>
            </a:r>
            <a:r>
              <a:rPr lang="de-DE" sz="2200" dirty="0"/>
              <a:t>,b</a:t>
            </a:r>
            <a:r>
              <a:rPr lang="de-DE" sz="2200" baseline="-25000" dirty="0"/>
              <a:t>-2</a:t>
            </a:r>
            <a:r>
              <a:rPr lang="de-DE" sz="2200" dirty="0"/>
              <a:t>b</a:t>
            </a:r>
            <a:r>
              <a:rPr lang="de-DE" sz="2200" baseline="-25000" dirty="0"/>
              <a:t>-3</a:t>
            </a:r>
            <a:r>
              <a:rPr lang="de-DE" sz="2200" dirty="0"/>
              <a:t>...b</a:t>
            </a:r>
            <a:r>
              <a:rPr lang="de-DE" sz="2200" baseline="-25000" dirty="0"/>
              <a:t>-m</a:t>
            </a:r>
          </a:p>
          <a:p>
            <a:pPr lvl="1">
              <a:defRPr/>
            </a:pPr>
            <a:r>
              <a:rPr lang="de-DE" sz="2200" dirty="0"/>
              <a:t>Beispiel: 0,24</a:t>
            </a:r>
            <a:r>
              <a:rPr lang="de-DE" sz="2200" baseline="-25000" dirty="0"/>
              <a:t>D</a:t>
            </a:r>
          </a:p>
          <a:p>
            <a:pPr lvl="1">
              <a:buFont typeface="Arial" charset="0"/>
              <a:buNone/>
              <a:defRPr/>
            </a:pPr>
            <a:r>
              <a:rPr lang="de-DE" sz="2200" dirty="0"/>
              <a:t>0,24</a:t>
            </a:r>
            <a:r>
              <a:rPr lang="de-DE" sz="2200" baseline="-25000" dirty="0"/>
              <a:t>D </a:t>
            </a:r>
            <a:r>
              <a:rPr lang="de-DE" sz="2200" dirty="0"/>
              <a:t>-&gt;		0,24 · 2 = 0,48 + </a:t>
            </a:r>
            <a:r>
              <a:rPr lang="de-DE" sz="2200" dirty="0">
                <a:solidFill>
                  <a:srgbClr val="0000FF"/>
                </a:solidFill>
              </a:rPr>
              <a:t>0</a:t>
            </a:r>
          </a:p>
          <a:p>
            <a:pPr lvl="1">
              <a:buFont typeface="Arial" charset="0"/>
              <a:buNone/>
              <a:defRPr/>
            </a:pPr>
            <a:r>
              <a:rPr lang="de-DE" sz="2200" dirty="0"/>
              <a:t>				0,48 · 2 = 0,96 + </a:t>
            </a:r>
            <a:r>
              <a:rPr lang="de-DE" sz="2200" dirty="0">
                <a:solidFill>
                  <a:srgbClr val="0000FF"/>
                </a:solidFill>
              </a:rPr>
              <a:t>0</a:t>
            </a:r>
          </a:p>
          <a:p>
            <a:pPr lvl="1">
              <a:buFont typeface="Arial" charset="0"/>
              <a:buNone/>
              <a:defRPr/>
            </a:pPr>
            <a:r>
              <a:rPr lang="de-DE" sz="2200" dirty="0"/>
              <a:t>				0,96 · 2 = 0,92 + </a:t>
            </a:r>
            <a:r>
              <a:rPr lang="de-DE" sz="2200" dirty="0">
                <a:solidFill>
                  <a:srgbClr val="0000FF"/>
                </a:solidFill>
              </a:rPr>
              <a:t>1</a:t>
            </a:r>
          </a:p>
          <a:p>
            <a:pPr lvl="1">
              <a:buFont typeface="Arial" charset="0"/>
              <a:buNone/>
              <a:defRPr/>
            </a:pPr>
            <a:r>
              <a:rPr lang="de-DE" sz="2200" dirty="0"/>
              <a:t>				0,92 · 2 = 0,84 + </a:t>
            </a:r>
            <a:r>
              <a:rPr lang="de-DE" sz="2200" dirty="0">
                <a:solidFill>
                  <a:srgbClr val="0000FF"/>
                </a:solidFill>
              </a:rPr>
              <a:t>1</a:t>
            </a:r>
          </a:p>
          <a:p>
            <a:pPr lvl="1">
              <a:buFont typeface="Arial" charset="0"/>
              <a:buNone/>
              <a:defRPr/>
            </a:pPr>
            <a:r>
              <a:rPr lang="de-DE" sz="2200" dirty="0"/>
              <a:t>				0,84 · 2 = 0,68 + </a:t>
            </a:r>
            <a:r>
              <a:rPr lang="de-DE" sz="2200" dirty="0">
                <a:solidFill>
                  <a:srgbClr val="0000FF"/>
                </a:solidFill>
              </a:rPr>
              <a:t>1</a:t>
            </a:r>
          </a:p>
          <a:p>
            <a:pPr lvl="1">
              <a:buFont typeface="Arial" charset="0"/>
              <a:buNone/>
              <a:defRPr/>
            </a:pPr>
            <a:r>
              <a:rPr lang="de-DE" sz="2200" dirty="0"/>
              <a:t>				0,68 · 2 = 0,36 + </a:t>
            </a:r>
            <a:r>
              <a:rPr lang="de-DE" sz="2200" dirty="0">
                <a:solidFill>
                  <a:srgbClr val="0000FF"/>
                </a:solidFill>
              </a:rPr>
              <a:t>1</a:t>
            </a:r>
          </a:p>
          <a:p>
            <a:pPr lvl="1">
              <a:buFont typeface="Arial" charset="0"/>
              <a:buNone/>
              <a:defRPr/>
            </a:pPr>
            <a:r>
              <a:rPr lang="de-DE" sz="2200" dirty="0"/>
              <a:t>				0,36 · 2 = 0,72 +</a:t>
            </a:r>
            <a:r>
              <a:rPr lang="de-DE" sz="2200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sz="2200" dirty="0">
                <a:solidFill>
                  <a:srgbClr val="0000FF"/>
                </a:solidFill>
              </a:rPr>
              <a:t>0</a:t>
            </a:r>
          </a:p>
          <a:p>
            <a:pPr lvl="1">
              <a:buFont typeface="Arial" charset="0"/>
              <a:buNone/>
              <a:defRPr/>
            </a:pPr>
            <a:r>
              <a:rPr lang="de-DE" sz="2200" dirty="0"/>
              <a:t>				0,72 · 2 = 0,44 + </a:t>
            </a:r>
            <a:r>
              <a:rPr lang="de-DE" sz="2200" dirty="0">
                <a:solidFill>
                  <a:srgbClr val="0000FF"/>
                </a:solidFill>
              </a:rPr>
              <a:t>1</a:t>
            </a:r>
            <a:r>
              <a:rPr lang="de-DE" sz="2200" dirty="0"/>
              <a:t>	-&gt; 0,00111101</a:t>
            </a:r>
            <a:r>
              <a:rPr lang="de-DE" sz="2200" baseline="-25000" dirty="0"/>
              <a:t>B</a:t>
            </a:r>
            <a:endParaRPr lang="de-DE" sz="2200" dirty="0">
              <a:solidFill>
                <a:srgbClr val="930000"/>
              </a:solidFill>
            </a:endParaRPr>
          </a:p>
          <a:p>
            <a:pPr lvl="1">
              <a:defRPr/>
            </a:pPr>
            <a:r>
              <a:rPr lang="de-DE" sz="2200" dirty="0">
                <a:solidFill>
                  <a:srgbClr val="0000FF"/>
                </a:solidFill>
              </a:rPr>
              <a:t>Abbruch</a:t>
            </a:r>
            <a:r>
              <a:rPr lang="de-DE" sz="2200" dirty="0">
                <a:solidFill>
                  <a:srgbClr val="930000"/>
                </a:solidFill>
              </a:rPr>
              <a:t> </a:t>
            </a:r>
            <a:r>
              <a:rPr lang="de-DE" sz="2200" dirty="0"/>
              <a:t>nach 8 Stellen (</a:t>
            </a:r>
            <a:r>
              <a:rPr lang="de-DE" sz="2200" dirty="0">
                <a:solidFill>
                  <a:srgbClr val="0000FF"/>
                </a:solidFill>
              </a:rPr>
              <a:t>Näherung</a:t>
            </a:r>
            <a:r>
              <a:rPr lang="de-DE" sz="2200" dirty="0">
                <a:solidFill>
                  <a:srgbClr val="930000"/>
                </a:solidFill>
              </a:rPr>
              <a:t> </a:t>
            </a:r>
            <a:r>
              <a:rPr lang="de-DE" sz="2200" dirty="0"/>
              <a:t>mit 0,238…)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41</a:t>
            </a:fld>
            <a:endParaRPr lang="de-DE"/>
          </a:p>
        </p:txBody>
      </p:sp>
      <p:grpSp>
        <p:nvGrpSpPr>
          <p:cNvPr id="2" name="Group 7"/>
          <p:cNvGrpSpPr>
            <a:grpSpLocks/>
          </p:cNvGrpSpPr>
          <p:nvPr/>
        </p:nvGrpSpPr>
        <p:grpSpPr bwMode="auto">
          <a:xfrm>
            <a:off x="4728416" y="2585765"/>
            <a:ext cx="984249" cy="1779644"/>
            <a:chOff x="3006" y="1712"/>
            <a:chExt cx="620" cy="1452"/>
          </a:xfrm>
        </p:grpSpPr>
        <p:sp>
          <p:nvSpPr>
            <p:cNvPr id="60424" name="AutoShape 5"/>
            <p:cNvSpPr>
              <a:spLocks noChangeArrowheads="1"/>
            </p:cNvSpPr>
            <p:nvPr/>
          </p:nvSpPr>
          <p:spPr bwMode="auto">
            <a:xfrm>
              <a:off x="3051" y="1712"/>
              <a:ext cx="575" cy="259"/>
            </a:xfrm>
            <a:prstGeom prst="wedgeRoundRectCallout">
              <a:avLst>
                <a:gd name="adj1" fmla="val -114856"/>
                <a:gd name="adj2" fmla="val -63218"/>
                <a:gd name="adj3" fmla="val 16667"/>
              </a:avLst>
            </a:prstGeom>
            <a:solidFill>
              <a:srgbClr val="99CCFF"/>
            </a:solidFill>
            <a:ln w="2857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>
              <a:spAutoFit/>
            </a:bodyPr>
            <a:lstStyle/>
            <a:p>
              <a:r>
                <a:rPr lang="en-GB" dirty="0"/>
                <a:t>MSB!</a:t>
              </a:r>
              <a:endParaRPr lang="en-US" dirty="0"/>
            </a:p>
          </p:txBody>
        </p:sp>
        <p:sp>
          <p:nvSpPr>
            <p:cNvPr id="60425" name="AutoShape 6"/>
            <p:cNvSpPr>
              <a:spLocks noChangeArrowheads="1"/>
            </p:cNvSpPr>
            <p:nvPr/>
          </p:nvSpPr>
          <p:spPr bwMode="auto">
            <a:xfrm>
              <a:off x="3006" y="2905"/>
              <a:ext cx="575" cy="259"/>
            </a:xfrm>
            <a:prstGeom prst="wedgeRoundRectCallout">
              <a:avLst>
                <a:gd name="adj1" fmla="val -117912"/>
                <a:gd name="adj2" fmla="val 188370"/>
                <a:gd name="adj3" fmla="val 16667"/>
              </a:avLst>
            </a:prstGeom>
            <a:solidFill>
              <a:srgbClr val="99CCFF"/>
            </a:solidFill>
            <a:ln w="2857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>
              <a:spAutoFit/>
            </a:bodyPr>
            <a:lstStyle/>
            <a:p>
              <a:r>
                <a:rPr lang="en-GB" dirty="0"/>
                <a:t>LSB!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7928827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4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4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41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4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4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41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41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41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41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41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4727848" y="1201167"/>
            <a:ext cx="2376264" cy="539750"/>
          </a:xfrm>
          <a:prstGeom prst="rect">
            <a:avLst/>
          </a:prstGeom>
          <a:solidFill>
            <a:srgbClr val="3399FF">
              <a:alpha val="25000"/>
            </a:srgb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61442" name="Rectangle 2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 sz="2800" dirty="0"/>
              <a:t>Gleitkommazahlen (</a:t>
            </a:r>
            <a:r>
              <a:rPr lang="de-DE" sz="2800" i="1" dirty="0" err="1"/>
              <a:t>floating</a:t>
            </a:r>
            <a:r>
              <a:rPr lang="de-DE" sz="2800" i="1" dirty="0"/>
              <a:t> </a:t>
            </a:r>
            <a:r>
              <a:rPr lang="de-DE" sz="2800" i="1" dirty="0" err="1"/>
              <a:t>point</a:t>
            </a:r>
            <a:r>
              <a:rPr lang="de-DE" sz="2800" dirty="0"/>
              <a:t>)</a:t>
            </a:r>
          </a:p>
        </p:txBody>
      </p:sp>
      <p:sp>
        <p:nvSpPr>
          <p:cNvPr id="61443" name="Rectangle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Aft>
                <a:spcPts val="1200"/>
              </a:spcAft>
              <a:defRPr/>
            </a:pPr>
            <a:r>
              <a:rPr lang="de-DE" sz="2400" dirty="0"/>
              <a:t>Näherung für reelle Zahlen: 		(-1)</a:t>
            </a:r>
            <a:r>
              <a:rPr lang="de-DE" sz="2400" i="1" baseline="30000" dirty="0"/>
              <a:t>s</a:t>
            </a:r>
            <a:r>
              <a:rPr lang="de-DE" sz="2400" dirty="0"/>
              <a:t> </a:t>
            </a:r>
            <a:r>
              <a:rPr lang="de-DE" sz="2400" dirty="0">
                <a:sym typeface="Wingdings" panose="05000000000000000000" pitchFamily="2" charset="2"/>
              </a:rPr>
              <a:t></a:t>
            </a:r>
            <a:r>
              <a:rPr lang="de-DE" sz="2400" dirty="0"/>
              <a:t> 1.</a:t>
            </a:r>
            <a:r>
              <a:rPr lang="de-DE" sz="2400" i="1" dirty="0"/>
              <a:t>f</a:t>
            </a:r>
            <a:r>
              <a:rPr lang="de-DE" sz="2400" dirty="0"/>
              <a:t>  </a:t>
            </a:r>
            <a:r>
              <a:rPr lang="de-DE" sz="2400" dirty="0">
                <a:sym typeface="Wingdings" panose="05000000000000000000" pitchFamily="2" charset="2"/>
              </a:rPr>
              <a:t></a:t>
            </a:r>
            <a:r>
              <a:rPr lang="de-DE" sz="2400" dirty="0"/>
              <a:t> 2</a:t>
            </a:r>
            <a:r>
              <a:rPr lang="de-DE" sz="2400" i="1" baseline="30000" dirty="0"/>
              <a:t>E</a:t>
            </a:r>
          </a:p>
          <a:p>
            <a:pPr lvl="1">
              <a:defRPr/>
            </a:pPr>
            <a:r>
              <a:rPr lang="de-DE" sz="2200" i="1" dirty="0"/>
              <a:t>s</a:t>
            </a:r>
            <a:r>
              <a:rPr lang="de-DE" sz="2200" dirty="0"/>
              <a:t>: </a:t>
            </a:r>
            <a:r>
              <a:rPr lang="de-DE" sz="2200" dirty="0">
                <a:solidFill>
                  <a:srgbClr val="0000FF"/>
                </a:solidFill>
              </a:rPr>
              <a:t>Vorzeichen</a:t>
            </a:r>
            <a:r>
              <a:rPr lang="de-DE" sz="2200" dirty="0">
                <a:solidFill>
                  <a:srgbClr val="930000"/>
                </a:solidFill>
              </a:rPr>
              <a:t> </a:t>
            </a:r>
            <a:r>
              <a:rPr lang="de-DE" sz="2200" dirty="0"/>
              <a:t>(</a:t>
            </a:r>
            <a:r>
              <a:rPr lang="de-DE" sz="2200" i="1" dirty="0" err="1"/>
              <a:t>sign</a:t>
            </a:r>
            <a:r>
              <a:rPr lang="de-DE" sz="2200" dirty="0"/>
              <a:t>): 0 </a:t>
            </a:r>
            <a:r>
              <a:rPr lang="de-DE" sz="2200" dirty="0">
                <a:sym typeface="Wingdings"/>
              </a:rPr>
              <a:t> </a:t>
            </a:r>
            <a:r>
              <a:rPr lang="de-DE" sz="2200" dirty="0"/>
              <a:t>positiv, 1 </a:t>
            </a:r>
            <a:r>
              <a:rPr lang="de-DE" sz="2200" dirty="0">
                <a:sym typeface="Wingdings"/>
              </a:rPr>
              <a:t> </a:t>
            </a:r>
            <a:r>
              <a:rPr lang="de-DE" sz="2200" dirty="0"/>
              <a:t>negativ</a:t>
            </a:r>
          </a:p>
          <a:p>
            <a:pPr lvl="1">
              <a:defRPr/>
            </a:pPr>
            <a:r>
              <a:rPr lang="de-DE" sz="2200" dirty="0"/>
              <a:t>1.</a:t>
            </a:r>
            <a:r>
              <a:rPr lang="de-DE" sz="2200" i="1" dirty="0"/>
              <a:t>f</a:t>
            </a:r>
            <a:r>
              <a:rPr lang="de-DE" sz="2200" dirty="0"/>
              <a:t>: </a:t>
            </a:r>
            <a:r>
              <a:rPr lang="de-DE" sz="2200" dirty="0">
                <a:solidFill>
                  <a:srgbClr val="0000FF"/>
                </a:solidFill>
              </a:rPr>
              <a:t>Mantisse</a:t>
            </a:r>
            <a:r>
              <a:rPr lang="de-DE" sz="2200" dirty="0">
                <a:solidFill>
                  <a:srgbClr val="930000"/>
                </a:solidFill>
              </a:rPr>
              <a:t> </a:t>
            </a:r>
            <a:r>
              <a:rPr lang="de-DE" sz="2200" dirty="0"/>
              <a:t>(Betrag) als </a:t>
            </a:r>
            <a:r>
              <a:rPr lang="de-DE" sz="2200" dirty="0">
                <a:solidFill>
                  <a:srgbClr val="0000FF"/>
                </a:solidFill>
              </a:rPr>
              <a:t>normalisierte Zahl</a:t>
            </a:r>
          </a:p>
          <a:p>
            <a:pPr lvl="2">
              <a:defRPr/>
            </a:pPr>
            <a:r>
              <a:rPr lang="de-DE" sz="2000" dirty="0"/>
              <a:t>Zahl wird so lange geschoben, bis sie führende 1 aufweist</a:t>
            </a:r>
          </a:p>
          <a:p>
            <a:pPr lvl="2">
              <a:defRPr/>
            </a:pPr>
            <a:r>
              <a:rPr lang="de-DE" sz="2000" dirty="0"/>
              <a:t>Binärpunkt wird rechts von dieser 1 festgelegt (1.0 </a:t>
            </a:r>
            <a:r>
              <a:rPr lang="de-DE" sz="2000" u="sng" dirty="0"/>
              <a:t>&lt;</a:t>
            </a:r>
            <a:r>
              <a:rPr lang="de-DE" sz="2000" dirty="0"/>
              <a:t> 1.</a:t>
            </a:r>
            <a:r>
              <a:rPr lang="de-DE" sz="2000" i="1" dirty="0"/>
              <a:t>f</a:t>
            </a:r>
            <a:r>
              <a:rPr lang="de-DE" sz="2000" dirty="0"/>
              <a:t> &lt; 2.0)</a:t>
            </a:r>
          </a:p>
          <a:p>
            <a:pPr lvl="1">
              <a:defRPr/>
            </a:pPr>
            <a:r>
              <a:rPr lang="de-DE" sz="2200" i="1" dirty="0"/>
              <a:t>f</a:t>
            </a:r>
            <a:r>
              <a:rPr lang="de-DE" sz="2200" dirty="0"/>
              <a:t>: nur der </a:t>
            </a:r>
            <a:r>
              <a:rPr lang="de-DE" sz="2200" dirty="0" err="1">
                <a:solidFill>
                  <a:srgbClr val="0000FF"/>
                </a:solidFill>
              </a:rPr>
              <a:t>fraktionale</a:t>
            </a:r>
            <a:r>
              <a:rPr lang="de-DE" sz="2200" dirty="0">
                <a:solidFill>
                  <a:srgbClr val="0000FF"/>
                </a:solidFill>
              </a:rPr>
              <a:t> Anteil </a:t>
            </a:r>
            <a:r>
              <a:rPr lang="de-DE" sz="2200" i="1" dirty="0">
                <a:solidFill>
                  <a:srgbClr val="0000FF"/>
                </a:solidFill>
              </a:rPr>
              <a:t>f</a:t>
            </a:r>
            <a:r>
              <a:rPr lang="de-DE" sz="2200" dirty="0">
                <a:solidFill>
                  <a:srgbClr val="0000FF"/>
                </a:solidFill>
              </a:rPr>
              <a:t> </a:t>
            </a:r>
            <a:r>
              <a:rPr lang="de-DE" sz="2200" dirty="0"/>
              <a:t>(</a:t>
            </a:r>
            <a:r>
              <a:rPr lang="de-DE" sz="2200" i="1" dirty="0" err="1"/>
              <a:t>fraction</a:t>
            </a:r>
            <a:r>
              <a:rPr lang="de-DE" sz="2200" dirty="0"/>
              <a:t>) wird gespeichert, </a:t>
            </a:r>
            <a:r>
              <a:rPr lang="de-DE" sz="2200" dirty="0">
                <a:solidFill>
                  <a:srgbClr val="0000FF"/>
                </a:solidFill>
              </a:rPr>
              <a:t>führende 1 ist implizit </a:t>
            </a:r>
            <a:r>
              <a:rPr lang="de-DE" sz="2200" dirty="0"/>
              <a:t>(wird von Recheneinheit ergänzt)</a:t>
            </a:r>
          </a:p>
          <a:p>
            <a:pPr lvl="1">
              <a:defRPr/>
            </a:pPr>
            <a:r>
              <a:rPr lang="de-DE" sz="2200" i="1" dirty="0"/>
              <a:t>E</a:t>
            </a:r>
            <a:r>
              <a:rPr lang="de-DE" sz="2200" dirty="0"/>
              <a:t>: vorzeichenbehafteter Exponent, wird als</a:t>
            </a:r>
            <a:r>
              <a:rPr lang="de-DE" sz="2200" dirty="0">
                <a:solidFill>
                  <a:srgbClr val="930000"/>
                </a:solidFill>
              </a:rPr>
              <a:t> </a:t>
            </a:r>
            <a:r>
              <a:rPr lang="de-DE" sz="2200" dirty="0">
                <a:solidFill>
                  <a:srgbClr val="0000FF"/>
                </a:solidFill>
              </a:rPr>
              <a:t>transformierter Exponent </a:t>
            </a:r>
            <a:r>
              <a:rPr lang="de-DE" sz="2200" i="1" dirty="0">
                <a:solidFill>
                  <a:srgbClr val="0000FF"/>
                </a:solidFill>
              </a:rPr>
              <a:t>e</a:t>
            </a:r>
            <a:r>
              <a:rPr lang="de-DE" sz="2200" dirty="0">
                <a:solidFill>
                  <a:srgbClr val="0000FF"/>
                </a:solidFill>
              </a:rPr>
              <a:t> </a:t>
            </a:r>
            <a:r>
              <a:rPr lang="de-DE" sz="2200" dirty="0"/>
              <a:t>gespeichert</a:t>
            </a:r>
          </a:p>
          <a:p>
            <a:pPr lvl="1">
              <a:defRPr/>
            </a:pPr>
            <a:r>
              <a:rPr lang="de-DE" sz="2200" i="1" dirty="0"/>
              <a:t>e</a:t>
            </a:r>
            <a:r>
              <a:rPr lang="de-DE" sz="2200" dirty="0"/>
              <a:t>: </a:t>
            </a:r>
            <a:r>
              <a:rPr lang="de-DE" sz="2200" i="1" dirty="0"/>
              <a:t>e</a:t>
            </a:r>
            <a:r>
              <a:rPr lang="de-DE" sz="2200" dirty="0"/>
              <a:t> = </a:t>
            </a:r>
            <a:r>
              <a:rPr lang="de-DE" sz="2200" i="1" dirty="0"/>
              <a:t>E</a:t>
            </a:r>
            <a:r>
              <a:rPr lang="de-DE" sz="2200" dirty="0"/>
              <a:t> + </a:t>
            </a:r>
            <a:r>
              <a:rPr lang="de-DE" sz="2200" dirty="0" err="1"/>
              <a:t>bias</a:t>
            </a:r>
            <a:endParaRPr lang="de-DE" sz="2000" dirty="0"/>
          </a:p>
          <a:p>
            <a:pPr lvl="1">
              <a:defRPr/>
            </a:pPr>
            <a:endParaRPr lang="de-DE" sz="220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4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07509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4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4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4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4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4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4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4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2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 sz="2800" dirty="0"/>
              <a:t>IEEE-754 Standard</a:t>
            </a:r>
          </a:p>
        </p:txBody>
      </p:sp>
      <p:sp>
        <p:nvSpPr>
          <p:cNvPr id="62467" name="Rectangle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2400" dirty="0"/>
              <a:t>Einfache Genauigkeit (</a:t>
            </a:r>
            <a:r>
              <a:rPr lang="de-DE" sz="2400" i="1" dirty="0" err="1"/>
              <a:t>single</a:t>
            </a:r>
            <a:r>
              <a:rPr lang="de-DE" sz="2400" i="1" dirty="0"/>
              <a:t> </a:t>
            </a:r>
            <a:r>
              <a:rPr lang="de-DE" sz="2400" i="1" dirty="0" err="1"/>
              <a:t>precision</a:t>
            </a:r>
            <a:r>
              <a:rPr lang="de-DE" sz="2400" dirty="0"/>
              <a:t>, 32 Bit)</a:t>
            </a:r>
          </a:p>
          <a:p>
            <a:pPr lvl="2"/>
            <a:endParaRPr lang="de-DE" sz="2000" dirty="0"/>
          </a:p>
          <a:p>
            <a:pPr lvl="2"/>
            <a:endParaRPr lang="de-DE" sz="2000" dirty="0"/>
          </a:p>
          <a:p>
            <a:pPr lvl="2"/>
            <a:r>
              <a:rPr lang="de-DE" sz="2000" dirty="0" err="1"/>
              <a:t>bias</a:t>
            </a:r>
            <a:r>
              <a:rPr lang="de-DE" sz="2000" dirty="0"/>
              <a:t> = 127</a:t>
            </a:r>
          </a:p>
          <a:p>
            <a:pPr lvl="2"/>
            <a:r>
              <a:rPr lang="de-DE" sz="2000" dirty="0"/>
              <a:t>C/Java: </a:t>
            </a:r>
            <a:r>
              <a:rPr lang="de-DE" sz="2000" dirty="0" err="1">
                <a:latin typeface="Courier New" pitchFamily="49" charset="0"/>
              </a:rPr>
              <a:t>float</a:t>
            </a:r>
            <a:endParaRPr lang="de-DE" sz="2000" dirty="0"/>
          </a:p>
          <a:p>
            <a:endParaRPr lang="de-DE" sz="2400" dirty="0"/>
          </a:p>
          <a:p>
            <a:r>
              <a:rPr lang="de-DE" sz="2400" dirty="0"/>
              <a:t>Doppelte Genauigkeit (</a:t>
            </a:r>
            <a:r>
              <a:rPr lang="de-DE" sz="2400" i="1" dirty="0"/>
              <a:t>double </a:t>
            </a:r>
            <a:r>
              <a:rPr lang="de-DE" sz="2400" i="1" dirty="0" err="1"/>
              <a:t>precision</a:t>
            </a:r>
            <a:r>
              <a:rPr lang="de-DE" sz="2400" dirty="0"/>
              <a:t>, 64 Bit)</a:t>
            </a:r>
          </a:p>
          <a:p>
            <a:pPr lvl="2"/>
            <a:endParaRPr lang="de-DE" sz="2000" dirty="0"/>
          </a:p>
          <a:p>
            <a:pPr lvl="2"/>
            <a:endParaRPr lang="de-DE" sz="2000" dirty="0"/>
          </a:p>
          <a:p>
            <a:pPr lvl="2"/>
            <a:r>
              <a:rPr lang="de-DE" sz="2000" dirty="0" err="1"/>
              <a:t>bias</a:t>
            </a:r>
            <a:r>
              <a:rPr lang="de-DE" sz="2000" dirty="0"/>
              <a:t> = 1023</a:t>
            </a:r>
          </a:p>
          <a:p>
            <a:pPr lvl="2"/>
            <a:r>
              <a:rPr lang="de-DE" sz="2000" dirty="0"/>
              <a:t>C/Java: </a:t>
            </a:r>
            <a:r>
              <a:rPr lang="de-DE" sz="2000" dirty="0">
                <a:latin typeface="Courier New" pitchFamily="49" charset="0"/>
              </a:rPr>
              <a:t>double</a:t>
            </a:r>
            <a:endParaRPr lang="de-DE" sz="2000" dirty="0"/>
          </a:p>
          <a:p>
            <a:pPr>
              <a:buFont typeface="Arial" charset="0"/>
              <a:buNone/>
            </a:pPr>
            <a:endParaRPr lang="de-DE" sz="240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43</a:t>
            </a:fld>
            <a:endParaRPr lang="de-DE"/>
          </a:p>
        </p:txBody>
      </p:sp>
      <p:graphicFrame>
        <p:nvGraphicFramePr>
          <p:cNvPr id="177229" name="Group 7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4945480"/>
              </p:ext>
            </p:extLst>
          </p:nvPr>
        </p:nvGraphicFramePr>
        <p:xfrm>
          <a:off x="3025776" y="1772816"/>
          <a:ext cx="4060825" cy="731520"/>
        </p:xfrm>
        <a:graphic>
          <a:graphicData uri="http://schemas.openxmlformats.org/drawingml/2006/table">
            <a:tbl>
              <a:tblPr/>
              <a:tblGrid>
                <a:gridCol w="2825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271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511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575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8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de-DE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23 Bit</a:t>
                      </a: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575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de-DE" sz="20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FF">
                        <a:alpha val="2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de-DE" sz="20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FF">
                        <a:alpha val="2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de-DE" sz="20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f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FF">
                        <a:alpha val="2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77249" name="Group 9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2269176"/>
              </p:ext>
            </p:extLst>
          </p:nvPr>
        </p:nvGraphicFramePr>
        <p:xfrm>
          <a:off x="3019425" y="4113128"/>
          <a:ext cx="6767830" cy="731520"/>
        </p:xfrm>
        <a:graphic>
          <a:graphicData uri="http://schemas.openxmlformats.org/drawingml/2006/table">
            <a:tbl>
              <a:tblPr/>
              <a:tblGrid>
                <a:gridCol w="2082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382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22128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575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de-DE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1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52 Bit</a:t>
                      </a: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575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de-DE" sz="20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FF">
                        <a:alpha val="2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de-DE" sz="20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FF">
                        <a:alpha val="2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de-DE" sz="20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f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FF">
                        <a:alpha val="2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8750611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2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 sz="2800" dirty="0"/>
              <a:t>Beispiel</a:t>
            </a:r>
            <a:endParaRPr lang="de-DE" dirty="0"/>
          </a:p>
        </p:txBody>
      </p:sp>
      <p:sp>
        <p:nvSpPr>
          <p:cNvPr id="63491" name="Rectangle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2400" dirty="0"/>
              <a:t>-0,75</a:t>
            </a:r>
            <a:r>
              <a:rPr lang="de-DE" sz="2400" baseline="-25000" dirty="0"/>
              <a:t>D</a:t>
            </a:r>
            <a:r>
              <a:rPr lang="de-DE" sz="2400" dirty="0"/>
              <a:t> mit einfacher Genauigkeit</a:t>
            </a:r>
          </a:p>
          <a:p>
            <a:pPr lvl="1"/>
            <a:r>
              <a:rPr lang="de-DE" sz="2200" i="1" dirty="0"/>
              <a:t>s</a:t>
            </a:r>
            <a:r>
              <a:rPr lang="de-DE" sz="2200" dirty="0"/>
              <a:t> = 1</a:t>
            </a:r>
          </a:p>
          <a:p>
            <a:pPr lvl="1"/>
            <a:r>
              <a:rPr lang="de-DE" sz="2200" dirty="0"/>
              <a:t>0,75</a:t>
            </a:r>
            <a:r>
              <a:rPr lang="de-DE" sz="2200" baseline="-25000" dirty="0"/>
              <a:t>D</a:t>
            </a:r>
            <a:r>
              <a:rPr lang="de-DE" sz="2200" dirty="0"/>
              <a:t> als rationale </a:t>
            </a:r>
            <a:r>
              <a:rPr lang="de-DE" sz="2200" dirty="0" err="1"/>
              <a:t>Dualzahl</a:t>
            </a:r>
            <a:r>
              <a:rPr lang="de-DE" sz="2200" dirty="0"/>
              <a:t> ist 0,11</a:t>
            </a:r>
            <a:r>
              <a:rPr lang="de-DE" sz="2200" baseline="-25000" dirty="0"/>
              <a:t>B</a:t>
            </a:r>
          </a:p>
          <a:p>
            <a:pPr lvl="1"/>
            <a:r>
              <a:rPr lang="de-DE" sz="2200" dirty="0"/>
              <a:t>Normalisiere: 0,11 = 1,1 · 2</a:t>
            </a:r>
            <a:r>
              <a:rPr lang="de-DE" sz="2200" baseline="30000" dirty="0"/>
              <a:t>-1</a:t>
            </a:r>
          </a:p>
          <a:p>
            <a:pPr lvl="2"/>
            <a:r>
              <a:rPr lang="de-DE" sz="2000" dirty="0"/>
              <a:t>führende 1 ist implizit </a:t>
            </a:r>
            <a:r>
              <a:rPr lang="de-DE" sz="2000" dirty="0">
                <a:sym typeface="Wingdings"/>
              </a:rPr>
              <a:t> </a:t>
            </a:r>
            <a:r>
              <a:rPr lang="de-DE" sz="2000" i="1" dirty="0">
                <a:sym typeface="Wingdings"/>
              </a:rPr>
              <a:t>f</a:t>
            </a:r>
            <a:r>
              <a:rPr lang="de-DE" sz="2000" dirty="0">
                <a:sym typeface="Wingdings"/>
              </a:rPr>
              <a:t> = 10000....</a:t>
            </a:r>
            <a:endParaRPr lang="de-DE" sz="2000" dirty="0"/>
          </a:p>
          <a:p>
            <a:pPr lvl="1"/>
            <a:r>
              <a:rPr lang="de-DE" sz="2200" dirty="0"/>
              <a:t>transformierter Exponent </a:t>
            </a:r>
            <a:r>
              <a:rPr lang="de-DE" sz="2200" i="1" dirty="0" err="1"/>
              <a:t>e</a:t>
            </a:r>
            <a:endParaRPr lang="de-DE" sz="2200" i="1" dirty="0"/>
          </a:p>
          <a:p>
            <a:pPr lvl="1">
              <a:buFont typeface="Arial" charset="0"/>
              <a:buNone/>
            </a:pPr>
            <a:r>
              <a:rPr lang="de-DE" sz="2200" i="1" dirty="0"/>
              <a:t>			</a:t>
            </a:r>
            <a:r>
              <a:rPr lang="de-DE" sz="2200" i="1" dirty="0" err="1"/>
              <a:t>e</a:t>
            </a:r>
            <a:r>
              <a:rPr lang="de-DE" sz="2200" dirty="0"/>
              <a:t> = </a:t>
            </a:r>
            <a:r>
              <a:rPr lang="de-DE" sz="2200" i="1" dirty="0"/>
              <a:t>E</a:t>
            </a:r>
            <a:r>
              <a:rPr lang="de-DE" sz="2200" dirty="0"/>
              <a:t> + </a:t>
            </a:r>
            <a:r>
              <a:rPr lang="de-DE" sz="2200" dirty="0" err="1"/>
              <a:t>bias</a:t>
            </a:r>
            <a:r>
              <a:rPr lang="de-DE" sz="2200" dirty="0"/>
              <a:t> = -1 + 127 = 126 = 0111 1110</a:t>
            </a:r>
            <a:r>
              <a:rPr lang="de-DE" sz="2200" baseline="-25000" dirty="0"/>
              <a:t>B</a:t>
            </a:r>
          </a:p>
          <a:p>
            <a:pPr lvl="1"/>
            <a:endParaRPr lang="de-DE" sz="220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44</a:t>
            </a:fld>
            <a:endParaRPr lang="de-DE"/>
          </a:p>
        </p:txBody>
      </p:sp>
      <p:graphicFrame>
        <p:nvGraphicFramePr>
          <p:cNvPr id="178201" name="Group 25"/>
          <p:cNvGraphicFramePr>
            <a:graphicFrameLocks noGrp="1"/>
          </p:cNvGraphicFramePr>
          <p:nvPr/>
        </p:nvGraphicFramePr>
        <p:xfrm>
          <a:off x="3636963" y="4419600"/>
          <a:ext cx="4979988" cy="731520"/>
        </p:xfrm>
        <a:graphic>
          <a:graphicData uri="http://schemas.openxmlformats.org/drawingml/2006/table">
            <a:tbl>
              <a:tblPr/>
              <a:tblGrid>
                <a:gridCol w="2825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7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42741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575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de-DE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8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23 Bit</a:t>
                      </a: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575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de-DE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FF">
                        <a:alpha val="2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de-DE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111 111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FF">
                        <a:alpha val="2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de-DE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00 0000 0000 0000 0000 000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FF">
                        <a:alpha val="2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859797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49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49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49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49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49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49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Rectangle 2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 sz="2800" dirty="0"/>
              <a:t>Sonderfälle</a:t>
            </a:r>
            <a:endParaRPr lang="de-DE" dirty="0"/>
          </a:p>
        </p:txBody>
      </p:sp>
      <p:sp>
        <p:nvSpPr>
          <p:cNvPr id="64515" name="Rectangle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defRPr/>
            </a:pPr>
            <a:r>
              <a:rPr lang="de-DE" sz="2200" dirty="0"/>
              <a:t>Neben </a:t>
            </a:r>
            <a:r>
              <a:rPr lang="de-DE" sz="2200" dirty="0">
                <a:solidFill>
                  <a:srgbClr val="0000FF"/>
                </a:solidFill>
              </a:rPr>
              <a:t>normalisierten Zahlen </a:t>
            </a:r>
            <a:r>
              <a:rPr lang="de-DE" sz="2200" dirty="0"/>
              <a:t>sind außerhalb des Zahlenraums definiert:</a:t>
            </a:r>
          </a:p>
          <a:p>
            <a:pPr lvl="1">
              <a:defRPr/>
            </a:pPr>
            <a:r>
              <a:rPr lang="de-DE" sz="2000" dirty="0">
                <a:sym typeface="Symbol" pitchFamily="18" charset="2"/>
              </a:rPr>
              <a:t> Null</a:t>
            </a:r>
          </a:p>
          <a:p>
            <a:pPr lvl="1">
              <a:defRPr/>
            </a:pPr>
            <a:r>
              <a:rPr lang="de-DE" sz="2000">
                <a:sym typeface="Symbol" pitchFamily="18" charset="2"/>
              </a:rPr>
              <a:t> Unendlich</a:t>
            </a:r>
          </a:p>
          <a:p>
            <a:pPr lvl="1">
              <a:defRPr/>
            </a:pPr>
            <a:r>
              <a:rPr lang="de-DE" sz="2000">
                <a:sym typeface="Symbol" pitchFamily="18" charset="2"/>
              </a:rPr>
              <a:t> </a:t>
            </a:r>
            <a:r>
              <a:rPr lang="de-DE" sz="2000" dirty="0" err="1">
                <a:sym typeface="Symbol" pitchFamily="18" charset="2"/>
              </a:rPr>
              <a:t>unnormalisierte</a:t>
            </a:r>
            <a:r>
              <a:rPr lang="de-DE" sz="2000" dirty="0">
                <a:sym typeface="Symbol" pitchFamily="18" charset="2"/>
              </a:rPr>
              <a:t> (</a:t>
            </a:r>
            <a:r>
              <a:rPr lang="de-DE" sz="2000" i="1" dirty="0" err="1">
                <a:sym typeface="Symbol" pitchFamily="18" charset="2"/>
              </a:rPr>
              <a:t>unnormalized</a:t>
            </a:r>
            <a:r>
              <a:rPr lang="de-DE" sz="2000" dirty="0">
                <a:sym typeface="Symbol" pitchFamily="18" charset="2"/>
              </a:rPr>
              <a:t>) Zahlen: winzige (</a:t>
            </a:r>
            <a:r>
              <a:rPr lang="de-DE" sz="2000" i="1" dirty="0" err="1">
                <a:sym typeface="Symbol" pitchFamily="18" charset="2"/>
              </a:rPr>
              <a:t>tiny</a:t>
            </a:r>
            <a:r>
              <a:rPr lang="de-DE" sz="2000" dirty="0">
                <a:sym typeface="Symbol" pitchFamily="18" charset="2"/>
              </a:rPr>
              <a:t>) Zahlen</a:t>
            </a:r>
          </a:p>
          <a:p>
            <a:pPr lvl="1">
              <a:defRPr/>
            </a:pPr>
            <a:r>
              <a:rPr lang="de-DE" sz="2000" dirty="0">
                <a:sym typeface="Symbol" pitchFamily="18" charset="2"/>
              </a:rPr>
              <a:t>Nichtzahlen (Not a </a:t>
            </a:r>
            <a:r>
              <a:rPr lang="de-DE" sz="2000" dirty="0" err="1">
                <a:sym typeface="Symbol" pitchFamily="18" charset="2"/>
              </a:rPr>
              <a:t>Number</a:t>
            </a:r>
            <a:r>
              <a:rPr lang="de-DE" sz="2000" dirty="0">
                <a:sym typeface="Symbol" pitchFamily="18" charset="2"/>
              </a:rPr>
              <a:t>, </a:t>
            </a:r>
            <a:r>
              <a:rPr lang="de-DE" sz="2000" dirty="0" err="1">
                <a:sym typeface="Symbol" pitchFamily="18" charset="2"/>
              </a:rPr>
              <a:t>NaN</a:t>
            </a:r>
            <a:r>
              <a:rPr lang="de-DE" sz="2000" dirty="0">
                <a:sym typeface="Symbol" pitchFamily="18" charset="2"/>
              </a:rPr>
              <a:t>): Ergebnis ungültiger Operation wie 0/0</a:t>
            </a:r>
          </a:p>
          <a:p>
            <a:pPr>
              <a:defRPr/>
            </a:pPr>
            <a:r>
              <a:rPr lang="de-DE" sz="2200" dirty="0">
                <a:sym typeface="Symbol" pitchFamily="18" charset="2"/>
              </a:rPr>
              <a:t>Codiert durch den größten und kleinsten </a:t>
            </a:r>
            <a:r>
              <a:rPr lang="de-DE" sz="2200" dirty="0" err="1">
                <a:sym typeface="Symbol" pitchFamily="18" charset="2"/>
              </a:rPr>
              <a:t>Exponentwert</a:t>
            </a:r>
            <a:r>
              <a:rPr lang="de-DE" sz="2200" dirty="0">
                <a:sym typeface="Symbol" pitchFamily="18" charset="2"/>
              </a:rPr>
              <a:t> </a:t>
            </a:r>
            <a:r>
              <a:rPr lang="de-DE" sz="2200" i="1" dirty="0">
                <a:sym typeface="Symbol" pitchFamily="18" charset="2"/>
              </a:rPr>
              <a:t>e</a:t>
            </a:r>
            <a:r>
              <a:rPr lang="de-DE" sz="2200" dirty="0">
                <a:sym typeface="Symbol" pitchFamily="18" charset="2"/>
              </a:rPr>
              <a:t> und </a:t>
            </a:r>
            <a:r>
              <a:rPr lang="de-DE" sz="2200" i="1" dirty="0">
                <a:sym typeface="Symbol" pitchFamily="18" charset="2"/>
              </a:rPr>
              <a:t>f</a:t>
            </a:r>
            <a:r>
              <a:rPr lang="de-DE" sz="2200" dirty="0">
                <a:sym typeface="Symbol" pitchFamily="18" charset="2"/>
              </a:rPr>
              <a:t>:</a:t>
            </a:r>
          </a:p>
          <a:p>
            <a:pPr lvl="1">
              <a:defRPr/>
            </a:pPr>
            <a:r>
              <a:rPr lang="de-DE" sz="2000" dirty="0">
                <a:sym typeface="Symbol" pitchFamily="18" charset="2"/>
              </a:rPr>
              <a:t>normal.: </a:t>
            </a:r>
            <a:r>
              <a:rPr lang="de-DE" sz="2000" dirty="0"/>
              <a:t>(-1)</a:t>
            </a:r>
            <a:r>
              <a:rPr lang="de-DE" sz="2000" i="1" baseline="30000" dirty="0"/>
              <a:t>s</a:t>
            </a:r>
            <a:r>
              <a:rPr lang="de-DE" sz="2000" dirty="0"/>
              <a:t> </a:t>
            </a:r>
            <a:r>
              <a:rPr lang="de-DE" sz="2000" dirty="0">
                <a:sym typeface="Wingdings" panose="05000000000000000000" pitchFamily="2" charset="2"/>
              </a:rPr>
              <a:t></a:t>
            </a:r>
            <a:r>
              <a:rPr lang="de-DE" sz="2000" dirty="0"/>
              <a:t> 1.</a:t>
            </a:r>
            <a:r>
              <a:rPr lang="de-DE" sz="2000" i="1" dirty="0"/>
              <a:t>f</a:t>
            </a:r>
            <a:r>
              <a:rPr lang="de-DE" sz="2000" dirty="0"/>
              <a:t>  </a:t>
            </a:r>
            <a:r>
              <a:rPr lang="de-DE" sz="2000" dirty="0">
                <a:sym typeface="Wingdings" panose="05000000000000000000" pitchFamily="2" charset="2"/>
              </a:rPr>
              <a:t></a:t>
            </a:r>
            <a:r>
              <a:rPr lang="de-DE" sz="2000" dirty="0"/>
              <a:t> 2</a:t>
            </a:r>
            <a:r>
              <a:rPr lang="de-DE" sz="2000" i="1" baseline="30000" dirty="0"/>
              <a:t>e</a:t>
            </a:r>
            <a:r>
              <a:rPr lang="de-DE" sz="2000" baseline="30000" dirty="0"/>
              <a:t>-127 bzw. -1023</a:t>
            </a:r>
            <a:r>
              <a:rPr lang="de-DE" sz="2000" dirty="0"/>
              <a:t>		1 </a:t>
            </a:r>
            <a:r>
              <a:rPr lang="de-DE" sz="2000" u="sng" dirty="0"/>
              <a:t>&lt; </a:t>
            </a:r>
            <a:r>
              <a:rPr lang="de-DE" sz="2000" i="1" dirty="0"/>
              <a:t>e </a:t>
            </a:r>
            <a:r>
              <a:rPr lang="de-DE" sz="2000" u="sng" dirty="0"/>
              <a:t>&lt; </a:t>
            </a:r>
            <a:r>
              <a:rPr lang="de-DE" sz="2000" dirty="0"/>
              <a:t>254 bzw. 2046</a:t>
            </a:r>
            <a:endParaRPr lang="de-DE" sz="2000" dirty="0">
              <a:sym typeface="Symbol" pitchFamily="18" charset="2"/>
            </a:endParaRPr>
          </a:p>
          <a:p>
            <a:pPr lvl="1">
              <a:defRPr/>
            </a:pPr>
            <a:r>
              <a:rPr lang="de-DE" sz="2000" dirty="0">
                <a:sym typeface="Symbol" pitchFamily="18" charset="2"/>
              </a:rPr>
              <a:t>Null: </a:t>
            </a:r>
            <a:r>
              <a:rPr lang="de-DE" sz="2000" dirty="0"/>
              <a:t>(-1)</a:t>
            </a:r>
            <a:r>
              <a:rPr lang="de-DE" sz="2000" i="1" baseline="30000" dirty="0"/>
              <a:t>s</a:t>
            </a:r>
            <a:r>
              <a:rPr lang="de-DE" sz="2000" dirty="0"/>
              <a:t> </a:t>
            </a:r>
            <a:r>
              <a:rPr lang="de-DE" sz="2000" dirty="0">
                <a:sym typeface="Wingdings" panose="05000000000000000000" pitchFamily="2" charset="2"/>
              </a:rPr>
              <a:t></a:t>
            </a:r>
            <a:r>
              <a:rPr lang="de-DE" sz="2000" dirty="0"/>
              <a:t> 0						</a:t>
            </a:r>
            <a:r>
              <a:rPr lang="de-DE" sz="2000" i="1" dirty="0"/>
              <a:t>e</a:t>
            </a:r>
            <a:r>
              <a:rPr lang="de-DE" sz="2000" dirty="0"/>
              <a:t> = 0, </a:t>
            </a:r>
            <a:r>
              <a:rPr lang="de-DE" sz="2000" i="1" dirty="0"/>
              <a:t>f</a:t>
            </a:r>
            <a:r>
              <a:rPr lang="de-DE" sz="2000" dirty="0"/>
              <a:t> = 0</a:t>
            </a:r>
            <a:endParaRPr lang="de-DE" sz="2000" dirty="0">
              <a:sym typeface="Symbol" pitchFamily="18" charset="2"/>
            </a:endParaRPr>
          </a:p>
          <a:p>
            <a:pPr lvl="1">
              <a:defRPr/>
            </a:pPr>
            <a:r>
              <a:rPr lang="de-DE" sz="2000" dirty="0">
                <a:sym typeface="Symbol" pitchFamily="18" charset="2"/>
              </a:rPr>
              <a:t>Unendlich: </a:t>
            </a:r>
            <a:r>
              <a:rPr lang="de-DE" sz="2000" dirty="0"/>
              <a:t>(-1)</a:t>
            </a:r>
            <a:r>
              <a:rPr lang="de-DE" sz="2000" i="1" baseline="30000" dirty="0"/>
              <a:t>s</a:t>
            </a:r>
            <a:r>
              <a:rPr lang="de-DE" sz="2000" dirty="0"/>
              <a:t> </a:t>
            </a:r>
            <a:r>
              <a:rPr lang="de-DE" sz="2000" dirty="0">
                <a:sym typeface="Wingdings" panose="05000000000000000000" pitchFamily="2" charset="2"/>
              </a:rPr>
              <a:t></a:t>
            </a:r>
            <a:r>
              <a:rPr lang="de-DE" sz="2000" dirty="0"/>
              <a:t> </a:t>
            </a:r>
            <a:r>
              <a:rPr lang="de-DE" sz="2000" dirty="0">
                <a:sym typeface="Symbol" pitchFamily="18" charset="2"/>
              </a:rPr>
              <a:t>					</a:t>
            </a:r>
            <a:r>
              <a:rPr lang="de-DE" sz="2000" i="1" dirty="0">
                <a:sym typeface="Symbol" pitchFamily="18" charset="2"/>
              </a:rPr>
              <a:t>e</a:t>
            </a:r>
            <a:r>
              <a:rPr lang="de-DE" sz="2000" dirty="0">
                <a:sym typeface="Symbol" pitchFamily="18" charset="2"/>
              </a:rPr>
              <a:t> = 255 bzw.2047, </a:t>
            </a:r>
            <a:r>
              <a:rPr lang="de-DE" sz="2000" i="1" dirty="0">
                <a:sym typeface="Symbol" pitchFamily="18" charset="2"/>
              </a:rPr>
              <a:t>f</a:t>
            </a:r>
            <a:r>
              <a:rPr lang="de-DE" sz="2000" dirty="0">
                <a:sym typeface="Symbol" pitchFamily="18" charset="2"/>
              </a:rPr>
              <a:t> = 0</a:t>
            </a:r>
          </a:p>
          <a:p>
            <a:pPr lvl="1">
              <a:defRPr/>
            </a:pPr>
            <a:r>
              <a:rPr lang="de-DE" sz="2000" dirty="0" err="1">
                <a:sym typeface="Symbol" pitchFamily="18" charset="2"/>
              </a:rPr>
              <a:t>unnorm</a:t>
            </a:r>
            <a:r>
              <a:rPr lang="de-DE" sz="2000" dirty="0">
                <a:sym typeface="Symbol" pitchFamily="18" charset="2"/>
              </a:rPr>
              <a:t>.: </a:t>
            </a:r>
            <a:r>
              <a:rPr lang="de-DE" sz="2000" dirty="0"/>
              <a:t>(-1)</a:t>
            </a:r>
            <a:r>
              <a:rPr lang="de-DE" sz="2000" i="1" baseline="30000" dirty="0"/>
              <a:t>s</a:t>
            </a:r>
            <a:r>
              <a:rPr lang="de-DE" sz="2000" dirty="0"/>
              <a:t> </a:t>
            </a:r>
            <a:r>
              <a:rPr lang="de-DE" sz="2000" dirty="0">
                <a:sym typeface="Wingdings" panose="05000000000000000000" pitchFamily="2" charset="2"/>
              </a:rPr>
              <a:t></a:t>
            </a:r>
            <a:r>
              <a:rPr lang="de-DE" sz="2000" dirty="0"/>
              <a:t> 0.</a:t>
            </a:r>
            <a:r>
              <a:rPr lang="de-DE" sz="2000" i="1" dirty="0"/>
              <a:t>f</a:t>
            </a:r>
            <a:r>
              <a:rPr lang="de-DE" sz="2000" dirty="0"/>
              <a:t>  </a:t>
            </a:r>
            <a:r>
              <a:rPr lang="de-DE" sz="2000" dirty="0">
                <a:sym typeface="Wingdings" panose="05000000000000000000" pitchFamily="2" charset="2"/>
              </a:rPr>
              <a:t></a:t>
            </a:r>
            <a:r>
              <a:rPr lang="de-DE" sz="2000" dirty="0"/>
              <a:t> 2</a:t>
            </a:r>
            <a:r>
              <a:rPr lang="de-DE" sz="2000" baseline="30000" dirty="0"/>
              <a:t>-126 bzw.</a:t>
            </a:r>
            <a:r>
              <a:rPr lang="de-DE" sz="2000" dirty="0"/>
              <a:t> </a:t>
            </a:r>
            <a:r>
              <a:rPr lang="de-DE" sz="2000" baseline="30000" dirty="0"/>
              <a:t>-1022</a:t>
            </a:r>
            <a:r>
              <a:rPr lang="de-DE" sz="2000" dirty="0"/>
              <a:t>		</a:t>
            </a:r>
            <a:r>
              <a:rPr lang="de-DE" sz="2000" i="1" dirty="0"/>
              <a:t>e</a:t>
            </a:r>
            <a:r>
              <a:rPr lang="de-DE" sz="2000" dirty="0"/>
              <a:t> = 0, </a:t>
            </a:r>
            <a:r>
              <a:rPr lang="de-DE" sz="2000" i="1" dirty="0"/>
              <a:t>f</a:t>
            </a:r>
            <a:r>
              <a:rPr lang="de-DE" sz="2000" dirty="0"/>
              <a:t> </a:t>
            </a:r>
            <a:r>
              <a:rPr lang="de-DE" sz="2000" dirty="0">
                <a:sym typeface="Symbol" pitchFamily="18" charset="2"/>
              </a:rPr>
              <a:t> 0; interpretiert mit </a:t>
            </a:r>
            <a:r>
              <a:rPr lang="de-DE" sz="2000" i="1" dirty="0">
                <a:sym typeface="Symbol" pitchFamily="18" charset="2"/>
              </a:rPr>
              <a:t>e</a:t>
            </a:r>
            <a:r>
              <a:rPr lang="de-DE" sz="2000" dirty="0">
                <a:sym typeface="Symbol" pitchFamily="18" charset="2"/>
              </a:rPr>
              <a:t> = 1</a:t>
            </a:r>
          </a:p>
          <a:p>
            <a:pPr lvl="1">
              <a:defRPr/>
            </a:pPr>
            <a:r>
              <a:rPr lang="de-DE" sz="2000" dirty="0">
                <a:sym typeface="Symbol" pitchFamily="18" charset="2"/>
              </a:rPr>
              <a:t>Nichtzahl: </a:t>
            </a:r>
            <a:r>
              <a:rPr lang="de-DE" sz="2000" dirty="0" err="1">
                <a:sym typeface="Symbol" pitchFamily="18" charset="2"/>
              </a:rPr>
              <a:t>NaN</a:t>
            </a:r>
            <a:r>
              <a:rPr lang="de-DE" sz="2000" dirty="0">
                <a:sym typeface="Symbol" pitchFamily="18" charset="2"/>
              </a:rPr>
              <a:t>						</a:t>
            </a:r>
            <a:r>
              <a:rPr lang="de-DE" sz="2000" i="1" dirty="0">
                <a:sym typeface="Symbol" pitchFamily="18" charset="2"/>
              </a:rPr>
              <a:t>e</a:t>
            </a:r>
            <a:r>
              <a:rPr lang="de-DE" sz="2000" dirty="0">
                <a:sym typeface="Symbol" pitchFamily="18" charset="2"/>
              </a:rPr>
              <a:t> = 255 bzw. 2047, </a:t>
            </a:r>
            <a:r>
              <a:rPr lang="de-DE" sz="2000" i="1" dirty="0">
                <a:sym typeface="Symbol" pitchFamily="18" charset="2"/>
              </a:rPr>
              <a:t>f</a:t>
            </a:r>
            <a:r>
              <a:rPr lang="de-DE" sz="2000" dirty="0">
                <a:sym typeface="Symbol" pitchFamily="18" charset="2"/>
              </a:rPr>
              <a:t>  0</a:t>
            </a:r>
            <a:endParaRPr lang="de-DE" sz="2000" i="1" baseline="30000" dirty="0">
              <a:sym typeface="Symbol" pitchFamily="18" charset="2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4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81364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5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5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5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5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5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5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51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51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51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51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515" grpId="0" uiExpand="1" build="p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Rectangle 2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 sz="2800" dirty="0"/>
              <a:t>Addition von Gleitpunktzahlen / 1</a:t>
            </a:r>
          </a:p>
        </p:txBody>
      </p:sp>
      <p:sp>
        <p:nvSpPr>
          <p:cNvPr id="65539" name="Rectangle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defRPr/>
            </a:pPr>
            <a:r>
              <a:rPr lang="de-DE" sz="2200" dirty="0">
                <a:sym typeface="Symbol" pitchFamily="18" charset="2"/>
              </a:rPr>
              <a:t>Beispiel basiert auf </a:t>
            </a:r>
            <a:r>
              <a:rPr lang="de-DE" sz="2200" dirty="0">
                <a:solidFill>
                  <a:srgbClr val="0000FF"/>
                </a:solidFill>
                <a:sym typeface="Symbol" pitchFamily="18" charset="2"/>
              </a:rPr>
              <a:t>16-Bit </a:t>
            </a:r>
            <a:r>
              <a:rPr lang="de-DE" sz="2200" dirty="0" err="1">
                <a:solidFill>
                  <a:srgbClr val="0000FF"/>
                </a:solidFill>
                <a:sym typeface="Symbol" pitchFamily="18" charset="2"/>
              </a:rPr>
              <a:t>Minifloat</a:t>
            </a:r>
            <a:r>
              <a:rPr lang="de-DE" sz="2200" dirty="0">
                <a:solidFill>
                  <a:srgbClr val="800000"/>
                </a:solidFill>
                <a:sym typeface="Symbol" pitchFamily="18" charset="2"/>
              </a:rPr>
              <a:t> </a:t>
            </a:r>
            <a:r>
              <a:rPr lang="de-DE" sz="2200" dirty="0">
                <a:sym typeface="Symbol" pitchFamily="18" charset="2"/>
              </a:rPr>
              <a:t>Format:</a:t>
            </a:r>
          </a:p>
          <a:p>
            <a:pPr>
              <a:defRPr/>
            </a:pPr>
            <a:endParaRPr lang="de-DE" sz="2200" dirty="0">
              <a:sym typeface="Symbol" pitchFamily="18" charset="2"/>
            </a:endParaRPr>
          </a:p>
          <a:p>
            <a:pPr marL="0" indent="0">
              <a:buNone/>
              <a:defRPr/>
            </a:pPr>
            <a:endParaRPr lang="de-DE" sz="2200" dirty="0">
              <a:sym typeface="Symbol" pitchFamily="18" charset="2"/>
            </a:endParaRPr>
          </a:p>
          <a:p>
            <a:pPr>
              <a:defRPr/>
            </a:pPr>
            <a:r>
              <a:rPr lang="de-DE" sz="2200" i="1" dirty="0">
                <a:sym typeface="Symbol" pitchFamily="18" charset="2"/>
              </a:rPr>
              <a:t>Z </a:t>
            </a:r>
            <a:r>
              <a:rPr lang="de-DE" sz="2200" dirty="0">
                <a:sym typeface="Symbol" pitchFamily="18" charset="2"/>
              </a:rPr>
              <a:t>= </a:t>
            </a:r>
            <a:r>
              <a:rPr lang="de-DE" sz="2200" i="1">
                <a:sym typeface="Symbol" pitchFamily="18" charset="2"/>
              </a:rPr>
              <a:t>X </a:t>
            </a:r>
            <a:r>
              <a:rPr lang="de-DE" sz="2200">
                <a:sym typeface="Symbol" pitchFamily="18" charset="2"/>
              </a:rPr>
              <a:t>+</a:t>
            </a:r>
            <a:r>
              <a:rPr lang="de-DE" sz="2200" i="1">
                <a:sym typeface="Symbol" pitchFamily="18" charset="2"/>
              </a:rPr>
              <a:t>Y </a:t>
            </a:r>
            <a:r>
              <a:rPr lang="de-DE" sz="2200" dirty="0">
                <a:sym typeface="Symbol" pitchFamily="18" charset="2"/>
              </a:rPr>
              <a:t>mit</a:t>
            </a:r>
          </a:p>
          <a:p>
            <a:pPr lvl="1">
              <a:defRPr/>
            </a:pPr>
            <a:r>
              <a:rPr lang="de-DE" sz="2000" i="1" dirty="0">
                <a:sym typeface="Symbol" pitchFamily="18" charset="2"/>
              </a:rPr>
              <a:t>X </a:t>
            </a:r>
            <a:r>
              <a:rPr lang="de-DE" sz="2000" dirty="0">
                <a:sym typeface="Symbol" pitchFamily="18" charset="2"/>
              </a:rPr>
              <a:t>= 2,35</a:t>
            </a:r>
            <a:r>
              <a:rPr lang="de-DE" sz="2000" baseline="-25000" dirty="0">
                <a:sym typeface="Symbol" pitchFamily="18" charset="2"/>
              </a:rPr>
              <a:t>D</a:t>
            </a:r>
            <a:r>
              <a:rPr lang="de-DE" sz="2000" dirty="0">
                <a:sym typeface="Symbol" pitchFamily="18" charset="2"/>
              </a:rPr>
              <a:t> =        10.0101 1001 1001 1001 …</a:t>
            </a:r>
            <a:r>
              <a:rPr lang="de-DE" sz="2000" baseline="-25000" dirty="0">
                <a:sym typeface="Symbol" pitchFamily="18" charset="2"/>
              </a:rPr>
              <a:t>B</a:t>
            </a:r>
          </a:p>
          <a:p>
            <a:pPr lvl="1">
              <a:defRPr/>
            </a:pPr>
            <a:r>
              <a:rPr lang="de-DE" sz="2000" i="1" dirty="0">
                <a:sym typeface="Symbol" pitchFamily="18" charset="2"/>
              </a:rPr>
              <a:t>Y </a:t>
            </a:r>
            <a:r>
              <a:rPr lang="de-DE" sz="2000" dirty="0">
                <a:sym typeface="Symbol" pitchFamily="18" charset="2"/>
              </a:rPr>
              <a:t>= 10,17</a:t>
            </a:r>
            <a:r>
              <a:rPr lang="de-DE" sz="2000" baseline="-25000" dirty="0">
                <a:sym typeface="Symbol" pitchFamily="18" charset="2"/>
              </a:rPr>
              <a:t>D</a:t>
            </a:r>
            <a:r>
              <a:rPr lang="de-DE" sz="2000" dirty="0">
                <a:sym typeface="Symbol" pitchFamily="18" charset="2"/>
              </a:rPr>
              <a:t> =  1010.0010 1011 1000 0101 …</a:t>
            </a:r>
            <a:r>
              <a:rPr lang="de-DE" sz="2000" baseline="-25000" dirty="0">
                <a:sym typeface="Symbol" pitchFamily="18" charset="2"/>
              </a:rPr>
              <a:t>B</a:t>
            </a:r>
          </a:p>
          <a:p>
            <a:pPr lvl="1">
              <a:buFont typeface="Arial" charset="0"/>
              <a:buNone/>
              <a:defRPr/>
            </a:pPr>
            <a:endParaRPr lang="de-DE" sz="2000" baseline="-25000" dirty="0">
              <a:sym typeface="Symbol" pitchFamily="18" charset="2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46</a:t>
            </a:fld>
            <a:endParaRPr lang="de-DE"/>
          </a:p>
        </p:txBody>
      </p:sp>
      <p:graphicFrame>
        <p:nvGraphicFramePr>
          <p:cNvPr id="180228" name="Group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6878564"/>
              </p:ext>
            </p:extLst>
          </p:nvPr>
        </p:nvGraphicFramePr>
        <p:xfrm>
          <a:off x="2395539" y="1628760"/>
          <a:ext cx="4060825" cy="731520"/>
        </p:xfrm>
        <a:graphic>
          <a:graphicData uri="http://schemas.openxmlformats.org/drawingml/2006/table">
            <a:tbl>
              <a:tblPr/>
              <a:tblGrid>
                <a:gridCol w="2825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271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511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575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de-DE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5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0 Bit</a:t>
                      </a: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575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de-DE" sz="20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FF">
                        <a:alpha val="2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de-DE" sz="20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FF">
                        <a:alpha val="2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de-DE" sz="20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f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FF">
                        <a:alpha val="2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65553" name="Text Box 22"/>
          <p:cNvSpPr txBox="1">
            <a:spLocks noChangeArrowheads="1"/>
          </p:cNvSpPr>
          <p:nvPr/>
        </p:nvSpPr>
        <p:spPr bwMode="auto">
          <a:xfrm>
            <a:off x="6715126" y="1718773"/>
            <a:ext cx="3545949" cy="710067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 algn="l"/>
            <a:r>
              <a:rPr lang="en-GB" sz="2000" dirty="0">
                <a:latin typeface="Calibri" pitchFamily="34" charset="0"/>
              </a:rPr>
              <a:t>bias = 15</a:t>
            </a:r>
          </a:p>
          <a:p>
            <a:pPr algn="l"/>
            <a:r>
              <a:rPr lang="en-GB" sz="2000" dirty="0" err="1">
                <a:latin typeface="Calibri" pitchFamily="34" charset="0"/>
              </a:rPr>
              <a:t>Exponentenbereich</a:t>
            </a:r>
            <a:r>
              <a:rPr lang="en-GB" sz="2000" dirty="0">
                <a:latin typeface="Calibri" pitchFamily="34" charset="0"/>
              </a:rPr>
              <a:t>: -14 </a:t>
            </a:r>
            <a:r>
              <a:rPr lang="en-GB" sz="2000" u="sng" dirty="0">
                <a:latin typeface="Calibri" pitchFamily="34" charset="0"/>
              </a:rPr>
              <a:t>&lt;</a:t>
            </a:r>
            <a:r>
              <a:rPr lang="en-GB" sz="2000" dirty="0">
                <a:latin typeface="Calibri" pitchFamily="34" charset="0"/>
              </a:rPr>
              <a:t> E </a:t>
            </a:r>
            <a:r>
              <a:rPr lang="en-GB" sz="2000" u="sng" dirty="0">
                <a:latin typeface="Calibri" pitchFamily="34" charset="0"/>
              </a:rPr>
              <a:t>&lt;</a:t>
            </a:r>
            <a:r>
              <a:rPr lang="en-GB" sz="2000" dirty="0">
                <a:latin typeface="Calibri" pitchFamily="34" charset="0"/>
              </a:rPr>
              <a:t> 15</a:t>
            </a:r>
            <a:endParaRPr lang="en-US" sz="2000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39845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53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53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53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Rectangle 2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 sz="2800" dirty="0"/>
              <a:t>Addition von Gleitpunktzahlen / 2</a:t>
            </a:r>
          </a:p>
        </p:txBody>
      </p:sp>
      <p:sp>
        <p:nvSpPr>
          <p:cNvPr id="65539" name="Rectangle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defRPr/>
            </a:pPr>
            <a:r>
              <a:rPr lang="de-DE" sz="2200" i="1" dirty="0">
                <a:sym typeface="Symbol" pitchFamily="18" charset="2"/>
              </a:rPr>
              <a:t>Z </a:t>
            </a:r>
            <a:r>
              <a:rPr lang="de-DE" sz="2200" dirty="0">
                <a:sym typeface="Symbol" pitchFamily="18" charset="2"/>
              </a:rPr>
              <a:t>= </a:t>
            </a:r>
            <a:r>
              <a:rPr lang="de-DE" sz="2200" i="1">
                <a:sym typeface="Symbol" pitchFamily="18" charset="2"/>
              </a:rPr>
              <a:t>X </a:t>
            </a:r>
            <a:r>
              <a:rPr lang="de-DE" sz="2200">
                <a:sym typeface="Symbol" pitchFamily="18" charset="2"/>
              </a:rPr>
              <a:t>+</a:t>
            </a:r>
            <a:r>
              <a:rPr lang="de-DE" sz="2200" i="1">
                <a:sym typeface="Symbol" pitchFamily="18" charset="2"/>
              </a:rPr>
              <a:t>Y </a:t>
            </a:r>
            <a:r>
              <a:rPr lang="de-DE" sz="2200" dirty="0">
                <a:sym typeface="Symbol" pitchFamily="18" charset="2"/>
              </a:rPr>
              <a:t>mit</a:t>
            </a:r>
          </a:p>
          <a:p>
            <a:pPr lvl="1">
              <a:defRPr/>
            </a:pPr>
            <a:r>
              <a:rPr lang="de-DE" sz="2000" i="1" dirty="0">
                <a:sym typeface="Symbol" pitchFamily="18" charset="2"/>
              </a:rPr>
              <a:t>X </a:t>
            </a:r>
            <a:r>
              <a:rPr lang="de-DE" sz="2000" dirty="0">
                <a:sym typeface="Symbol" pitchFamily="18" charset="2"/>
              </a:rPr>
              <a:t>= 2,35</a:t>
            </a:r>
            <a:r>
              <a:rPr lang="de-DE" sz="2000" baseline="-25000" dirty="0">
                <a:sym typeface="Symbol" pitchFamily="18" charset="2"/>
              </a:rPr>
              <a:t>D</a:t>
            </a:r>
            <a:r>
              <a:rPr lang="de-DE" sz="2000" dirty="0">
                <a:sym typeface="Symbol" pitchFamily="18" charset="2"/>
              </a:rPr>
              <a:t> =        10.0101 1001 1001 1001 …</a:t>
            </a:r>
            <a:r>
              <a:rPr lang="de-DE" sz="2000" baseline="-25000" dirty="0">
                <a:sym typeface="Symbol" pitchFamily="18" charset="2"/>
              </a:rPr>
              <a:t>B</a:t>
            </a:r>
          </a:p>
          <a:p>
            <a:pPr lvl="1">
              <a:defRPr/>
            </a:pPr>
            <a:r>
              <a:rPr lang="de-DE" sz="2000" i="1" dirty="0">
                <a:sym typeface="Symbol" pitchFamily="18" charset="2"/>
              </a:rPr>
              <a:t>Y </a:t>
            </a:r>
            <a:r>
              <a:rPr lang="de-DE" sz="2000" dirty="0">
                <a:sym typeface="Symbol" pitchFamily="18" charset="2"/>
              </a:rPr>
              <a:t>= 10,17</a:t>
            </a:r>
            <a:r>
              <a:rPr lang="de-DE" sz="2000" baseline="-25000" dirty="0">
                <a:sym typeface="Symbol" pitchFamily="18" charset="2"/>
              </a:rPr>
              <a:t>D</a:t>
            </a:r>
            <a:r>
              <a:rPr lang="de-DE" sz="2000" dirty="0">
                <a:sym typeface="Symbol" pitchFamily="18" charset="2"/>
              </a:rPr>
              <a:t> =  1010.0010 1011 1000 0101 …</a:t>
            </a:r>
            <a:r>
              <a:rPr lang="de-DE" sz="2000" baseline="-25000" dirty="0">
                <a:sym typeface="Symbol" pitchFamily="18" charset="2"/>
              </a:rPr>
              <a:t>B</a:t>
            </a:r>
          </a:p>
          <a:p>
            <a:pPr>
              <a:defRPr/>
            </a:pPr>
            <a:r>
              <a:rPr lang="de-DE" sz="2200" b="1" dirty="0">
                <a:solidFill>
                  <a:srgbClr val="0000FF"/>
                </a:solidFill>
                <a:sym typeface="Symbol" pitchFamily="18" charset="2"/>
              </a:rPr>
              <a:t>1. Schritt:</a:t>
            </a:r>
          </a:p>
          <a:p>
            <a:pPr lvl="1">
              <a:defRPr/>
            </a:pPr>
            <a:r>
              <a:rPr lang="de-DE" sz="2000" dirty="0">
                <a:solidFill>
                  <a:srgbClr val="0000FF"/>
                </a:solidFill>
                <a:sym typeface="Symbol" pitchFamily="18" charset="2"/>
              </a:rPr>
              <a:t>Normalisieren </a:t>
            </a:r>
            <a:r>
              <a:rPr lang="de-DE" sz="2000" dirty="0">
                <a:sym typeface="Symbol" pitchFamily="18" charset="2"/>
              </a:rPr>
              <a:t>und </a:t>
            </a:r>
            <a:r>
              <a:rPr lang="de-DE" sz="2000" dirty="0">
                <a:solidFill>
                  <a:srgbClr val="0000FF"/>
                </a:solidFill>
                <a:sym typeface="Symbol" pitchFamily="18" charset="2"/>
              </a:rPr>
              <a:t>Anpassung</a:t>
            </a:r>
            <a:r>
              <a:rPr lang="de-DE" sz="2000" dirty="0">
                <a:solidFill>
                  <a:srgbClr val="800000"/>
                </a:solidFill>
                <a:sym typeface="Symbol" pitchFamily="18" charset="2"/>
              </a:rPr>
              <a:t> </a:t>
            </a:r>
            <a:r>
              <a:rPr lang="de-DE" sz="2000" dirty="0">
                <a:sym typeface="Symbol" pitchFamily="18" charset="2"/>
              </a:rPr>
              <a:t>an 16-Bit-Format:</a:t>
            </a:r>
          </a:p>
          <a:p>
            <a:pPr lvl="1">
              <a:defRPr/>
            </a:pPr>
            <a:r>
              <a:rPr lang="de-DE" sz="2000" i="1" dirty="0">
                <a:sym typeface="Symbol" pitchFamily="18" charset="2"/>
              </a:rPr>
              <a:t>X </a:t>
            </a:r>
            <a:r>
              <a:rPr lang="de-DE" sz="2000" dirty="0">
                <a:sym typeface="Symbol" pitchFamily="18" charset="2"/>
              </a:rPr>
              <a:t>= 1.0010 1100 11 · 2</a:t>
            </a:r>
            <a:r>
              <a:rPr lang="de-DE" sz="2000" baseline="30000" dirty="0">
                <a:sym typeface="Symbol" pitchFamily="18" charset="2"/>
              </a:rPr>
              <a:t>1</a:t>
            </a:r>
          </a:p>
          <a:p>
            <a:pPr lvl="1">
              <a:defRPr/>
            </a:pPr>
            <a:r>
              <a:rPr lang="de-DE" sz="2000" i="1" dirty="0">
                <a:sym typeface="Symbol" pitchFamily="18" charset="2"/>
              </a:rPr>
              <a:t>Y </a:t>
            </a:r>
            <a:r>
              <a:rPr lang="de-DE" sz="2000" dirty="0">
                <a:sym typeface="Symbol" pitchFamily="18" charset="2"/>
              </a:rPr>
              <a:t>= 1.0100 0101 01 · 2</a:t>
            </a:r>
            <a:r>
              <a:rPr lang="de-DE" sz="2000" baseline="30000" dirty="0">
                <a:sym typeface="Symbol" pitchFamily="18" charset="2"/>
              </a:rPr>
              <a:t>3</a:t>
            </a:r>
          </a:p>
          <a:p>
            <a:pPr>
              <a:defRPr/>
            </a:pPr>
            <a:r>
              <a:rPr lang="de-DE" sz="2200" b="1" dirty="0">
                <a:solidFill>
                  <a:srgbClr val="0000FF"/>
                </a:solidFill>
                <a:sym typeface="Symbol" pitchFamily="18" charset="2"/>
              </a:rPr>
              <a:t>2. Schritt: </a:t>
            </a:r>
            <a:r>
              <a:rPr lang="de-DE" sz="2000" dirty="0">
                <a:solidFill>
                  <a:srgbClr val="0000FF"/>
                </a:solidFill>
                <a:sym typeface="Symbol" pitchFamily="18" charset="2"/>
              </a:rPr>
              <a:t>Vergleichen der beiden Exponenten </a:t>
            </a:r>
            <a:r>
              <a:rPr lang="de-DE" sz="2000" i="1" dirty="0">
                <a:sym typeface="Symbol" pitchFamily="18" charset="2"/>
              </a:rPr>
              <a:t>E</a:t>
            </a:r>
            <a:r>
              <a:rPr lang="de-DE" sz="2000" dirty="0">
                <a:sym typeface="Symbol" pitchFamily="18" charset="2"/>
              </a:rPr>
              <a:t>.</a:t>
            </a:r>
          </a:p>
          <a:p>
            <a:pPr lvl="1">
              <a:defRPr/>
            </a:pPr>
            <a:r>
              <a:rPr lang="de-DE" sz="2000" dirty="0">
                <a:sym typeface="Symbol" pitchFamily="18" charset="2"/>
              </a:rPr>
              <a:t>Bei Ungleichheit kleineren Exponent an den größeren anpassen</a:t>
            </a:r>
          </a:p>
          <a:p>
            <a:pPr lvl="1">
              <a:defRPr/>
            </a:pPr>
            <a:r>
              <a:rPr lang="de-DE" sz="2000" i="1" dirty="0">
                <a:sym typeface="Symbol" pitchFamily="18" charset="2"/>
              </a:rPr>
              <a:t>X </a:t>
            </a:r>
            <a:r>
              <a:rPr lang="de-DE" sz="2000" dirty="0">
                <a:sym typeface="Symbol" pitchFamily="18" charset="2"/>
              </a:rPr>
              <a:t>= 0.0100 1011 00 11 · 2</a:t>
            </a:r>
            <a:r>
              <a:rPr lang="de-DE" sz="2000" baseline="30000" dirty="0">
                <a:sym typeface="Symbol" pitchFamily="18" charset="2"/>
              </a:rPr>
              <a:t>3</a:t>
            </a:r>
          </a:p>
          <a:p>
            <a:pPr lvl="1">
              <a:buFont typeface="Arial" charset="0"/>
              <a:buNone/>
              <a:defRPr/>
            </a:pPr>
            <a:endParaRPr lang="de-DE" sz="2000" dirty="0">
              <a:sym typeface="Symbol" pitchFamily="18" charset="2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47</a:t>
            </a:fld>
            <a:endParaRPr lang="de-DE"/>
          </a:p>
        </p:txBody>
      </p:sp>
      <p:sp>
        <p:nvSpPr>
          <p:cNvPr id="2" name="Textfeld 1"/>
          <p:cNvSpPr txBox="1"/>
          <p:nvPr/>
        </p:nvSpPr>
        <p:spPr>
          <a:xfrm>
            <a:off x="430739" y="5373216"/>
            <a:ext cx="9632765" cy="6771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lvl="1"/>
            <a:r>
              <a:rPr lang="de-DE" sz="2000" b="1" u="sng" dirty="0">
                <a:solidFill>
                  <a:srgbClr val="C00000"/>
                </a:solidFill>
                <a:sym typeface="Symbol" pitchFamily="18" charset="2"/>
              </a:rPr>
              <a:t>Wie hoch ist jeweils im 1. und 2. Schritt der Genauigkeitsverlust?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38506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53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53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53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53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53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53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53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53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53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Rectangle 2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 sz="2800" dirty="0"/>
              <a:t>Addition von Gleitpunktzahlen / 3</a:t>
            </a:r>
          </a:p>
        </p:txBody>
      </p:sp>
      <p:sp>
        <p:nvSpPr>
          <p:cNvPr id="65539" name="Rectangle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defRPr/>
            </a:pPr>
            <a:r>
              <a:rPr lang="de-DE" sz="2200" i="1" dirty="0">
                <a:sym typeface="Symbol" pitchFamily="18" charset="2"/>
              </a:rPr>
              <a:t>Z </a:t>
            </a:r>
            <a:r>
              <a:rPr lang="de-DE" sz="2200" dirty="0">
                <a:sym typeface="Symbol" pitchFamily="18" charset="2"/>
              </a:rPr>
              <a:t>= </a:t>
            </a:r>
            <a:r>
              <a:rPr lang="de-DE" sz="2200" i="1" dirty="0">
                <a:sym typeface="Symbol" pitchFamily="18" charset="2"/>
              </a:rPr>
              <a:t>X </a:t>
            </a:r>
            <a:r>
              <a:rPr lang="de-DE" sz="2200" dirty="0">
                <a:sym typeface="Symbol" pitchFamily="18" charset="2"/>
              </a:rPr>
              <a:t>+ </a:t>
            </a:r>
            <a:r>
              <a:rPr lang="de-DE" sz="2200" i="1" dirty="0">
                <a:sym typeface="Symbol" pitchFamily="18" charset="2"/>
              </a:rPr>
              <a:t>Y </a:t>
            </a:r>
            <a:r>
              <a:rPr lang="de-DE" sz="2200" dirty="0">
                <a:sym typeface="Symbol" pitchFamily="18" charset="2"/>
              </a:rPr>
              <a:t>mit</a:t>
            </a:r>
          </a:p>
          <a:p>
            <a:pPr lvl="1">
              <a:defRPr/>
            </a:pPr>
            <a:r>
              <a:rPr lang="de-DE" sz="2000" i="1" dirty="0">
                <a:sym typeface="Symbol" pitchFamily="18" charset="2"/>
              </a:rPr>
              <a:t>X </a:t>
            </a:r>
            <a:r>
              <a:rPr lang="de-DE" sz="2000" dirty="0">
                <a:sym typeface="Symbol" pitchFamily="18" charset="2"/>
              </a:rPr>
              <a:t>= </a:t>
            </a:r>
            <a:r>
              <a:rPr lang="de-DE" sz="2000" dirty="0">
                <a:solidFill>
                  <a:srgbClr val="FF0000"/>
                </a:solidFill>
                <a:sym typeface="Symbol" pitchFamily="18" charset="2"/>
              </a:rPr>
              <a:t>2,35</a:t>
            </a:r>
            <a:r>
              <a:rPr lang="de-DE" sz="2000" baseline="-25000" dirty="0">
                <a:solidFill>
                  <a:srgbClr val="FF0000"/>
                </a:solidFill>
                <a:sym typeface="Symbol" pitchFamily="18" charset="2"/>
              </a:rPr>
              <a:t>D</a:t>
            </a:r>
            <a:r>
              <a:rPr lang="de-DE" sz="2000" dirty="0">
                <a:sym typeface="Symbol" pitchFamily="18" charset="2"/>
              </a:rPr>
              <a:t> =        10.0101 1001 1</a:t>
            </a:r>
            <a:r>
              <a:rPr lang="de-DE" sz="2000" dirty="0">
                <a:solidFill>
                  <a:srgbClr val="FF0000"/>
                </a:solidFill>
                <a:sym typeface="Symbol" pitchFamily="18" charset="2"/>
              </a:rPr>
              <a:t>001 1001</a:t>
            </a:r>
            <a:r>
              <a:rPr lang="de-DE" sz="2000" dirty="0">
                <a:sym typeface="Symbol" pitchFamily="18" charset="2"/>
              </a:rPr>
              <a:t> …</a:t>
            </a:r>
            <a:r>
              <a:rPr lang="de-DE" sz="2000" baseline="-25000" dirty="0">
                <a:sym typeface="Symbol" pitchFamily="18" charset="2"/>
              </a:rPr>
              <a:t>B</a:t>
            </a:r>
          </a:p>
          <a:p>
            <a:pPr lvl="1">
              <a:defRPr/>
            </a:pPr>
            <a:r>
              <a:rPr lang="de-DE" sz="2000" i="1" dirty="0">
                <a:sym typeface="Symbol" pitchFamily="18" charset="2"/>
              </a:rPr>
              <a:t>Y </a:t>
            </a:r>
            <a:r>
              <a:rPr lang="de-DE" sz="2000" dirty="0">
                <a:sym typeface="Symbol" pitchFamily="18" charset="2"/>
              </a:rPr>
              <a:t>= </a:t>
            </a:r>
            <a:r>
              <a:rPr lang="de-DE" sz="2000" dirty="0">
                <a:solidFill>
                  <a:srgbClr val="FF0000"/>
                </a:solidFill>
                <a:sym typeface="Symbol" pitchFamily="18" charset="2"/>
              </a:rPr>
              <a:t>10,17</a:t>
            </a:r>
            <a:r>
              <a:rPr lang="de-DE" sz="2000" baseline="-25000" dirty="0">
                <a:solidFill>
                  <a:srgbClr val="FF0000"/>
                </a:solidFill>
                <a:sym typeface="Symbol" pitchFamily="18" charset="2"/>
              </a:rPr>
              <a:t>D</a:t>
            </a:r>
            <a:r>
              <a:rPr lang="de-DE" sz="2000" dirty="0">
                <a:sym typeface="Symbol" pitchFamily="18" charset="2"/>
              </a:rPr>
              <a:t> =  1010.0010 101</a:t>
            </a:r>
            <a:r>
              <a:rPr lang="de-DE" sz="2000" dirty="0">
                <a:solidFill>
                  <a:srgbClr val="FF0000"/>
                </a:solidFill>
                <a:sym typeface="Symbol" pitchFamily="18" charset="2"/>
              </a:rPr>
              <a:t>1 1000 0101</a:t>
            </a:r>
            <a:r>
              <a:rPr lang="de-DE" sz="2000" dirty="0">
                <a:sym typeface="Symbol" pitchFamily="18" charset="2"/>
              </a:rPr>
              <a:t> …</a:t>
            </a:r>
            <a:r>
              <a:rPr lang="de-DE" sz="2000" baseline="-25000" dirty="0">
                <a:sym typeface="Symbol" pitchFamily="18" charset="2"/>
              </a:rPr>
              <a:t>B</a:t>
            </a:r>
            <a:endParaRPr lang="de-DE" sz="900" baseline="-25000" dirty="0">
              <a:sym typeface="Symbol" pitchFamily="18" charset="2"/>
            </a:endParaRPr>
          </a:p>
          <a:p>
            <a:pPr>
              <a:defRPr/>
            </a:pPr>
            <a:r>
              <a:rPr lang="de-DE" sz="2200" b="1" dirty="0">
                <a:solidFill>
                  <a:srgbClr val="0000FF"/>
                </a:solidFill>
                <a:sym typeface="Symbol" pitchFamily="18" charset="2"/>
              </a:rPr>
              <a:t>1. Schritt:</a:t>
            </a:r>
          </a:p>
          <a:p>
            <a:pPr lvl="1">
              <a:defRPr/>
            </a:pPr>
            <a:r>
              <a:rPr lang="de-DE" sz="2000" dirty="0">
                <a:solidFill>
                  <a:srgbClr val="0000FF"/>
                </a:solidFill>
                <a:sym typeface="Symbol" pitchFamily="18" charset="2"/>
              </a:rPr>
              <a:t>Normalisieren </a:t>
            </a:r>
            <a:r>
              <a:rPr lang="de-DE" sz="2000" dirty="0">
                <a:sym typeface="Symbol" pitchFamily="18" charset="2"/>
              </a:rPr>
              <a:t>und </a:t>
            </a:r>
            <a:r>
              <a:rPr lang="de-DE" sz="2000" dirty="0">
                <a:solidFill>
                  <a:srgbClr val="0000FF"/>
                </a:solidFill>
                <a:sym typeface="Symbol" pitchFamily="18" charset="2"/>
              </a:rPr>
              <a:t>Anpassung</a:t>
            </a:r>
            <a:r>
              <a:rPr lang="de-DE" sz="2000" dirty="0">
                <a:solidFill>
                  <a:srgbClr val="800000"/>
                </a:solidFill>
                <a:sym typeface="Symbol" pitchFamily="18" charset="2"/>
              </a:rPr>
              <a:t> </a:t>
            </a:r>
            <a:r>
              <a:rPr lang="de-DE" sz="2000" dirty="0">
                <a:sym typeface="Symbol" pitchFamily="18" charset="2"/>
              </a:rPr>
              <a:t>an 16-Bit-Format: </a:t>
            </a:r>
            <a:r>
              <a:rPr lang="de-DE" sz="2000" dirty="0">
                <a:solidFill>
                  <a:srgbClr val="FF0000"/>
                </a:solidFill>
                <a:sym typeface="Symbol" pitchFamily="18" charset="2"/>
              </a:rPr>
              <a:t>Mantisse umfasst nur 10 Bit, Rest geht verloren</a:t>
            </a:r>
          </a:p>
          <a:p>
            <a:pPr lvl="1">
              <a:defRPr/>
            </a:pPr>
            <a:r>
              <a:rPr lang="de-DE" sz="2000" i="1" dirty="0">
                <a:sym typeface="Symbol" pitchFamily="18" charset="2"/>
              </a:rPr>
              <a:t>X </a:t>
            </a:r>
            <a:r>
              <a:rPr lang="de-DE" sz="2000" dirty="0">
                <a:sym typeface="Symbol" pitchFamily="18" charset="2"/>
              </a:rPr>
              <a:t>= 1.0010 1100 11 · 2</a:t>
            </a:r>
            <a:r>
              <a:rPr lang="de-DE" sz="2000" baseline="30000" dirty="0">
                <a:sym typeface="Symbol" pitchFamily="18" charset="2"/>
              </a:rPr>
              <a:t>1 </a:t>
            </a:r>
            <a:r>
              <a:rPr lang="de-DE" sz="2000" dirty="0">
                <a:solidFill>
                  <a:srgbClr val="FF0000"/>
                </a:solidFill>
                <a:sym typeface="Symbol" pitchFamily="18" charset="2"/>
              </a:rPr>
              <a:t>= 2,349609375</a:t>
            </a:r>
            <a:r>
              <a:rPr lang="de-DE" sz="2000" baseline="-25000" dirty="0">
                <a:solidFill>
                  <a:srgbClr val="FF0000"/>
                </a:solidFill>
                <a:sym typeface="Symbol" pitchFamily="18" charset="2"/>
              </a:rPr>
              <a:t>D </a:t>
            </a:r>
            <a:r>
              <a:rPr lang="de-DE" sz="2000" dirty="0">
                <a:solidFill>
                  <a:srgbClr val="FF0000"/>
                </a:solidFill>
                <a:sym typeface="Symbol" pitchFamily="18" charset="2"/>
              </a:rPr>
              <a:t>(Genauigkeitsverlust: 0,00039625)</a:t>
            </a:r>
          </a:p>
          <a:p>
            <a:pPr lvl="1">
              <a:defRPr/>
            </a:pPr>
            <a:r>
              <a:rPr lang="de-DE" sz="2000" i="1" dirty="0">
                <a:sym typeface="Symbol" pitchFamily="18" charset="2"/>
              </a:rPr>
              <a:t>Y </a:t>
            </a:r>
            <a:r>
              <a:rPr lang="de-DE" sz="2000" dirty="0">
                <a:sym typeface="Symbol" pitchFamily="18" charset="2"/>
              </a:rPr>
              <a:t>= 1.0100 0101 01 · 2</a:t>
            </a:r>
            <a:r>
              <a:rPr lang="de-DE" sz="2000" baseline="30000" dirty="0">
                <a:sym typeface="Symbol" pitchFamily="18" charset="2"/>
              </a:rPr>
              <a:t>3</a:t>
            </a:r>
            <a:r>
              <a:rPr lang="de-DE" sz="2000" dirty="0">
                <a:sym typeface="Symbol" pitchFamily="18" charset="2"/>
              </a:rPr>
              <a:t> </a:t>
            </a:r>
            <a:r>
              <a:rPr lang="de-DE" sz="2000" dirty="0">
                <a:solidFill>
                  <a:srgbClr val="FF0000"/>
                </a:solidFill>
                <a:sym typeface="Symbol" pitchFamily="18" charset="2"/>
              </a:rPr>
              <a:t>= 10,1640625</a:t>
            </a:r>
            <a:r>
              <a:rPr lang="de-DE" sz="2000" baseline="-25000" dirty="0">
                <a:solidFill>
                  <a:srgbClr val="FF0000"/>
                </a:solidFill>
                <a:sym typeface="Symbol" pitchFamily="18" charset="2"/>
              </a:rPr>
              <a:t>D </a:t>
            </a:r>
            <a:r>
              <a:rPr lang="de-DE" sz="2000" dirty="0">
                <a:solidFill>
                  <a:srgbClr val="FF0000"/>
                </a:solidFill>
                <a:sym typeface="Symbol" pitchFamily="18" charset="2"/>
              </a:rPr>
              <a:t>(Genauigkeitsverlust: 0,0059375)</a:t>
            </a:r>
          </a:p>
          <a:p>
            <a:pPr>
              <a:defRPr/>
            </a:pPr>
            <a:r>
              <a:rPr lang="de-DE" sz="2200" b="1" dirty="0">
                <a:solidFill>
                  <a:srgbClr val="0000FF"/>
                </a:solidFill>
                <a:sym typeface="Symbol" pitchFamily="18" charset="2"/>
              </a:rPr>
              <a:t>2. Schritt: </a:t>
            </a:r>
            <a:r>
              <a:rPr lang="de-DE" sz="2000" dirty="0">
                <a:solidFill>
                  <a:srgbClr val="0000FF"/>
                </a:solidFill>
                <a:sym typeface="Symbol" pitchFamily="18" charset="2"/>
              </a:rPr>
              <a:t>Vergleichen der beiden Exponenten </a:t>
            </a:r>
            <a:r>
              <a:rPr lang="de-DE" sz="2000" i="1" dirty="0">
                <a:sym typeface="Symbol" pitchFamily="18" charset="2"/>
              </a:rPr>
              <a:t>E</a:t>
            </a:r>
            <a:r>
              <a:rPr lang="de-DE" sz="2000" dirty="0">
                <a:sym typeface="Symbol" pitchFamily="18" charset="2"/>
              </a:rPr>
              <a:t>.</a:t>
            </a:r>
          </a:p>
          <a:p>
            <a:pPr lvl="1">
              <a:defRPr/>
            </a:pPr>
            <a:r>
              <a:rPr lang="de-DE" sz="2000" dirty="0">
                <a:sym typeface="Symbol" pitchFamily="18" charset="2"/>
              </a:rPr>
              <a:t>Bei Ungleichheit kleineren Exponent an den größeren anpassen</a:t>
            </a:r>
          </a:p>
          <a:p>
            <a:pPr lvl="1">
              <a:defRPr/>
            </a:pPr>
            <a:r>
              <a:rPr lang="de-DE" sz="2000" i="1" dirty="0">
                <a:sym typeface="Symbol" pitchFamily="18" charset="2"/>
              </a:rPr>
              <a:t>X </a:t>
            </a:r>
            <a:r>
              <a:rPr lang="de-DE" sz="2000" dirty="0">
                <a:sym typeface="Symbol" pitchFamily="18" charset="2"/>
              </a:rPr>
              <a:t>= 0.0100 1011 00 </a:t>
            </a:r>
            <a:r>
              <a:rPr lang="de-DE" sz="2000" dirty="0">
                <a:solidFill>
                  <a:srgbClr val="FF0000"/>
                </a:solidFill>
                <a:sym typeface="Symbol" pitchFamily="18" charset="2"/>
              </a:rPr>
              <a:t>11</a:t>
            </a:r>
            <a:r>
              <a:rPr lang="de-DE" sz="2000" dirty="0">
                <a:sym typeface="Symbol" pitchFamily="18" charset="2"/>
              </a:rPr>
              <a:t> · 2</a:t>
            </a:r>
            <a:r>
              <a:rPr lang="de-DE" sz="2000" baseline="30000" dirty="0">
                <a:sym typeface="Symbol" pitchFamily="18" charset="2"/>
              </a:rPr>
              <a:t>3</a:t>
            </a:r>
            <a:endParaRPr lang="de-DE" sz="2000" dirty="0">
              <a:sym typeface="Symbol" pitchFamily="18" charset="2"/>
            </a:endParaRPr>
          </a:p>
          <a:p>
            <a:pPr lvl="1">
              <a:buFont typeface="Arial" charset="0"/>
              <a:buNone/>
              <a:defRPr/>
            </a:pPr>
            <a:r>
              <a:rPr lang="de-DE" sz="2000" dirty="0">
                <a:sym typeface="Symbol" pitchFamily="18" charset="2"/>
              </a:rPr>
              <a:t>	→ </a:t>
            </a:r>
            <a:r>
              <a:rPr lang="de-DE" sz="2000" dirty="0">
                <a:solidFill>
                  <a:srgbClr val="FF0000"/>
                </a:solidFill>
                <a:sym typeface="Symbol" pitchFamily="18" charset="2"/>
              </a:rPr>
              <a:t>rot</a:t>
            </a:r>
            <a:r>
              <a:rPr lang="de-DE" sz="2000" dirty="0">
                <a:sym typeface="Symbol" pitchFamily="18" charset="2"/>
              </a:rPr>
              <a:t> dargestellten Stellen gehen verloren</a:t>
            </a:r>
          </a:p>
          <a:p>
            <a:pPr lvl="1">
              <a:buNone/>
              <a:defRPr/>
            </a:pPr>
            <a:r>
              <a:rPr lang="de-DE" sz="2000" i="1" dirty="0">
                <a:sym typeface="Symbol" pitchFamily="18" charset="2"/>
              </a:rPr>
              <a:t> 	X </a:t>
            </a:r>
            <a:r>
              <a:rPr lang="de-DE" sz="2000" dirty="0">
                <a:sym typeface="Symbol" pitchFamily="18" charset="2"/>
              </a:rPr>
              <a:t>= 0.0100 1011 00 · 2</a:t>
            </a:r>
            <a:r>
              <a:rPr lang="de-DE" sz="2000" baseline="30000" dirty="0">
                <a:sym typeface="Symbol" pitchFamily="18" charset="2"/>
              </a:rPr>
              <a:t>3</a:t>
            </a:r>
            <a:r>
              <a:rPr lang="de-DE" sz="2000" dirty="0">
                <a:sym typeface="Symbol" pitchFamily="18" charset="2"/>
              </a:rPr>
              <a:t> </a:t>
            </a:r>
            <a:r>
              <a:rPr lang="de-DE" sz="2000" dirty="0">
                <a:solidFill>
                  <a:srgbClr val="FF0000"/>
                </a:solidFill>
                <a:sym typeface="Symbol" pitchFamily="18" charset="2"/>
              </a:rPr>
              <a:t>= 2,34375</a:t>
            </a:r>
            <a:r>
              <a:rPr lang="de-DE" sz="2000" baseline="-25000" dirty="0">
                <a:solidFill>
                  <a:srgbClr val="FF0000"/>
                </a:solidFill>
                <a:sym typeface="Symbol" pitchFamily="18" charset="2"/>
              </a:rPr>
              <a:t>D</a:t>
            </a:r>
            <a:r>
              <a:rPr lang="de-DE" sz="2000" dirty="0">
                <a:solidFill>
                  <a:srgbClr val="FF0000"/>
                </a:solidFill>
                <a:sym typeface="Symbol" pitchFamily="18" charset="2"/>
              </a:rPr>
              <a:t> (Genauigkeitsverlust: 0,005859375)</a:t>
            </a:r>
          </a:p>
          <a:p>
            <a:pPr lvl="1">
              <a:buFont typeface="Arial" charset="0"/>
              <a:buNone/>
              <a:defRPr/>
            </a:pPr>
            <a:endParaRPr lang="de-DE" sz="2000" dirty="0">
              <a:sym typeface="Symbol" pitchFamily="18" charset="2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4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8410429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2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 sz="2800" dirty="0"/>
              <a:t>Addition von Gleitpunktzahlen / 4</a:t>
            </a:r>
          </a:p>
        </p:txBody>
      </p:sp>
      <p:sp>
        <p:nvSpPr>
          <p:cNvPr id="66563" name="Rectangle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defRPr/>
            </a:pPr>
            <a:r>
              <a:rPr lang="de-DE" sz="2200" b="1" dirty="0">
                <a:solidFill>
                  <a:srgbClr val="0000FF"/>
                </a:solidFill>
                <a:sym typeface="Symbol" pitchFamily="18" charset="2"/>
              </a:rPr>
              <a:t>3. Schritt: </a:t>
            </a:r>
            <a:r>
              <a:rPr lang="de-DE" sz="2000" dirty="0">
                <a:solidFill>
                  <a:srgbClr val="0000FF"/>
                </a:solidFill>
                <a:sym typeface="Symbol" pitchFamily="18" charset="2"/>
              </a:rPr>
              <a:t>Addieren der Mantissen:</a:t>
            </a:r>
          </a:p>
          <a:p>
            <a:pPr lvl="1">
              <a:buFont typeface="Arial" charset="0"/>
              <a:buNone/>
              <a:defRPr/>
            </a:pPr>
            <a:r>
              <a:rPr lang="de-DE" sz="2200" dirty="0">
                <a:sym typeface="Symbol" pitchFamily="18" charset="2"/>
              </a:rPr>
              <a:t>			   0.0100 1011 00 (</a:t>
            </a:r>
            <a:r>
              <a:rPr lang="de-DE" sz="2200" i="1" dirty="0">
                <a:sym typeface="Symbol" pitchFamily="18" charset="2"/>
              </a:rPr>
              <a:t>X</a:t>
            </a:r>
            <a:r>
              <a:rPr lang="de-DE" sz="2200" dirty="0">
                <a:sym typeface="Symbol" pitchFamily="18" charset="2"/>
              </a:rPr>
              <a:t>)</a:t>
            </a:r>
          </a:p>
          <a:p>
            <a:pPr lvl="1">
              <a:buFont typeface="Arial" charset="0"/>
              <a:buNone/>
              <a:defRPr/>
            </a:pPr>
            <a:r>
              <a:rPr lang="de-DE" sz="2200" dirty="0">
                <a:sym typeface="Symbol" pitchFamily="18" charset="2"/>
              </a:rPr>
              <a:t>			</a:t>
            </a:r>
            <a:r>
              <a:rPr lang="de-DE" sz="2200" u="sng" dirty="0">
                <a:sym typeface="Symbol" pitchFamily="18" charset="2"/>
              </a:rPr>
              <a:t>+ 1.0100 0101 01 (</a:t>
            </a:r>
            <a:r>
              <a:rPr lang="de-DE" sz="2200" i="1" u="sng" dirty="0">
                <a:sym typeface="Symbol" pitchFamily="18" charset="2"/>
              </a:rPr>
              <a:t>Y</a:t>
            </a:r>
            <a:r>
              <a:rPr lang="de-DE" sz="2200" u="sng" dirty="0">
                <a:sym typeface="Symbol" pitchFamily="18" charset="2"/>
              </a:rPr>
              <a:t>)</a:t>
            </a:r>
          </a:p>
          <a:p>
            <a:pPr lvl="1">
              <a:buFont typeface="Arial" charset="0"/>
              <a:buNone/>
              <a:defRPr/>
            </a:pPr>
            <a:r>
              <a:rPr lang="de-DE" sz="2200" dirty="0">
                <a:sym typeface="Symbol" pitchFamily="18" charset="2"/>
              </a:rPr>
              <a:t>			   1.1001 0000 01 (</a:t>
            </a:r>
            <a:r>
              <a:rPr lang="de-DE" sz="2200" i="1" dirty="0">
                <a:sym typeface="Symbol" pitchFamily="18" charset="2"/>
              </a:rPr>
              <a:t>Z</a:t>
            </a:r>
            <a:r>
              <a:rPr lang="de-DE" sz="2200" dirty="0">
                <a:sym typeface="Symbol" pitchFamily="18" charset="2"/>
              </a:rPr>
              <a:t>)</a:t>
            </a:r>
            <a:endParaRPr lang="de-DE" sz="2000" dirty="0">
              <a:sym typeface="Symbol" pitchFamily="18" charset="2"/>
            </a:endParaRPr>
          </a:p>
          <a:p>
            <a:pPr>
              <a:spcBef>
                <a:spcPts val="0"/>
              </a:spcBef>
              <a:defRPr/>
            </a:pPr>
            <a:r>
              <a:rPr lang="de-DE" sz="2200" b="1" dirty="0">
                <a:solidFill>
                  <a:srgbClr val="0000FF"/>
                </a:solidFill>
                <a:sym typeface="Symbol" pitchFamily="18" charset="2"/>
              </a:rPr>
              <a:t>Ergebnis</a:t>
            </a:r>
            <a:r>
              <a:rPr lang="de-DE" sz="2200" b="1" dirty="0">
                <a:solidFill>
                  <a:srgbClr val="800000"/>
                </a:solidFill>
                <a:sym typeface="Symbol" pitchFamily="18" charset="2"/>
              </a:rPr>
              <a:t> </a:t>
            </a:r>
            <a:endParaRPr lang="de-DE" sz="2200" dirty="0">
              <a:solidFill>
                <a:srgbClr val="800000"/>
              </a:solidFill>
              <a:sym typeface="Symbol" pitchFamily="18" charset="2"/>
            </a:endParaRPr>
          </a:p>
          <a:p>
            <a:pPr lvl="1">
              <a:defRPr/>
            </a:pPr>
            <a:r>
              <a:rPr lang="de-DE" sz="2000" dirty="0">
                <a:sym typeface="Symbol" pitchFamily="18" charset="2"/>
              </a:rPr>
              <a:t>muss ggf. noch normalisiert werden (hier nicht)</a:t>
            </a:r>
          </a:p>
          <a:p>
            <a:pPr lvl="1">
              <a:defRPr/>
            </a:pPr>
            <a:r>
              <a:rPr lang="de-DE" sz="2000" i="1" dirty="0">
                <a:sym typeface="Symbol" pitchFamily="18" charset="2"/>
              </a:rPr>
              <a:t>Z </a:t>
            </a:r>
            <a:r>
              <a:rPr lang="de-DE" sz="2000" dirty="0">
                <a:sym typeface="Symbol" pitchFamily="18" charset="2"/>
              </a:rPr>
              <a:t>= 1.1001 0000 01 · 2</a:t>
            </a:r>
            <a:r>
              <a:rPr lang="de-DE" sz="2000" baseline="30000" dirty="0">
                <a:sym typeface="Symbol" pitchFamily="18" charset="2"/>
              </a:rPr>
              <a:t>3</a:t>
            </a:r>
            <a:r>
              <a:rPr lang="de-DE" sz="2000" dirty="0">
                <a:sym typeface="Symbol" pitchFamily="18" charset="2"/>
              </a:rPr>
              <a:t> = 12,5078125 (</a:t>
            </a:r>
            <a:r>
              <a:rPr lang="de-DE" sz="2000" dirty="0">
                <a:solidFill>
                  <a:srgbClr val="FF0000"/>
                </a:solidFill>
                <a:sym typeface="Symbol" pitchFamily="18" charset="2"/>
              </a:rPr>
              <a:t>korrekt wäre: 12,52, Genauigkeitsverlust: 0,0121875</a:t>
            </a:r>
            <a:r>
              <a:rPr lang="de-DE" sz="2000" dirty="0">
                <a:sym typeface="Symbol" pitchFamily="18" charset="2"/>
              </a:rPr>
              <a:t>)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4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856353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5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56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56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56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56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56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56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5" name="Rectangle 2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GB" sz="2800" dirty="0" err="1"/>
              <a:t>Zahlenbasen</a:t>
            </a:r>
            <a:endParaRPr lang="en-US" sz="2800" dirty="0"/>
          </a:p>
        </p:txBody>
      </p:sp>
      <p:sp>
        <p:nvSpPr>
          <p:cNvPr id="3076" name="Rectangle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charset="0"/>
              <a:buNone/>
              <a:defRPr/>
            </a:pPr>
            <a:r>
              <a:rPr lang="en-GB" sz="2200" dirty="0"/>
              <a:t>Natürliche Zahlen können in jeder Basis repräsentiert werden:</a:t>
            </a:r>
          </a:p>
          <a:p>
            <a:pPr>
              <a:buFont typeface="Arial" charset="0"/>
              <a:buNone/>
              <a:defRPr/>
            </a:pPr>
            <a:endParaRPr lang="en-GB" sz="2400" dirty="0"/>
          </a:p>
          <a:p>
            <a:pPr>
              <a:buFont typeface="Arial" charset="0"/>
              <a:buNone/>
              <a:defRPr/>
            </a:pPr>
            <a:endParaRPr lang="en-GB" sz="2400" dirty="0"/>
          </a:p>
          <a:p>
            <a:pPr>
              <a:defRPr/>
            </a:pPr>
            <a:r>
              <a:rPr lang="en-GB" sz="2200" dirty="0"/>
              <a:t>B: </a:t>
            </a:r>
            <a:r>
              <a:rPr lang="en-GB" sz="2200" dirty="0">
                <a:solidFill>
                  <a:srgbClr val="0000FF"/>
                </a:solidFill>
              </a:rPr>
              <a:t>Basis</a:t>
            </a:r>
            <a:r>
              <a:rPr lang="en-GB" sz="2200" dirty="0"/>
              <a:t>, z.B. 10 (dezimal), 2 (binär), 8 (</a:t>
            </a:r>
            <a:r>
              <a:rPr lang="en-GB" sz="2200" dirty="0" err="1"/>
              <a:t>oktal</a:t>
            </a:r>
            <a:r>
              <a:rPr lang="en-GB" sz="2200" dirty="0"/>
              <a:t>), 16 (hexadezimal)</a:t>
            </a:r>
          </a:p>
          <a:p>
            <a:pPr>
              <a:defRPr/>
            </a:pPr>
            <a:r>
              <a:rPr lang="en-GB" sz="2200" dirty="0">
                <a:solidFill>
                  <a:srgbClr val="0000FF"/>
                </a:solidFill>
              </a:rPr>
              <a:t>B</a:t>
            </a:r>
            <a:r>
              <a:rPr lang="en-GB" sz="2200" baseline="30000" dirty="0">
                <a:solidFill>
                  <a:srgbClr val="0000FF"/>
                </a:solidFill>
              </a:rPr>
              <a:t>i</a:t>
            </a:r>
            <a:r>
              <a:rPr lang="en-GB" sz="2200" dirty="0">
                <a:solidFill>
                  <a:srgbClr val="0000FF"/>
                </a:solidFill>
              </a:rPr>
              <a:t>: </a:t>
            </a:r>
            <a:r>
              <a:rPr lang="en-GB" sz="2200" dirty="0" err="1">
                <a:solidFill>
                  <a:srgbClr val="0000FF"/>
                </a:solidFill>
              </a:rPr>
              <a:t>Gewicht</a:t>
            </a:r>
            <a:r>
              <a:rPr lang="en-GB" sz="2200" dirty="0">
                <a:solidFill>
                  <a:srgbClr val="0000FF"/>
                </a:solidFill>
              </a:rPr>
              <a:t> der </a:t>
            </a:r>
            <a:r>
              <a:rPr lang="en-GB" sz="2200" dirty="0" err="1">
                <a:solidFill>
                  <a:srgbClr val="0000FF"/>
                </a:solidFill>
              </a:rPr>
              <a:t>i</a:t>
            </a:r>
            <a:r>
              <a:rPr lang="en-GB" sz="2200" dirty="0">
                <a:solidFill>
                  <a:srgbClr val="0000FF"/>
                </a:solidFill>
              </a:rPr>
              <a:t>-ten </a:t>
            </a:r>
            <a:r>
              <a:rPr lang="en-GB" sz="2200" dirty="0" err="1">
                <a:solidFill>
                  <a:srgbClr val="0000FF"/>
                </a:solidFill>
              </a:rPr>
              <a:t>Ziffer</a:t>
            </a:r>
            <a:endParaRPr lang="en-GB" sz="2200" dirty="0">
              <a:solidFill>
                <a:srgbClr val="0000FF"/>
              </a:solidFill>
            </a:endParaRPr>
          </a:p>
          <a:p>
            <a:pPr>
              <a:defRPr/>
            </a:pPr>
            <a:r>
              <a:rPr lang="en-GB" sz="2200" dirty="0"/>
              <a:t>a</a:t>
            </a:r>
            <a:r>
              <a:rPr lang="en-GB" sz="2200" baseline="-25000" dirty="0"/>
              <a:t>i</a:t>
            </a:r>
            <a:r>
              <a:rPr lang="en-GB" sz="2200" dirty="0"/>
              <a:t>: i-te Ziffer aus der Menge {0, 1, …, B-1}</a:t>
            </a:r>
          </a:p>
          <a:p>
            <a:pPr marL="0" lvl="2" indent="0">
              <a:buNone/>
              <a:defRPr/>
            </a:pPr>
            <a:endParaRPr lang="de-DE" sz="2200" dirty="0"/>
          </a:p>
          <a:p>
            <a:pPr marL="0" lvl="2" indent="0">
              <a:buNone/>
              <a:defRPr/>
            </a:pPr>
            <a:endParaRPr lang="de-DE" sz="2200" dirty="0"/>
          </a:p>
          <a:p>
            <a:pPr marL="0" lvl="2" indent="0">
              <a:buNone/>
              <a:defRPr/>
            </a:pPr>
            <a:r>
              <a:rPr lang="de-DE" sz="2200" dirty="0"/>
              <a:t>Beispiel (dezimal): 2435 = 	2·10</a:t>
            </a:r>
            <a:r>
              <a:rPr lang="de-DE" sz="2200" baseline="30000" dirty="0"/>
              <a:t>3</a:t>
            </a:r>
            <a:r>
              <a:rPr lang="de-DE" sz="2200" dirty="0"/>
              <a:t> 	+ 	4·10</a:t>
            </a:r>
            <a:r>
              <a:rPr lang="de-DE" sz="2200" baseline="30000" dirty="0"/>
              <a:t>2</a:t>
            </a:r>
            <a:r>
              <a:rPr lang="de-DE" sz="2200" dirty="0"/>
              <a:t> 	+ 	3·10</a:t>
            </a:r>
            <a:r>
              <a:rPr lang="de-DE" sz="2200" baseline="30000" dirty="0"/>
              <a:t>1</a:t>
            </a:r>
            <a:r>
              <a:rPr lang="de-DE" sz="2200" dirty="0"/>
              <a:t> 	+ 	5·10</a:t>
            </a:r>
            <a:r>
              <a:rPr lang="de-DE" sz="2200" baseline="30000" dirty="0"/>
              <a:t>0</a:t>
            </a:r>
            <a:endParaRPr lang="de-DE" sz="2200" dirty="0"/>
          </a:p>
          <a:p>
            <a:pPr>
              <a:defRPr/>
            </a:pPr>
            <a:endParaRPr lang="en-GB" sz="2200" dirty="0"/>
          </a:p>
          <a:p>
            <a:pPr>
              <a:buFont typeface="Arial" charset="0"/>
              <a:buNone/>
              <a:defRPr/>
            </a:pPr>
            <a:endParaRPr lang="en-GB" sz="220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5</a:t>
            </a:fld>
            <a:endParaRPr lang="de-DE" dirty="0"/>
          </a:p>
        </p:txBody>
      </p:sp>
      <p:graphicFrame>
        <p:nvGraphicFramePr>
          <p:cNvPr id="13314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31890580"/>
              </p:ext>
            </p:extLst>
          </p:nvPr>
        </p:nvGraphicFramePr>
        <p:xfrm>
          <a:off x="2711625" y="1628800"/>
          <a:ext cx="6749227" cy="9267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Formel" r:id="rId2" imgW="3504960" imgH="431640" progId="Equation.3">
                  <p:embed/>
                </p:oleObj>
              </mc:Choice>
              <mc:Fallback>
                <p:oleObj name="Formel" r:id="rId2" imgW="3504960" imgH="431640" progId="Equation.3">
                  <p:embed/>
                  <p:pic>
                    <p:nvPicPr>
                      <p:cNvPr id="13314" name="Object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711625" y="1628800"/>
                        <a:ext cx="6749227" cy="926728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feld 6"/>
          <p:cNvSpPr txBox="1"/>
          <p:nvPr/>
        </p:nvSpPr>
        <p:spPr>
          <a:xfrm>
            <a:off x="2783632" y="5219352"/>
            <a:ext cx="450850" cy="3698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de-DE" dirty="0"/>
              <a:t>a</a:t>
            </a:r>
            <a:r>
              <a:rPr lang="de-DE" baseline="-25000" dirty="0"/>
              <a:t>2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3124870" y="5209827"/>
            <a:ext cx="450850" cy="3698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de-DE" dirty="0"/>
              <a:t>a</a:t>
            </a:r>
            <a:r>
              <a:rPr lang="de-DE" baseline="-25000" dirty="0"/>
              <a:t>0</a:t>
            </a:r>
          </a:p>
        </p:txBody>
      </p:sp>
      <p:cxnSp>
        <p:nvCxnSpPr>
          <p:cNvPr id="12" name="Gerade Verbindung mit Pfeil 11"/>
          <p:cNvCxnSpPr/>
          <p:nvPr/>
        </p:nvCxnSpPr>
        <p:spPr>
          <a:xfrm rot="5400000">
            <a:off x="2765476" y="5128866"/>
            <a:ext cx="360363" cy="1587"/>
          </a:xfrm>
          <a:prstGeom prst="straightConnector1">
            <a:avLst/>
          </a:prstGeom>
          <a:ln w="19050"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/>
          <p:nvPr/>
        </p:nvCxnSpPr>
        <p:spPr>
          <a:xfrm rot="5400000">
            <a:off x="3106712" y="5128865"/>
            <a:ext cx="360363" cy="1588"/>
          </a:xfrm>
          <a:prstGeom prst="straightConnector1">
            <a:avLst/>
          </a:prstGeom>
          <a:ln w="19050"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/>
          <p:nvPr/>
        </p:nvCxnSpPr>
        <p:spPr>
          <a:xfrm rot="5400000">
            <a:off x="3870913" y="5128865"/>
            <a:ext cx="360363" cy="1588"/>
          </a:xfrm>
          <a:prstGeom prst="straightConnector1">
            <a:avLst/>
          </a:prstGeom>
          <a:ln w="19050"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/>
          <p:cNvCxnSpPr/>
          <p:nvPr/>
        </p:nvCxnSpPr>
        <p:spPr>
          <a:xfrm rot="5400000">
            <a:off x="5393756" y="5128865"/>
            <a:ext cx="360363" cy="1588"/>
          </a:xfrm>
          <a:prstGeom prst="straightConnector1">
            <a:avLst/>
          </a:prstGeom>
          <a:ln w="19050"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/>
          <p:cNvCxnSpPr/>
          <p:nvPr/>
        </p:nvCxnSpPr>
        <p:spPr>
          <a:xfrm rot="5400000">
            <a:off x="6979519" y="5128866"/>
            <a:ext cx="360363" cy="1587"/>
          </a:xfrm>
          <a:prstGeom prst="straightConnector1">
            <a:avLst/>
          </a:prstGeom>
          <a:ln w="19050"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/>
          <p:cNvCxnSpPr/>
          <p:nvPr/>
        </p:nvCxnSpPr>
        <p:spPr>
          <a:xfrm rot="5400000">
            <a:off x="8490099" y="5128866"/>
            <a:ext cx="360363" cy="1587"/>
          </a:xfrm>
          <a:prstGeom prst="straightConnector1">
            <a:avLst/>
          </a:prstGeom>
          <a:ln w="19050"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>
          <a:xfrm>
            <a:off x="3886646" y="5219352"/>
            <a:ext cx="449263" cy="3698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de-DE" dirty="0"/>
              <a:t>a</a:t>
            </a:r>
            <a:r>
              <a:rPr lang="de-DE" baseline="-25000" dirty="0"/>
              <a:t>3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5429126" y="5209827"/>
            <a:ext cx="450850" cy="3698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de-DE" dirty="0"/>
              <a:t>a</a:t>
            </a:r>
            <a:r>
              <a:rPr lang="de-DE" baseline="-25000" dirty="0"/>
              <a:t>2</a:t>
            </a:r>
          </a:p>
        </p:txBody>
      </p:sp>
      <p:sp>
        <p:nvSpPr>
          <p:cNvPr id="25" name="Textfeld 24"/>
          <p:cNvSpPr txBox="1"/>
          <p:nvPr/>
        </p:nvSpPr>
        <p:spPr>
          <a:xfrm>
            <a:off x="7014890" y="5209827"/>
            <a:ext cx="449262" cy="3698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de-DE" dirty="0"/>
              <a:t>a</a:t>
            </a:r>
            <a:r>
              <a:rPr lang="de-DE" baseline="-25000" dirty="0"/>
              <a:t>1</a:t>
            </a:r>
          </a:p>
        </p:txBody>
      </p:sp>
      <p:sp>
        <p:nvSpPr>
          <p:cNvPr id="26" name="Textfeld 25"/>
          <p:cNvSpPr txBox="1"/>
          <p:nvPr/>
        </p:nvSpPr>
        <p:spPr>
          <a:xfrm>
            <a:off x="8525470" y="5219352"/>
            <a:ext cx="450850" cy="3698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de-DE" dirty="0"/>
              <a:t>a</a:t>
            </a:r>
            <a:r>
              <a:rPr lang="de-DE" baseline="-25000" dirty="0"/>
              <a:t>0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2639616" y="4039841"/>
            <a:ext cx="450850" cy="3698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de-DE" dirty="0"/>
              <a:t>a</a:t>
            </a:r>
            <a:r>
              <a:rPr lang="de-DE" baseline="-25000" dirty="0"/>
              <a:t>3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2929236" y="4039841"/>
            <a:ext cx="449263" cy="3698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de-DE" dirty="0"/>
              <a:t>a</a:t>
            </a:r>
            <a:r>
              <a:rPr lang="de-DE" baseline="-25000" dirty="0"/>
              <a:t>1</a:t>
            </a:r>
          </a:p>
        </p:txBody>
      </p:sp>
      <p:cxnSp>
        <p:nvCxnSpPr>
          <p:cNvPr id="10" name="Gerade Verbindung mit Pfeil 9"/>
          <p:cNvCxnSpPr/>
          <p:nvPr/>
        </p:nvCxnSpPr>
        <p:spPr>
          <a:xfrm rot="5400000">
            <a:off x="2623047" y="4498628"/>
            <a:ext cx="360362" cy="1587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/>
          <p:cNvCxnSpPr/>
          <p:nvPr/>
        </p:nvCxnSpPr>
        <p:spPr>
          <a:xfrm rot="5400000">
            <a:off x="2909491" y="4498627"/>
            <a:ext cx="360362" cy="1588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/>
          <p:cNvCxnSpPr/>
          <p:nvPr/>
        </p:nvCxnSpPr>
        <p:spPr>
          <a:xfrm rot="5400000">
            <a:off x="4188421" y="4498627"/>
            <a:ext cx="360362" cy="1588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/>
          <p:cNvCxnSpPr/>
          <p:nvPr/>
        </p:nvCxnSpPr>
        <p:spPr>
          <a:xfrm rot="5400000">
            <a:off x="5700589" y="4498628"/>
            <a:ext cx="360362" cy="1587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/>
          <p:nvPr/>
        </p:nvCxnSpPr>
        <p:spPr>
          <a:xfrm rot="5400000">
            <a:off x="7282805" y="4498627"/>
            <a:ext cx="360362" cy="1588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/>
          <p:cNvCxnSpPr/>
          <p:nvPr/>
        </p:nvCxnSpPr>
        <p:spPr>
          <a:xfrm rot="5400000">
            <a:off x="8795345" y="4498628"/>
            <a:ext cx="360362" cy="1587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/>
          <p:cNvSpPr txBox="1"/>
          <p:nvPr/>
        </p:nvSpPr>
        <p:spPr>
          <a:xfrm>
            <a:off x="3522514" y="4029208"/>
            <a:ext cx="121074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de-DE" dirty="0"/>
              <a:t>B</a:t>
            </a:r>
            <a:r>
              <a:rPr lang="de-DE" baseline="30000" dirty="0"/>
              <a:t>3</a:t>
            </a:r>
            <a:r>
              <a:rPr lang="de-DE" dirty="0"/>
              <a:t>=1000</a:t>
            </a:r>
          </a:p>
        </p:txBody>
      </p:sp>
      <p:sp>
        <p:nvSpPr>
          <p:cNvPr id="28" name="Textfeld 27"/>
          <p:cNvSpPr txBox="1"/>
          <p:nvPr/>
        </p:nvSpPr>
        <p:spPr>
          <a:xfrm>
            <a:off x="5447928" y="4035881"/>
            <a:ext cx="10801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de-DE" dirty="0"/>
              <a:t>B</a:t>
            </a:r>
            <a:r>
              <a:rPr lang="de-DE" baseline="30000" dirty="0"/>
              <a:t>2</a:t>
            </a:r>
            <a:r>
              <a:rPr lang="de-DE" dirty="0"/>
              <a:t>=100</a:t>
            </a:r>
          </a:p>
        </p:txBody>
      </p:sp>
      <p:sp>
        <p:nvSpPr>
          <p:cNvPr id="29" name="Textfeld 28"/>
          <p:cNvSpPr txBox="1"/>
          <p:nvPr/>
        </p:nvSpPr>
        <p:spPr>
          <a:xfrm>
            <a:off x="7087267" y="4039841"/>
            <a:ext cx="96592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de-DE" dirty="0"/>
              <a:t>B</a:t>
            </a:r>
            <a:r>
              <a:rPr lang="de-DE" baseline="30000" dirty="0"/>
              <a:t>1</a:t>
            </a:r>
            <a:r>
              <a:rPr lang="de-DE" dirty="0"/>
              <a:t>=10</a:t>
            </a:r>
          </a:p>
        </p:txBody>
      </p:sp>
      <p:sp>
        <p:nvSpPr>
          <p:cNvPr id="30" name="Textfeld 29"/>
          <p:cNvSpPr txBox="1"/>
          <p:nvPr/>
        </p:nvSpPr>
        <p:spPr>
          <a:xfrm>
            <a:off x="8654506" y="4049366"/>
            <a:ext cx="82587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de-DE" dirty="0"/>
              <a:t>B</a:t>
            </a:r>
            <a:r>
              <a:rPr lang="de-DE" baseline="30000" dirty="0"/>
              <a:t>0</a:t>
            </a:r>
            <a:r>
              <a:rPr lang="de-DE" dirty="0"/>
              <a:t>=1</a:t>
            </a:r>
          </a:p>
        </p:txBody>
      </p:sp>
    </p:spTree>
    <p:extLst>
      <p:ext uri="{BB962C8B-B14F-4D97-AF65-F5344CB8AC3E}">
        <p14:creationId xmlns:p14="http://schemas.microsoft.com/office/powerpoint/2010/main" val="8517249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23" grpId="0"/>
      <p:bldP spid="24" grpId="0"/>
      <p:bldP spid="25" grpId="0"/>
      <p:bldP spid="26" grpId="0"/>
      <p:bldP spid="5" grpId="0"/>
      <p:bldP spid="6" grpId="0"/>
      <p:bldP spid="27" grpId="0"/>
      <p:bldP spid="28" grpId="0"/>
      <p:bldP spid="29" grpId="0"/>
      <p:bldP spid="30" grpId="0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Übersicht über die heutige Vorlesu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r>
              <a:rPr lang="de-DE" sz="24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Zahlensysteme und ihre Konvertierung</a:t>
            </a:r>
          </a:p>
          <a:p>
            <a:r>
              <a:rPr lang="de-DE" sz="24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Vorzeichenbehaftete und vorzeichenlose Zahlen</a:t>
            </a:r>
          </a:p>
          <a:p>
            <a:r>
              <a:rPr lang="de-DE" sz="24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Arithmetische Operationen</a:t>
            </a:r>
          </a:p>
          <a:p>
            <a:pPr lvl="1"/>
            <a:r>
              <a:rPr lang="de-DE" sz="22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Addition und Subtraktion</a:t>
            </a:r>
          </a:p>
          <a:p>
            <a:pPr lvl="1"/>
            <a:r>
              <a:rPr lang="de-DE" sz="22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Multiplikation</a:t>
            </a:r>
          </a:p>
          <a:p>
            <a:pPr lvl="1"/>
            <a:r>
              <a:rPr lang="de-DE" sz="22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Division</a:t>
            </a:r>
          </a:p>
          <a:p>
            <a:r>
              <a:rPr lang="de-DE" sz="24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Gleitkommazahlen (Floating Point)</a:t>
            </a:r>
          </a:p>
          <a:p>
            <a:r>
              <a:rPr lang="de-DE" sz="2400" dirty="0"/>
              <a:t>„Pentium Bug“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5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5482891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9" name="Rectangle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charset="0"/>
              <a:buNone/>
              <a:defRPr/>
            </a:pPr>
            <a:r>
              <a:rPr lang="de-DE" sz="2200" dirty="0"/>
              <a:t>Fehler im Divisionsalgorithmus für Gleitpunktzahlen</a:t>
            </a:r>
          </a:p>
          <a:p>
            <a:pPr>
              <a:defRPr/>
            </a:pPr>
            <a:r>
              <a:rPr lang="de-DE" sz="2000" dirty="0"/>
              <a:t>Juli 1994: Intel entdeckt Fehler. Geschätzte Kosten zum Beheben: </a:t>
            </a:r>
            <a:r>
              <a:rPr lang="de-DE" sz="2000" dirty="0">
                <a:solidFill>
                  <a:srgbClr val="0000FF"/>
                </a:solidFill>
              </a:rPr>
              <a:t>einige 100K$</a:t>
            </a:r>
          </a:p>
          <a:p>
            <a:pPr>
              <a:defRPr/>
            </a:pPr>
            <a:r>
              <a:rPr lang="de-DE" sz="2000" dirty="0"/>
              <a:t>Sept. 1994: </a:t>
            </a:r>
            <a:r>
              <a:rPr lang="de-DE" sz="2000" dirty="0" err="1"/>
              <a:t>Matheprof</a:t>
            </a:r>
            <a:r>
              <a:rPr lang="de-DE" sz="2000" dirty="0"/>
              <a:t> Thomas </a:t>
            </a:r>
            <a:r>
              <a:rPr lang="de-DE" sz="2000" dirty="0" err="1"/>
              <a:t>Nicely</a:t>
            </a:r>
            <a:r>
              <a:rPr lang="de-DE" sz="2000" dirty="0"/>
              <a:t> entdeckt Fehler. Erhält keine offizielle Stellungnahme Intel, veröffentlicht Entdeckung im Internet</a:t>
            </a:r>
          </a:p>
          <a:p>
            <a:pPr>
              <a:defRPr/>
            </a:pPr>
            <a:r>
              <a:rPr lang="de-DE" sz="2000" dirty="0"/>
              <a:t>7. Nov. 1994: EE Times bringt Geschichte auf Titelseite</a:t>
            </a:r>
          </a:p>
          <a:p>
            <a:pPr>
              <a:defRPr/>
            </a:pPr>
            <a:r>
              <a:rPr lang="de-DE" sz="2000" dirty="0"/>
              <a:t>22. Nov. 1994: Pressemitteilung Intel: Pentium könne Fehler an 9. Stelle verursachen, nur wenige Benutzer könnten betroffen sein</a:t>
            </a:r>
          </a:p>
          <a:p>
            <a:pPr>
              <a:defRPr/>
            </a:pPr>
            <a:r>
              <a:rPr lang="de-DE" sz="2000" dirty="0"/>
              <a:t>5. Dez. 1994: Intel behauptet, Fehler würde nur einmal in 27000 Jahren auftreten bei typischer Anwendung</a:t>
            </a:r>
          </a:p>
          <a:p>
            <a:pPr>
              <a:defRPr/>
            </a:pPr>
            <a:r>
              <a:rPr lang="de-DE" sz="2000" dirty="0"/>
              <a:t>12. Dez. 1994: IBM Research ficht Intels Berechnung an: alle 24 Tage Fehler</a:t>
            </a:r>
          </a:p>
          <a:p>
            <a:pPr>
              <a:defRPr/>
            </a:pPr>
            <a:r>
              <a:rPr lang="de-DE" sz="2000" dirty="0"/>
              <a:t>21. Dez. 1994: Intel gibt zu: jeder Besitzer darf Pentium austauschen. Geschätzte Kosten: </a:t>
            </a:r>
            <a:r>
              <a:rPr lang="de-DE" sz="2000" b="1" dirty="0">
                <a:solidFill>
                  <a:srgbClr val="0000FF"/>
                </a:solidFill>
              </a:rPr>
              <a:t>500 M$</a:t>
            </a:r>
            <a:r>
              <a:rPr lang="de-DE" sz="2000" dirty="0">
                <a:solidFill>
                  <a:srgbClr val="0000FF"/>
                </a:solidFill>
              </a:rPr>
              <a:t>!</a:t>
            </a:r>
          </a:p>
        </p:txBody>
      </p:sp>
      <p:sp>
        <p:nvSpPr>
          <p:cNvPr id="205828" name="Text Box 4"/>
          <p:cNvSpPr txBox="1">
            <a:spLocks noChangeArrowheads="1"/>
          </p:cNvSpPr>
          <p:nvPr/>
        </p:nvSpPr>
        <p:spPr bwMode="auto">
          <a:xfrm>
            <a:off x="1595400" y="5301208"/>
            <a:ext cx="9001200" cy="653641"/>
          </a:xfrm>
          <a:prstGeom prst="rect">
            <a:avLst/>
          </a:prstGeom>
          <a:solidFill>
            <a:schemeClr val="bg1"/>
          </a:solidFill>
          <a:ln w="28575" algn="ctr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marL="0" lvl="1" eaLnBrk="0" hangingPunct="0">
              <a:lnSpc>
                <a:spcPct val="90000"/>
              </a:lnSpc>
              <a:spcBef>
                <a:spcPct val="20000"/>
              </a:spcBef>
              <a:defRPr/>
            </a:pPr>
            <a:r>
              <a:rPr lang="en-US" sz="2000" dirty="0">
                <a:latin typeface="Calibri" pitchFamily="34" charset="0"/>
              </a:rPr>
              <a:t>4195835.0/3145727.0 = 1.333 </a:t>
            </a:r>
            <a:r>
              <a:rPr lang="en-US" sz="2000" dirty="0">
                <a:solidFill>
                  <a:srgbClr val="800000"/>
                </a:solidFill>
                <a:latin typeface="Calibri" pitchFamily="34" charset="0"/>
              </a:rPr>
              <a:t>8</a:t>
            </a:r>
            <a:r>
              <a:rPr lang="en-US" sz="2000" dirty="0">
                <a:latin typeface="Calibri" pitchFamily="34" charset="0"/>
              </a:rPr>
              <a:t>20 449 136 241 002 (</a:t>
            </a:r>
            <a:r>
              <a:rPr lang="en-US" sz="2000" dirty="0" err="1">
                <a:latin typeface="Calibri" pitchFamily="34" charset="0"/>
              </a:rPr>
              <a:t>korrekter</a:t>
            </a:r>
            <a:r>
              <a:rPr lang="en-US" sz="2000" dirty="0">
                <a:latin typeface="Calibri" pitchFamily="34" charset="0"/>
              </a:rPr>
              <a:t> Wert)</a:t>
            </a:r>
            <a:br>
              <a:rPr lang="en-US" sz="2000" dirty="0">
                <a:latin typeface="Calibri" pitchFamily="34" charset="0"/>
              </a:rPr>
            </a:br>
            <a:r>
              <a:rPr lang="en-US" sz="2000" dirty="0">
                <a:latin typeface="Calibri" pitchFamily="34" charset="0"/>
              </a:rPr>
              <a:t>4195835.0/3145727.0 = 1.333 </a:t>
            </a:r>
            <a:r>
              <a:rPr lang="en-US" sz="2000" dirty="0">
                <a:solidFill>
                  <a:srgbClr val="800000"/>
                </a:solidFill>
                <a:latin typeface="Calibri" pitchFamily="34" charset="0"/>
              </a:rPr>
              <a:t>7</a:t>
            </a:r>
            <a:r>
              <a:rPr lang="en-US" sz="2000" dirty="0">
                <a:latin typeface="Calibri" pitchFamily="34" charset="0"/>
              </a:rPr>
              <a:t>39 068 902 037 589 (</a:t>
            </a:r>
            <a:r>
              <a:rPr lang="en-US" sz="2000" dirty="0" err="1">
                <a:latin typeface="Calibri" pitchFamily="34" charset="0"/>
              </a:rPr>
              <a:t>fehlerhafter</a:t>
            </a:r>
            <a:r>
              <a:rPr lang="en-US" sz="2000" dirty="0">
                <a:latin typeface="Calibri" pitchFamily="34" charset="0"/>
              </a:rPr>
              <a:t> Pentium)</a:t>
            </a:r>
            <a:endParaRPr lang="en-US" sz="2000" dirty="0"/>
          </a:p>
        </p:txBody>
      </p:sp>
      <p:sp>
        <p:nvSpPr>
          <p:cNvPr id="75778" name="Rectangle 2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GB" sz="2800" dirty="0"/>
              <a:t>Pentium Bug</a:t>
            </a:r>
            <a:endParaRPr lang="en-US" sz="280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51</a:t>
            </a:fld>
            <a:endParaRPr lang="de-DE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59963" y="116632"/>
            <a:ext cx="2089147" cy="1568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56640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7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77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77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77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77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77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77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8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5779" grpId="0" build="p"/>
      <p:bldP spid="205828" grpId="0" animBg="1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Rectangle 2"/>
          <p:cNvSpPr>
            <a:spLocks noGrp="1"/>
          </p:cNvSpPr>
          <p:nvPr>
            <p:ph type="title"/>
          </p:nvPr>
        </p:nvSpPr>
        <p:spPr>
          <a:noFill/>
        </p:spPr>
        <p:txBody>
          <a:bodyPr vert="horz" lIns="90488" tIns="44450" rIns="90488" bIns="44450" rtlCol="0" anchor="t" anchorCtr="0">
            <a:noAutofit/>
          </a:bodyPr>
          <a:lstStyle/>
          <a:p>
            <a:r>
              <a:rPr lang="en-GB" sz="2800" dirty="0" err="1"/>
              <a:t>Zusammenfassung</a:t>
            </a:r>
            <a:endParaRPr lang="en-GB" dirty="0"/>
          </a:p>
        </p:txBody>
      </p:sp>
      <p:sp>
        <p:nvSpPr>
          <p:cNvPr id="76803" name="Rectangle 3"/>
          <p:cNvSpPr>
            <a:spLocks noGrp="1"/>
          </p:cNvSpPr>
          <p:nvPr>
            <p:ph idx="1"/>
          </p:nvPr>
        </p:nvSpPr>
        <p:spPr/>
        <p:txBody>
          <a:bodyPr vert="horz" lIns="90488" tIns="44450" rIns="90488" bIns="44450" rtlCol="0" anchor="t" anchorCtr="0">
            <a:noAutofit/>
          </a:bodyPr>
          <a:lstStyle/>
          <a:p>
            <a:pPr>
              <a:defRPr/>
            </a:pPr>
            <a:r>
              <a:rPr lang="de-DE" dirty="0"/>
              <a:t>Computer benutzen </a:t>
            </a:r>
            <a:r>
              <a:rPr lang="de-DE" dirty="0">
                <a:solidFill>
                  <a:srgbClr val="0000FF"/>
                </a:solidFill>
              </a:rPr>
              <a:t>Binärzahlen</a:t>
            </a:r>
            <a:r>
              <a:rPr lang="de-DE" dirty="0"/>
              <a:t> statt Dezimalzahlen</a:t>
            </a:r>
          </a:p>
          <a:p>
            <a:pPr lvl="1">
              <a:defRPr/>
            </a:pPr>
            <a:r>
              <a:rPr lang="de-DE" dirty="0"/>
              <a:t>b</a:t>
            </a:r>
            <a:r>
              <a:rPr lang="de-DE" baseline="-25000" dirty="0"/>
              <a:t>n-1</a:t>
            </a:r>
            <a:r>
              <a:rPr lang="de-DE" dirty="0"/>
              <a:t>b</a:t>
            </a:r>
            <a:r>
              <a:rPr lang="de-DE" baseline="-25000" dirty="0"/>
              <a:t>n-2</a:t>
            </a:r>
            <a:r>
              <a:rPr lang="de-DE" dirty="0"/>
              <a:t>. . .b</a:t>
            </a:r>
            <a:r>
              <a:rPr lang="de-DE" baseline="-25000" dirty="0"/>
              <a:t>1</a:t>
            </a:r>
            <a:r>
              <a:rPr lang="de-DE" dirty="0"/>
              <a:t>b</a:t>
            </a:r>
            <a:r>
              <a:rPr lang="de-DE" baseline="-25000" dirty="0"/>
              <a:t>0</a:t>
            </a:r>
            <a:r>
              <a:rPr lang="de-DE" dirty="0"/>
              <a:t> = b</a:t>
            </a:r>
            <a:r>
              <a:rPr lang="de-DE" baseline="-25000" dirty="0"/>
              <a:t>n-1</a:t>
            </a:r>
            <a:r>
              <a:rPr lang="de-DE" dirty="0"/>
              <a:t>·2</a:t>
            </a:r>
            <a:r>
              <a:rPr lang="de-DE" baseline="30000" dirty="0"/>
              <a:t>n-1</a:t>
            </a:r>
            <a:r>
              <a:rPr lang="de-DE" dirty="0"/>
              <a:t> + b</a:t>
            </a:r>
            <a:r>
              <a:rPr lang="de-DE" baseline="-25000" dirty="0"/>
              <a:t>n-2</a:t>
            </a:r>
            <a:r>
              <a:rPr lang="de-DE" dirty="0"/>
              <a:t>·2</a:t>
            </a:r>
            <a:r>
              <a:rPr lang="de-DE" baseline="30000" dirty="0"/>
              <a:t>n-2</a:t>
            </a:r>
            <a:r>
              <a:rPr lang="de-DE" dirty="0"/>
              <a:t> + . . . + b</a:t>
            </a:r>
            <a:r>
              <a:rPr lang="de-DE" baseline="-25000" dirty="0"/>
              <a:t>1</a:t>
            </a:r>
            <a:r>
              <a:rPr lang="de-DE" dirty="0"/>
              <a:t>·2</a:t>
            </a:r>
            <a:r>
              <a:rPr lang="de-DE" baseline="30000" dirty="0"/>
              <a:t>1</a:t>
            </a:r>
            <a:r>
              <a:rPr lang="de-DE" dirty="0"/>
              <a:t> + b</a:t>
            </a:r>
            <a:r>
              <a:rPr lang="de-DE" baseline="-25000" dirty="0"/>
              <a:t>0</a:t>
            </a:r>
            <a:r>
              <a:rPr lang="de-DE" dirty="0"/>
              <a:t>·2</a:t>
            </a:r>
            <a:r>
              <a:rPr lang="de-DE" baseline="30000" dirty="0"/>
              <a:t>0</a:t>
            </a:r>
            <a:r>
              <a:rPr lang="de-DE" dirty="0"/>
              <a:t> </a:t>
            </a:r>
          </a:p>
          <a:p>
            <a:pPr>
              <a:defRPr/>
            </a:pPr>
            <a:r>
              <a:rPr lang="de-DE" dirty="0"/>
              <a:t>Binärzahlen können leicht in </a:t>
            </a:r>
            <a:r>
              <a:rPr lang="de-DE" dirty="0">
                <a:solidFill>
                  <a:srgbClr val="0000FF"/>
                </a:solidFill>
              </a:rPr>
              <a:t>oktale</a:t>
            </a:r>
            <a:r>
              <a:rPr lang="de-DE" dirty="0"/>
              <a:t> und </a:t>
            </a:r>
            <a:r>
              <a:rPr lang="de-DE" dirty="0">
                <a:solidFill>
                  <a:srgbClr val="0000FF"/>
                </a:solidFill>
              </a:rPr>
              <a:t>hexadezimale</a:t>
            </a:r>
            <a:r>
              <a:rPr lang="de-DE" dirty="0"/>
              <a:t> Zahlen konvertiert werden</a:t>
            </a:r>
          </a:p>
          <a:p>
            <a:pPr>
              <a:defRPr/>
            </a:pPr>
            <a:r>
              <a:rPr lang="de-DE" dirty="0">
                <a:solidFill>
                  <a:srgbClr val="0000FF"/>
                </a:solidFill>
              </a:rPr>
              <a:t>2-Komplement</a:t>
            </a:r>
            <a:r>
              <a:rPr lang="de-DE" dirty="0">
                <a:solidFill>
                  <a:schemeClr val="bg2"/>
                </a:solidFill>
              </a:rPr>
              <a:t> </a:t>
            </a:r>
            <a:r>
              <a:rPr lang="de-DE" dirty="0"/>
              <a:t>wird benutzt um vorzeichenbehaftete Zahlen darzustellen</a:t>
            </a:r>
          </a:p>
          <a:p>
            <a:pPr lvl="1">
              <a:defRPr/>
            </a:pPr>
            <a:r>
              <a:rPr lang="de-DE" dirty="0"/>
              <a:t>b</a:t>
            </a:r>
            <a:r>
              <a:rPr lang="de-DE" baseline="-25000" dirty="0"/>
              <a:t>n-1</a:t>
            </a:r>
            <a:r>
              <a:rPr lang="de-DE" dirty="0"/>
              <a:t>b</a:t>
            </a:r>
            <a:r>
              <a:rPr lang="de-DE" baseline="-25000" dirty="0"/>
              <a:t>n-2</a:t>
            </a:r>
            <a:r>
              <a:rPr lang="de-DE" dirty="0"/>
              <a:t>. . .b</a:t>
            </a:r>
            <a:r>
              <a:rPr lang="de-DE" baseline="-25000" dirty="0"/>
              <a:t>1</a:t>
            </a:r>
            <a:r>
              <a:rPr lang="de-DE" dirty="0"/>
              <a:t>b</a:t>
            </a:r>
            <a:r>
              <a:rPr lang="de-DE" baseline="-25000" dirty="0"/>
              <a:t>0</a:t>
            </a:r>
            <a:r>
              <a:rPr lang="de-DE" dirty="0"/>
              <a:t> = - b</a:t>
            </a:r>
            <a:r>
              <a:rPr lang="de-DE" baseline="-25000" dirty="0"/>
              <a:t>n-1</a:t>
            </a:r>
            <a:r>
              <a:rPr lang="de-DE" dirty="0"/>
              <a:t>·2</a:t>
            </a:r>
            <a:r>
              <a:rPr lang="de-DE" baseline="30000" dirty="0"/>
              <a:t>n-1</a:t>
            </a:r>
            <a:r>
              <a:rPr lang="de-DE" dirty="0"/>
              <a:t> + b</a:t>
            </a:r>
            <a:r>
              <a:rPr lang="de-DE" baseline="-25000" dirty="0"/>
              <a:t>n-2</a:t>
            </a:r>
            <a:r>
              <a:rPr lang="de-DE" dirty="0"/>
              <a:t>·2</a:t>
            </a:r>
            <a:r>
              <a:rPr lang="de-DE" baseline="30000" dirty="0"/>
              <a:t>n-2</a:t>
            </a:r>
            <a:r>
              <a:rPr lang="de-DE" dirty="0"/>
              <a:t> + . . . + b</a:t>
            </a:r>
            <a:r>
              <a:rPr lang="de-DE" baseline="-25000" dirty="0"/>
              <a:t>1</a:t>
            </a:r>
            <a:r>
              <a:rPr lang="de-DE" dirty="0"/>
              <a:t>·2</a:t>
            </a:r>
            <a:r>
              <a:rPr lang="de-DE" baseline="30000" dirty="0"/>
              <a:t>1</a:t>
            </a:r>
            <a:r>
              <a:rPr lang="de-DE" dirty="0"/>
              <a:t> + b</a:t>
            </a:r>
            <a:r>
              <a:rPr lang="de-DE" baseline="-25000" dirty="0"/>
              <a:t>0</a:t>
            </a:r>
            <a:r>
              <a:rPr lang="de-DE" dirty="0"/>
              <a:t>·2</a:t>
            </a:r>
            <a:r>
              <a:rPr lang="de-DE" baseline="30000" dirty="0"/>
              <a:t>0</a:t>
            </a:r>
            <a:r>
              <a:rPr lang="de-DE" dirty="0"/>
              <a:t> </a:t>
            </a:r>
          </a:p>
          <a:p>
            <a:pPr>
              <a:defRPr/>
            </a:pPr>
            <a:r>
              <a:rPr lang="de-DE" dirty="0"/>
              <a:t>Mit </a:t>
            </a:r>
            <a:r>
              <a:rPr lang="de-DE" dirty="0">
                <a:solidFill>
                  <a:srgbClr val="0000FF"/>
                </a:solidFill>
              </a:rPr>
              <a:t>binären Zahlen </a:t>
            </a:r>
            <a:r>
              <a:rPr lang="de-DE" dirty="0"/>
              <a:t>kann man </a:t>
            </a:r>
            <a:r>
              <a:rPr lang="de-DE" dirty="0">
                <a:solidFill>
                  <a:srgbClr val="0000FF"/>
                </a:solidFill>
              </a:rPr>
              <a:t>rechnen</a:t>
            </a:r>
            <a:r>
              <a:rPr lang="de-DE" dirty="0"/>
              <a:t> wie in der Schulmathematik.</a:t>
            </a:r>
          </a:p>
          <a:p>
            <a:pPr>
              <a:defRPr/>
            </a:pPr>
            <a:r>
              <a:rPr lang="de-DE" dirty="0"/>
              <a:t>Durch limitierte Bitbreiten kann es zu </a:t>
            </a:r>
            <a:r>
              <a:rPr lang="de-DE" dirty="0">
                <a:solidFill>
                  <a:srgbClr val="0000FF"/>
                </a:solidFill>
              </a:rPr>
              <a:t>Überläufen</a:t>
            </a:r>
            <a:r>
              <a:rPr lang="de-DE" dirty="0"/>
              <a:t> kommen.</a:t>
            </a:r>
          </a:p>
          <a:p>
            <a:pPr>
              <a:defRPr/>
            </a:pPr>
            <a:r>
              <a:rPr lang="de-DE" dirty="0"/>
              <a:t>Rationale Zahlen können als </a:t>
            </a:r>
            <a:r>
              <a:rPr lang="de-DE" dirty="0">
                <a:solidFill>
                  <a:srgbClr val="0000FF"/>
                </a:solidFill>
              </a:rPr>
              <a:t>Gleitkommazahlen</a:t>
            </a:r>
            <a:r>
              <a:rPr lang="de-DE" dirty="0"/>
              <a:t> dargestellt </a:t>
            </a:r>
            <a:r>
              <a:rPr lang="de-DE"/>
              <a:t>werden.</a:t>
            </a:r>
            <a:endParaRPr lang="de-DE" dirty="0"/>
          </a:p>
          <a:p>
            <a:pPr>
              <a:defRPr/>
            </a:pPr>
            <a:r>
              <a:rPr lang="de-DE" dirty="0"/>
              <a:t>Was kommt als Nächstes? </a:t>
            </a:r>
          </a:p>
          <a:p>
            <a:pPr lvl="1">
              <a:defRPr/>
            </a:pPr>
            <a:r>
              <a:rPr lang="de-DE" dirty="0"/>
              <a:t>Wir werden einen </a:t>
            </a:r>
            <a:r>
              <a:rPr lang="de-DE" dirty="0">
                <a:solidFill>
                  <a:srgbClr val="0000FF"/>
                </a:solidFill>
              </a:rPr>
              <a:t>Prozessor</a:t>
            </a:r>
            <a:r>
              <a:rPr lang="de-DE" dirty="0"/>
              <a:t> implementieren.</a:t>
            </a:r>
          </a:p>
          <a:p>
            <a:pPr lvl="1">
              <a:defRPr/>
            </a:pPr>
            <a:r>
              <a:rPr lang="de-DE" dirty="0"/>
              <a:t>Dazu schauen wir uns zunächst die </a:t>
            </a:r>
            <a:r>
              <a:rPr lang="de-DE" dirty="0">
                <a:solidFill>
                  <a:srgbClr val="0000FF"/>
                </a:solidFill>
              </a:rPr>
              <a:t>Grundlagen der Digitaltechnik </a:t>
            </a:r>
            <a:r>
              <a:rPr lang="de-DE" dirty="0"/>
              <a:t>an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5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80204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5" name="Rectangle 2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GB" sz="2800" dirty="0" err="1"/>
              <a:t>Zahlenbasen</a:t>
            </a:r>
            <a:endParaRPr lang="en-US" sz="2800" dirty="0"/>
          </a:p>
        </p:txBody>
      </p:sp>
      <p:sp>
        <p:nvSpPr>
          <p:cNvPr id="3076" name="Rectangle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charset="0"/>
              <a:buNone/>
              <a:defRPr/>
            </a:pPr>
            <a:r>
              <a:rPr lang="en-GB" sz="2200" dirty="0"/>
              <a:t>Natürliche Zahlen können in jeder Basis repräsentiert werden:</a:t>
            </a:r>
          </a:p>
          <a:p>
            <a:pPr>
              <a:buFont typeface="Arial" charset="0"/>
              <a:buNone/>
              <a:defRPr/>
            </a:pPr>
            <a:endParaRPr lang="en-GB" sz="2400" dirty="0"/>
          </a:p>
          <a:p>
            <a:pPr>
              <a:buFont typeface="Arial" charset="0"/>
              <a:buNone/>
              <a:defRPr/>
            </a:pPr>
            <a:endParaRPr lang="en-GB" sz="2400" dirty="0"/>
          </a:p>
          <a:p>
            <a:pPr>
              <a:defRPr/>
            </a:pPr>
            <a:r>
              <a:rPr lang="en-GB" sz="2200" dirty="0"/>
              <a:t>B: </a:t>
            </a:r>
            <a:r>
              <a:rPr lang="en-GB" sz="2200" dirty="0">
                <a:solidFill>
                  <a:srgbClr val="0000FF"/>
                </a:solidFill>
              </a:rPr>
              <a:t>Basis</a:t>
            </a:r>
            <a:r>
              <a:rPr lang="en-GB" sz="2200" dirty="0"/>
              <a:t>, z.B. 10 (dezimal), 2 (binär), 8 (</a:t>
            </a:r>
            <a:r>
              <a:rPr lang="en-GB" sz="2200" dirty="0" err="1"/>
              <a:t>oktal</a:t>
            </a:r>
            <a:r>
              <a:rPr lang="en-GB" sz="2200" dirty="0"/>
              <a:t>), 16 (hexadezimal)</a:t>
            </a:r>
          </a:p>
          <a:p>
            <a:pPr>
              <a:defRPr/>
            </a:pPr>
            <a:r>
              <a:rPr lang="en-GB" sz="2200" dirty="0">
                <a:solidFill>
                  <a:srgbClr val="0000FF"/>
                </a:solidFill>
              </a:rPr>
              <a:t>B</a:t>
            </a:r>
            <a:r>
              <a:rPr lang="en-GB" sz="2200" baseline="30000" dirty="0">
                <a:solidFill>
                  <a:srgbClr val="0000FF"/>
                </a:solidFill>
              </a:rPr>
              <a:t>i</a:t>
            </a:r>
            <a:r>
              <a:rPr lang="en-GB" sz="2200" dirty="0">
                <a:solidFill>
                  <a:srgbClr val="0000FF"/>
                </a:solidFill>
              </a:rPr>
              <a:t>: </a:t>
            </a:r>
            <a:r>
              <a:rPr lang="en-GB" sz="2200" dirty="0" err="1">
                <a:solidFill>
                  <a:srgbClr val="0000FF"/>
                </a:solidFill>
              </a:rPr>
              <a:t>Gewicht</a:t>
            </a:r>
            <a:r>
              <a:rPr lang="en-GB" sz="2200" dirty="0">
                <a:solidFill>
                  <a:srgbClr val="0000FF"/>
                </a:solidFill>
              </a:rPr>
              <a:t> der </a:t>
            </a:r>
            <a:r>
              <a:rPr lang="en-GB" sz="2200" dirty="0" err="1">
                <a:solidFill>
                  <a:srgbClr val="0000FF"/>
                </a:solidFill>
              </a:rPr>
              <a:t>i</a:t>
            </a:r>
            <a:r>
              <a:rPr lang="en-GB" sz="2200" dirty="0">
                <a:solidFill>
                  <a:srgbClr val="0000FF"/>
                </a:solidFill>
              </a:rPr>
              <a:t>-ten </a:t>
            </a:r>
            <a:r>
              <a:rPr lang="en-GB" sz="2200" dirty="0" err="1">
                <a:solidFill>
                  <a:srgbClr val="0000FF"/>
                </a:solidFill>
              </a:rPr>
              <a:t>Ziffer</a:t>
            </a:r>
            <a:endParaRPr lang="en-GB" sz="2200" dirty="0">
              <a:solidFill>
                <a:srgbClr val="0000FF"/>
              </a:solidFill>
            </a:endParaRPr>
          </a:p>
          <a:p>
            <a:pPr>
              <a:defRPr/>
            </a:pPr>
            <a:r>
              <a:rPr lang="en-GB" sz="2200" dirty="0"/>
              <a:t>a</a:t>
            </a:r>
            <a:r>
              <a:rPr lang="en-GB" sz="2200" baseline="-25000" dirty="0"/>
              <a:t>i</a:t>
            </a:r>
            <a:r>
              <a:rPr lang="en-GB" sz="2200" dirty="0"/>
              <a:t>: i-te Ziffer aus der Menge {0, 1, …, B-1}</a:t>
            </a:r>
          </a:p>
          <a:p>
            <a:pPr>
              <a:buFont typeface="Arial" charset="0"/>
              <a:buNone/>
              <a:defRPr/>
            </a:pPr>
            <a:endParaRPr lang="en-GB" sz="2200" dirty="0"/>
          </a:p>
          <a:p>
            <a:pPr>
              <a:buFont typeface="Arial" charset="0"/>
              <a:buNone/>
              <a:defRPr/>
            </a:pPr>
            <a:endParaRPr lang="en-GB" sz="2200" dirty="0"/>
          </a:p>
          <a:p>
            <a:pPr>
              <a:buFont typeface="Arial" charset="0"/>
              <a:buNone/>
              <a:defRPr/>
            </a:pPr>
            <a:r>
              <a:rPr lang="en-GB" sz="2200" dirty="0"/>
              <a:t>Beispiel (binär): 	    1011</a:t>
            </a:r>
            <a:r>
              <a:rPr lang="en-GB" sz="2200" baseline="-25000" dirty="0">
                <a:solidFill>
                  <a:schemeClr val="accent1">
                    <a:lumMod val="50000"/>
                  </a:schemeClr>
                </a:solidFill>
              </a:rPr>
              <a:t>2</a:t>
            </a:r>
            <a:endParaRPr lang="en-US" sz="2400" baseline="-250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6</a:t>
            </a:fld>
            <a:endParaRPr lang="de-DE" dirty="0"/>
          </a:p>
        </p:txBody>
      </p:sp>
      <p:graphicFrame>
        <p:nvGraphicFramePr>
          <p:cNvPr id="13314" name="Object 4"/>
          <p:cNvGraphicFramePr>
            <a:graphicFrameLocks noChangeAspect="1"/>
          </p:cNvGraphicFramePr>
          <p:nvPr/>
        </p:nvGraphicFramePr>
        <p:xfrm>
          <a:off x="2711625" y="1628800"/>
          <a:ext cx="6749227" cy="9267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Formel" r:id="rId2" imgW="3504960" imgH="431640" progId="Equation.3">
                  <p:embed/>
                </p:oleObj>
              </mc:Choice>
              <mc:Fallback>
                <p:oleObj name="Formel" r:id="rId2" imgW="3504960" imgH="431640" progId="Equation.3">
                  <p:embed/>
                  <p:pic>
                    <p:nvPicPr>
                      <p:cNvPr id="13314" name="Object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711625" y="1628800"/>
                        <a:ext cx="6749227" cy="926728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feld 6"/>
          <p:cNvSpPr txBox="1"/>
          <p:nvPr/>
        </p:nvSpPr>
        <p:spPr>
          <a:xfrm>
            <a:off x="2783632" y="5219352"/>
            <a:ext cx="450850" cy="3698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de-DE" dirty="0"/>
              <a:t>a</a:t>
            </a:r>
            <a:r>
              <a:rPr lang="de-DE" baseline="-25000" dirty="0"/>
              <a:t>2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3124870" y="5209827"/>
            <a:ext cx="450850" cy="3698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de-DE" dirty="0"/>
              <a:t>a</a:t>
            </a:r>
            <a:r>
              <a:rPr lang="de-DE" baseline="-25000" dirty="0"/>
              <a:t>0</a:t>
            </a:r>
          </a:p>
        </p:txBody>
      </p:sp>
      <p:cxnSp>
        <p:nvCxnSpPr>
          <p:cNvPr id="12" name="Gerade Verbindung mit Pfeil 11"/>
          <p:cNvCxnSpPr/>
          <p:nvPr/>
        </p:nvCxnSpPr>
        <p:spPr>
          <a:xfrm rot="5400000">
            <a:off x="2765476" y="5128866"/>
            <a:ext cx="360363" cy="1587"/>
          </a:xfrm>
          <a:prstGeom prst="straightConnector1">
            <a:avLst/>
          </a:prstGeom>
          <a:ln w="19050"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/>
          <p:nvPr/>
        </p:nvCxnSpPr>
        <p:spPr>
          <a:xfrm rot="5400000">
            <a:off x="3106712" y="5128865"/>
            <a:ext cx="360363" cy="1588"/>
          </a:xfrm>
          <a:prstGeom prst="straightConnector1">
            <a:avLst/>
          </a:prstGeom>
          <a:ln w="19050"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/>
          <p:nvPr/>
        </p:nvCxnSpPr>
        <p:spPr>
          <a:xfrm rot="5400000">
            <a:off x="3870913" y="5128865"/>
            <a:ext cx="360363" cy="1588"/>
          </a:xfrm>
          <a:prstGeom prst="straightConnector1">
            <a:avLst/>
          </a:prstGeom>
          <a:ln w="19050"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/>
          <p:cNvCxnSpPr/>
          <p:nvPr/>
        </p:nvCxnSpPr>
        <p:spPr>
          <a:xfrm rot="5400000">
            <a:off x="4673676" y="5128865"/>
            <a:ext cx="360363" cy="1588"/>
          </a:xfrm>
          <a:prstGeom prst="straightConnector1">
            <a:avLst/>
          </a:prstGeom>
          <a:ln w="19050"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/>
          <p:cNvCxnSpPr/>
          <p:nvPr/>
        </p:nvCxnSpPr>
        <p:spPr>
          <a:xfrm rot="5400000">
            <a:off x="5467351" y="5128866"/>
            <a:ext cx="360363" cy="1587"/>
          </a:xfrm>
          <a:prstGeom prst="straightConnector1">
            <a:avLst/>
          </a:prstGeom>
          <a:ln w="19050"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/>
          <p:cNvCxnSpPr/>
          <p:nvPr/>
        </p:nvCxnSpPr>
        <p:spPr>
          <a:xfrm rot="5400000">
            <a:off x="6257851" y="5128866"/>
            <a:ext cx="360363" cy="1587"/>
          </a:xfrm>
          <a:prstGeom prst="straightConnector1">
            <a:avLst/>
          </a:prstGeom>
          <a:ln w="19050"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>
          <a:xfrm>
            <a:off x="3886646" y="5219352"/>
            <a:ext cx="449263" cy="3698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de-DE" dirty="0"/>
              <a:t>a</a:t>
            </a:r>
            <a:r>
              <a:rPr lang="de-DE" baseline="-25000" dirty="0"/>
              <a:t>3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4709046" y="5209827"/>
            <a:ext cx="450850" cy="3698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de-DE" dirty="0"/>
              <a:t>a</a:t>
            </a:r>
            <a:r>
              <a:rPr lang="de-DE" baseline="-25000" dirty="0"/>
              <a:t>2</a:t>
            </a:r>
          </a:p>
        </p:txBody>
      </p:sp>
      <p:sp>
        <p:nvSpPr>
          <p:cNvPr id="25" name="Textfeld 24"/>
          <p:cNvSpPr txBox="1"/>
          <p:nvPr/>
        </p:nvSpPr>
        <p:spPr>
          <a:xfrm>
            <a:off x="5502722" y="5209827"/>
            <a:ext cx="449262" cy="3698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de-DE" dirty="0"/>
              <a:t>a</a:t>
            </a:r>
            <a:r>
              <a:rPr lang="de-DE" baseline="-25000" dirty="0"/>
              <a:t>1</a:t>
            </a:r>
          </a:p>
        </p:txBody>
      </p:sp>
      <p:sp>
        <p:nvSpPr>
          <p:cNvPr id="26" name="Textfeld 25"/>
          <p:cNvSpPr txBox="1"/>
          <p:nvPr/>
        </p:nvSpPr>
        <p:spPr>
          <a:xfrm>
            <a:off x="6293222" y="5219352"/>
            <a:ext cx="450850" cy="3698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de-DE" dirty="0"/>
              <a:t>a</a:t>
            </a:r>
            <a:r>
              <a:rPr lang="de-DE" baseline="-25000" dirty="0"/>
              <a:t>0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2639616" y="4039841"/>
            <a:ext cx="450850" cy="3698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de-DE" dirty="0"/>
              <a:t>a</a:t>
            </a:r>
            <a:r>
              <a:rPr lang="de-DE" baseline="-25000" dirty="0"/>
              <a:t>3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2929236" y="4039841"/>
            <a:ext cx="449263" cy="3698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de-DE" dirty="0"/>
              <a:t>a</a:t>
            </a:r>
            <a:r>
              <a:rPr lang="de-DE" baseline="-25000" dirty="0"/>
              <a:t>1</a:t>
            </a:r>
          </a:p>
        </p:txBody>
      </p:sp>
      <p:cxnSp>
        <p:nvCxnSpPr>
          <p:cNvPr id="10" name="Gerade Verbindung mit Pfeil 9"/>
          <p:cNvCxnSpPr/>
          <p:nvPr/>
        </p:nvCxnSpPr>
        <p:spPr>
          <a:xfrm rot="5400000">
            <a:off x="2623047" y="4498628"/>
            <a:ext cx="360362" cy="1587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/>
          <p:cNvCxnSpPr/>
          <p:nvPr/>
        </p:nvCxnSpPr>
        <p:spPr>
          <a:xfrm rot="5400000">
            <a:off x="2909491" y="4498627"/>
            <a:ext cx="360362" cy="1588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/>
          <p:cNvCxnSpPr/>
          <p:nvPr/>
        </p:nvCxnSpPr>
        <p:spPr>
          <a:xfrm rot="5400000">
            <a:off x="4188421" y="4498627"/>
            <a:ext cx="360362" cy="1588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/>
          <p:cNvCxnSpPr/>
          <p:nvPr/>
        </p:nvCxnSpPr>
        <p:spPr>
          <a:xfrm rot="5400000">
            <a:off x="4980509" y="4498628"/>
            <a:ext cx="360362" cy="1587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/>
          <p:nvPr/>
        </p:nvCxnSpPr>
        <p:spPr>
          <a:xfrm rot="5400000">
            <a:off x="5770637" y="4498627"/>
            <a:ext cx="360362" cy="1588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/>
          <p:cNvCxnSpPr/>
          <p:nvPr/>
        </p:nvCxnSpPr>
        <p:spPr>
          <a:xfrm rot="5400000">
            <a:off x="6563097" y="4498628"/>
            <a:ext cx="360362" cy="1587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/>
          <p:cNvSpPr txBox="1"/>
          <p:nvPr/>
        </p:nvSpPr>
        <p:spPr>
          <a:xfrm>
            <a:off x="3840063" y="4029208"/>
            <a:ext cx="8932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de-DE" dirty="0"/>
              <a:t>B</a:t>
            </a:r>
            <a:r>
              <a:rPr lang="de-DE" baseline="30000" dirty="0"/>
              <a:t>3</a:t>
            </a:r>
            <a:r>
              <a:rPr lang="de-DE" dirty="0"/>
              <a:t>=8</a:t>
            </a:r>
          </a:p>
        </p:txBody>
      </p:sp>
      <p:sp>
        <p:nvSpPr>
          <p:cNvPr id="28" name="Textfeld 27"/>
          <p:cNvSpPr txBox="1"/>
          <p:nvPr/>
        </p:nvSpPr>
        <p:spPr>
          <a:xfrm>
            <a:off x="4727848" y="4035881"/>
            <a:ext cx="80893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de-DE" dirty="0"/>
              <a:t>B</a:t>
            </a:r>
            <a:r>
              <a:rPr lang="de-DE" baseline="30000" dirty="0"/>
              <a:t>2</a:t>
            </a:r>
            <a:r>
              <a:rPr lang="de-DE" dirty="0"/>
              <a:t>=4</a:t>
            </a:r>
          </a:p>
        </p:txBody>
      </p:sp>
      <p:sp>
        <p:nvSpPr>
          <p:cNvPr id="29" name="Textfeld 28"/>
          <p:cNvSpPr txBox="1"/>
          <p:nvPr/>
        </p:nvSpPr>
        <p:spPr>
          <a:xfrm>
            <a:off x="5575100" y="4039841"/>
            <a:ext cx="80893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de-DE" dirty="0"/>
              <a:t>B</a:t>
            </a:r>
            <a:r>
              <a:rPr lang="de-DE" baseline="30000" dirty="0"/>
              <a:t>1</a:t>
            </a:r>
            <a:r>
              <a:rPr lang="de-DE" dirty="0"/>
              <a:t>=2</a:t>
            </a:r>
          </a:p>
        </p:txBody>
      </p:sp>
      <p:sp>
        <p:nvSpPr>
          <p:cNvPr id="30" name="Textfeld 29"/>
          <p:cNvSpPr txBox="1"/>
          <p:nvPr/>
        </p:nvSpPr>
        <p:spPr>
          <a:xfrm>
            <a:off x="6422258" y="4049366"/>
            <a:ext cx="82587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de-DE" dirty="0"/>
              <a:t>B</a:t>
            </a:r>
            <a:r>
              <a:rPr lang="de-DE" baseline="30000" dirty="0"/>
              <a:t>0</a:t>
            </a:r>
            <a:r>
              <a:rPr lang="de-DE" dirty="0"/>
              <a:t>=1</a:t>
            </a:r>
          </a:p>
        </p:txBody>
      </p:sp>
      <p:sp>
        <p:nvSpPr>
          <p:cNvPr id="33" name="Rectangle 3"/>
          <p:cNvSpPr txBox="1">
            <a:spLocks/>
          </p:cNvSpPr>
          <p:nvPr/>
        </p:nvSpPr>
        <p:spPr>
          <a:xfrm>
            <a:off x="3575719" y="4631870"/>
            <a:ext cx="3672409" cy="6480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charset="0"/>
              <a:buNone/>
              <a:defRPr/>
            </a:pPr>
            <a:r>
              <a:rPr lang="en-GB" sz="2000" dirty="0"/>
              <a:t>= 1</a:t>
            </a:r>
            <a:r>
              <a:rPr lang="de-DE" sz="2000" dirty="0"/>
              <a:t>·</a:t>
            </a:r>
            <a:r>
              <a:rPr lang="en-GB" sz="2000" dirty="0"/>
              <a:t>2</a:t>
            </a:r>
            <a:r>
              <a:rPr lang="en-GB" sz="2000" baseline="30000" dirty="0"/>
              <a:t>3</a:t>
            </a:r>
            <a:r>
              <a:rPr lang="en-GB" sz="2000" dirty="0"/>
              <a:t>+0</a:t>
            </a:r>
            <a:r>
              <a:rPr lang="de-DE" sz="2000" dirty="0"/>
              <a:t>·</a:t>
            </a:r>
            <a:r>
              <a:rPr lang="en-GB" sz="2000" dirty="0"/>
              <a:t>2</a:t>
            </a:r>
            <a:r>
              <a:rPr lang="en-GB" sz="2000" baseline="30000" dirty="0"/>
              <a:t>2</a:t>
            </a:r>
            <a:r>
              <a:rPr lang="en-GB" sz="2000" dirty="0"/>
              <a:t>+1</a:t>
            </a:r>
            <a:r>
              <a:rPr lang="de-DE" sz="2000" dirty="0"/>
              <a:t>·</a:t>
            </a:r>
            <a:r>
              <a:rPr lang="en-GB" sz="2000" dirty="0"/>
              <a:t>2</a:t>
            </a:r>
            <a:r>
              <a:rPr lang="en-GB" sz="2000" baseline="30000" dirty="0"/>
              <a:t>1</a:t>
            </a:r>
            <a:r>
              <a:rPr lang="en-GB" sz="2000" dirty="0"/>
              <a:t>+1</a:t>
            </a:r>
            <a:r>
              <a:rPr lang="de-DE" sz="2000" dirty="0"/>
              <a:t>·</a:t>
            </a:r>
            <a:r>
              <a:rPr lang="en-GB" sz="2000" dirty="0"/>
              <a:t>2</a:t>
            </a:r>
            <a:r>
              <a:rPr lang="en-GB" sz="2000" baseline="30000" dirty="0"/>
              <a:t>0</a:t>
            </a:r>
            <a:endParaRPr lang="en-US" baseline="-250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5" name="Rectangle 3"/>
          <p:cNvSpPr txBox="1">
            <a:spLocks/>
          </p:cNvSpPr>
          <p:nvPr/>
        </p:nvSpPr>
        <p:spPr>
          <a:xfrm>
            <a:off x="6888088" y="4602394"/>
            <a:ext cx="3168352" cy="6480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charset="0"/>
              <a:buNone/>
              <a:defRPr/>
            </a:pPr>
            <a:r>
              <a:rPr lang="en-GB" sz="2200" dirty="0"/>
              <a:t>= (8 + 0 + 2 + 1)</a:t>
            </a:r>
            <a:r>
              <a:rPr lang="en-GB" sz="2200" baseline="-25000" dirty="0">
                <a:solidFill>
                  <a:schemeClr val="accent1">
                    <a:lumMod val="50000"/>
                  </a:schemeClr>
                </a:solidFill>
              </a:rPr>
              <a:t> 10</a:t>
            </a:r>
            <a:endParaRPr lang="en-US" baseline="-250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7" name="Rectangle 3"/>
          <p:cNvSpPr txBox="1">
            <a:spLocks/>
          </p:cNvSpPr>
          <p:nvPr/>
        </p:nvSpPr>
        <p:spPr>
          <a:xfrm>
            <a:off x="9831468" y="4683104"/>
            <a:ext cx="1008112" cy="648072"/>
          </a:xfrm>
          <a:prstGeom prst="rect">
            <a:avLst/>
          </a:prstGeom>
        </p:spPr>
        <p:txBody>
          <a:bodyPr vert="horz" lIns="91440" tIns="45720" rIns="91440" bIns="45720" rtlCol="0">
            <a:normAutofit fontScale="700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charset="0"/>
              <a:buNone/>
              <a:defRPr/>
            </a:pPr>
            <a:r>
              <a:rPr lang="en-GB" dirty="0"/>
              <a:t>= </a:t>
            </a:r>
            <a:r>
              <a:rPr lang="en-GB" sz="2800" dirty="0"/>
              <a:t>11</a:t>
            </a:r>
            <a:r>
              <a:rPr lang="en-GB" sz="2800" baseline="-25000" dirty="0">
                <a:solidFill>
                  <a:schemeClr val="accent1">
                    <a:lumMod val="50000"/>
                  </a:schemeClr>
                </a:solidFill>
              </a:rPr>
              <a:t>10</a:t>
            </a:r>
            <a:endParaRPr lang="en-US" sz="2800" baseline="-25000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42015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23" grpId="0"/>
      <p:bldP spid="24" grpId="0"/>
      <p:bldP spid="25" grpId="0"/>
      <p:bldP spid="26" grpId="0"/>
      <p:bldP spid="5" grpId="0"/>
      <p:bldP spid="6" grpId="0"/>
      <p:bldP spid="27" grpId="0"/>
      <p:bldP spid="28" grpId="0"/>
      <p:bldP spid="29" grpId="0"/>
      <p:bldP spid="30" grpId="0"/>
      <p:bldP spid="33" grpId="0"/>
      <p:bldP spid="35" grpId="0"/>
      <p:bldP spid="37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2855640" y="5023686"/>
            <a:ext cx="6912768" cy="43204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idx="1"/>
          </p:nvPr>
        </p:nvSpPr>
        <p:spPr/>
        <p:txBody>
          <a:bodyPr anchor="ctr">
            <a:noAutofit/>
          </a:bodyPr>
          <a:lstStyle/>
          <a:p>
            <a:pPr>
              <a:defRPr/>
            </a:pPr>
            <a:r>
              <a:rPr lang="de-DE" sz="2200" dirty="0"/>
              <a:t>Menschen benutzen </a:t>
            </a:r>
            <a:r>
              <a:rPr lang="de-DE" sz="2200" dirty="0">
                <a:solidFill>
                  <a:srgbClr val="0000FF"/>
                </a:solidFill>
              </a:rPr>
              <a:t>Dezimalzahlen</a:t>
            </a:r>
          </a:p>
          <a:p>
            <a:pPr lvl="2">
              <a:buFont typeface="Arial" charset="0"/>
              <a:buNone/>
              <a:defRPr/>
            </a:pPr>
            <a:r>
              <a:rPr lang="de-DE" sz="2200" dirty="0"/>
              <a:t>2435 = 2·10</a:t>
            </a:r>
            <a:r>
              <a:rPr lang="de-DE" sz="2200" baseline="30000" dirty="0"/>
              <a:t>3</a:t>
            </a:r>
            <a:r>
              <a:rPr lang="de-DE" sz="2200" dirty="0"/>
              <a:t> + 4·10</a:t>
            </a:r>
            <a:r>
              <a:rPr lang="de-DE" sz="2200" baseline="30000" dirty="0"/>
              <a:t>2</a:t>
            </a:r>
            <a:r>
              <a:rPr lang="de-DE" sz="2200" dirty="0"/>
              <a:t> + 3·10</a:t>
            </a:r>
            <a:r>
              <a:rPr lang="de-DE" sz="2200" baseline="30000" dirty="0"/>
              <a:t>1</a:t>
            </a:r>
            <a:r>
              <a:rPr lang="de-DE" sz="2200" dirty="0"/>
              <a:t> + 5·10</a:t>
            </a:r>
            <a:r>
              <a:rPr lang="de-DE" sz="2200" baseline="30000" dirty="0"/>
              <a:t>0</a:t>
            </a:r>
            <a:endParaRPr lang="de-DE" sz="2200" dirty="0"/>
          </a:p>
          <a:p>
            <a:pPr>
              <a:defRPr/>
            </a:pPr>
            <a:r>
              <a:rPr lang="de-DE" sz="2200" dirty="0"/>
              <a:t>Rechner benutzen </a:t>
            </a:r>
            <a:r>
              <a:rPr lang="de-DE" sz="2200" dirty="0">
                <a:solidFill>
                  <a:srgbClr val="0000FF"/>
                </a:solidFill>
              </a:rPr>
              <a:t>Binärzahlen</a:t>
            </a:r>
          </a:p>
          <a:p>
            <a:pPr lvl="2">
              <a:buFont typeface="Arial" charset="0"/>
              <a:buNone/>
              <a:defRPr/>
            </a:pPr>
            <a:r>
              <a:rPr lang="de-DE" sz="2200" dirty="0"/>
              <a:t>1011</a:t>
            </a:r>
            <a:r>
              <a:rPr lang="de-DE" sz="2200" baseline="-25000" dirty="0"/>
              <a:t>2</a:t>
            </a:r>
            <a:r>
              <a:rPr lang="de-DE" sz="2200" dirty="0"/>
              <a:t> = 1·2</a:t>
            </a:r>
            <a:r>
              <a:rPr lang="de-DE" sz="2200" baseline="30000" dirty="0"/>
              <a:t>3</a:t>
            </a:r>
            <a:r>
              <a:rPr lang="de-DE" sz="2200" dirty="0"/>
              <a:t> + 0·2</a:t>
            </a:r>
            <a:r>
              <a:rPr lang="de-DE" sz="2200" baseline="30000" dirty="0"/>
              <a:t>2</a:t>
            </a:r>
            <a:r>
              <a:rPr lang="de-DE" sz="2200" dirty="0"/>
              <a:t> + 1·2</a:t>
            </a:r>
            <a:r>
              <a:rPr lang="de-DE" sz="2200" baseline="30000" dirty="0"/>
              <a:t>1</a:t>
            </a:r>
            <a:r>
              <a:rPr lang="de-DE" sz="2200" dirty="0"/>
              <a:t> + 1·2</a:t>
            </a:r>
            <a:r>
              <a:rPr lang="de-DE" sz="2200" baseline="30000" dirty="0"/>
              <a:t>0</a:t>
            </a:r>
            <a:r>
              <a:rPr lang="de-DE" sz="2200" dirty="0"/>
              <a:t> </a:t>
            </a:r>
          </a:p>
          <a:p>
            <a:pPr>
              <a:defRPr/>
            </a:pPr>
            <a:r>
              <a:rPr lang="de-DE" sz="2200" dirty="0"/>
              <a:t>Hintergrund: Zwei Möglichkeiten einfach darstellbar</a:t>
            </a:r>
          </a:p>
          <a:p>
            <a:pPr lvl="1">
              <a:defRPr/>
            </a:pPr>
            <a:r>
              <a:rPr lang="de-DE" sz="2000" dirty="0"/>
              <a:t>ein / aus</a:t>
            </a:r>
          </a:p>
          <a:p>
            <a:pPr lvl="1">
              <a:defRPr/>
            </a:pPr>
            <a:r>
              <a:rPr lang="de-DE" sz="2000" dirty="0"/>
              <a:t>hohes / niedriges Potenzial</a:t>
            </a:r>
          </a:p>
          <a:p>
            <a:pPr>
              <a:lnSpc>
                <a:spcPct val="150000"/>
              </a:lnSpc>
            </a:pPr>
            <a:r>
              <a:rPr lang="de-DE" sz="2200" dirty="0"/>
              <a:t>Interpretation von Binärzahlen:</a:t>
            </a:r>
          </a:p>
          <a:p>
            <a:pPr marL="0" indent="0" algn="ctr">
              <a:lnSpc>
                <a:spcPct val="150000"/>
              </a:lnSpc>
              <a:buNone/>
            </a:pPr>
            <a:r>
              <a:rPr lang="de-DE" sz="2200" dirty="0"/>
              <a:t>	b</a:t>
            </a:r>
            <a:r>
              <a:rPr lang="de-DE" sz="2200" baseline="-25000" dirty="0"/>
              <a:t>n-1</a:t>
            </a:r>
            <a:r>
              <a:rPr lang="de-DE" sz="2200" dirty="0"/>
              <a:t>b</a:t>
            </a:r>
            <a:r>
              <a:rPr lang="de-DE" sz="2200" baseline="-25000" dirty="0"/>
              <a:t>n-2</a:t>
            </a:r>
            <a:r>
              <a:rPr lang="de-DE" sz="2200" dirty="0"/>
              <a:t>. . .b</a:t>
            </a:r>
            <a:r>
              <a:rPr lang="de-DE" sz="2200" baseline="-25000" dirty="0"/>
              <a:t>1</a:t>
            </a:r>
            <a:r>
              <a:rPr lang="de-DE" sz="2200" dirty="0"/>
              <a:t>b</a:t>
            </a:r>
            <a:r>
              <a:rPr lang="de-DE" sz="2200" baseline="-25000" dirty="0"/>
              <a:t>0</a:t>
            </a:r>
            <a:r>
              <a:rPr lang="de-DE" sz="2200" dirty="0"/>
              <a:t> = b</a:t>
            </a:r>
            <a:r>
              <a:rPr lang="de-DE" sz="2200" baseline="-25000" dirty="0"/>
              <a:t>n-1</a:t>
            </a:r>
            <a:r>
              <a:rPr lang="de-DE" sz="2200" dirty="0"/>
              <a:t>·2</a:t>
            </a:r>
            <a:r>
              <a:rPr lang="de-DE" sz="2200" baseline="30000" dirty="0"/>
              <a:t>n-1</a:t>
            </a:r>
            <a:r>
              <a:rPr lang="de-DE" sz="2200" dirty="0"/>
              <a:t> + b</a:t>
            </a:r>
            <a:r>
              <a:rPr lang="de-DE" sz="2200" baseline="-25000" dirty="0"/>
              <a:t>n-2</a:t>
            </a:r>
            <a:r>
              <a:rPr lang="de-DE" sz="2200" dirty="0"/>
              <a:t>·2</a:t>
            </a:r>
            <a:r>
              <a:rPr lang="de-DE" sz="2200" baseline="30000" dirty="0"/>
              <a:t>n-2</a:t>
            </a:r>
            <a:r>
              <a:rPr lang="de-DE" sz="2200" dirty="0"/>
              <a:t> + . . . + b</a:t>
            </a:r>
            <a:r>
              <a:rPr lang="de-DE" sz="2200" baseline="-25000" dirty="0"/>
              <a:t>1</a:t>
            </a:r>
            <a:r>
              <a:rPr lang="de-DE" sz="2200" dirty="0"/>
              <a:t>·2</a:t>
            </a:r>
            <a:r>
              <a:rPr lang="de-DE" sz="2200" baseline="30000" dirty="0"/>
              <a:t>1</a:t>
            </a:r>
            <a:r>
              <a:rPr lang="de-DE" sz="2200" dirty="0"/>
              <a:t> + b</a:t>
            </a:r>
            <a:r>
              <a:rPr lang="de-DE" sz="2200" baseline="-25000" dirty="0"/>
              <a:t>0</a:t>
            </a:r>
            <a:r>
              <a:rPr lang="de-DE" sz="2200" dirty="0"/>
              <a:t>·2</a:t>
            </a:r>
            <a:r>
              <a:rPr lang="de-DE" sz="2200" baseline="30000" dirty="0"/>
              <a:t>0</a:t>
            </a:r>
            <a:r>
              <a:rPr lang="de-DE" sz="220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Binärzahlen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66190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9" name="Rectangle 2"/>
          <p:cNvSpPr>
            <a:spLocks noGrp="1"/>
          </p:cNvSpPr>
          <p:nvPr>
            <p:ph type="title"/>
          </p:nvPr>
        </p:nvSpPr>
        <p:spPr>
          <a:xfrm>
            <a:off x="1981200" y="332656"/>
            <a:ext cx="7620000" cy="577054"/>
          </a:xfrm>
        </p:spPr>
        <p:txBody>
          <a:bodyPr anchor="ctr">
            <a:normAutofit/>
          </a:bodyPr>
          <a:lstStyle/>
          <a:p>
            <a:r>
              <a:rPr lang="de-DE" sz="2800" dirty="0"/>
              <a:t>Konvertierung</a:t>
            </a:r>
            <a:endParaRPr lang="de-DE" dirty="0"/>
          </a:p>
        </p:txBody>
      </p:sp>
      <p:sp>
        <p:nvSpPr>
          <p:cNvPr id="4100" name="Rectangle 3"/>
          <p:cNvSpPr>
            <a:spLocks noGrp="1"/>
          </p:cNvSpPr>
          <p:nvPr>
            <p:ph idx="1"/>
          </p:nvPr>
        </p:nvSpPr>
        <p:spPr>
          <a:xfrm>
            <a:off x="359990" y="1295402"/>
            <a:ext cx="11472025" cy="4725886"/>
          </a:xfrm>
        </p:spPr>
        <p:txBody>
          <a:bodyPr>
            <a:normAutofit fontScale="85000" lnSpcReduction="20000"/>
          </a:bodyPr>
          <a:lstStyle/>
          <a:p>
            <a:pPr>
              <a:defRPr/>
            </a:pPr>
            <a:r>
              <a:rPr lang="de-DE" sz="2200" dirty="0"/>
              <a:t>Zerlegung nach </a:t>
            </a:r>
            <a:r>
              <a:rPr lang="de-DE" sz="2200" b="1" dirty="0">
                <a:solidFill>
                  <a:srgbClr val="0000FF"/>
                </a:solidFill>
              </a:rPr>
              <a:t>Horner-Schema</a:t>
            </a:r>
            <a:r>
              <a:rPr lang="de-DE" sz="2200" b="1" dirty="0"/>
              <a:t>:</a:t>
            </a:r>
          </a:p>
          <a:p>
            <a:pPr lvl="1">
              <a:buFont typeface="Arial" charset="0"/>
              <a:buNone/>
              <a:defRPr/>
            </a:pPr>
            <a:endParaRPr lang="de-DE" sz="2400" dirty="0"/>
          </a:p>
          <a:p>
            <a:pPr marL="0" indent="0">
              <a:buNone/>
              <a:defRPr/>
            </a:pPr>
            <a:endParaRPr lang="de-DE" sz="2400" dirty="0"/>
          </a:p>
          <a:p>
            <a:pPr>
              <a:defRPr/>
            </a:pPr>
            <a:r>
              <a:rPr lang="de-DE" sz="2400" dirty="0"/>
              <a:t>Dezimal nach dual / binär:</a:t>
            </a:r>
          </a:p>
          <a:p>
            <a:pPr>
              <a:defRPr/>
            </a:pPr>
            <a:endParaRPr lang="de-DE" sz="2400" dirty="0"/>
          </a:p>
          <a:p>
            <a:pPr lvl="1">
              <a:buFont typeface="Arial" charset="0"/>
              <a:buNone/>
              <a:defRPr/>
            </a:pPr>
            <a:r>
              <a:rPr lang="de-DE" sz="2400" dirty="0"/>
              <a:t>167</a:t>
            </a:r>
            <a:r>
              <a:rPr lang="de-DE" sz="2400" baseline="-25000" dirty="0"/>
              <a:t>D</a:t>
            </a:r>
            <a:r>
              <a:rPr lang="de-DE" sz="2400" dirty="0"/>
              <a:t> </a:t>
            </a:r>
            <a:r>
              <a:rPr lang="de-DE" sz="2400" dirty="0">
                <a:sym typeface="Wingdings"/>
              </a:rPr>
              <a:t></a:t>
            </a:r>
            <a:r>
              <a:rPr lang="de-DE" sz="2400" dirty="0"/>
              <a:t>	167 / 2 = 83		Rest 1</a:t>
            </a:r>
          </a:p>
          <a:p>
            <a:pPr lvl="1">
              <a:buFont typeface="Arial" charset="0"/>
              <a:buNone/>
              <a:defRPr/>
            </a:pPr>
            <a:r>
              <a:rPr lang="de-DE" sz="2400" dirty="0"/>
              <a:t>			  83 / 2 = 41		Rest 1</a:t>
            </a:r>
          </a:p>
          <a:p>
            <a:pPr lvl="1">
              <a:buFont typeface="Arial" charset="0"/>
              <a:buNone/>
              <a:defRPr/>
            </a:pPr>
            <a:r>
              <a:rPr lang="de-DE" sz="2400" dirty="0"/>
              <a:t>			  41 / 2 = 20		Rest 1</a:t>
            </a:r>
          </a:p>
          <a:p>
            <a:pPr lvl="1">
              <a:buFont typeface="Arial" charset="0"/>
              <a:buNone/>
              <a:defRPr/>
            </a:pPr>
            <a:r>
              <a:rPr lang="de-DE" sz="2400" dirty="0"/>
              <a:t>			  20 / 2 = 10		Rest 0</a:t>
            </a:r>
          </a:p>
          <a:p>
            <a:pPr lvl="1">
              <a:buFont typeface="Arial" charset="0"/>
              <a:buNone/>
              <a:defRPr/>
            </a:pPr>
            <a:r>
              <a:rPr lang="de-DE" sz="2400" dirty="0"/>
              <a:t>			  10 / 2 = 5		Rest 0</a:t>
            </a:r>
          </a:p>
          <a:p>
            <a:pPr lvl="1">
              <a:buFont typeface="Arial" charset="0"/>
              <a:buNone/>
              <a:defRPr/>
            </a:pPr>
            <a:r>
              <a:rPr lang="de-DE" sz="2400" dirty="0"/>
              <a:t>			    5 / 2 = 2		Rest 1</a:t>
            </a:r>
          </a:p>
          <a:p>
            <a:pPr lvl="1">
              <a:buFont typeface="Arial" charset="0"/>
              <a:buNone/>
              <a:defRPr/>
            </a:pPr>
            <a:r>
              <a:rPr lang="de-DE" sz="2400" dirty="0"/>
              <a:t>			    2 / 2 = 1		Rest 0</a:t>
            </a:r>
          </a:p>
          <a:p>
            <a:pPr lvl="1">
              <a:buFont typeface="Arial" charset="0"/>
              <a:buNone/>
              <a:defRPr/>
            </a:pPr>
            <a:r>
              <a:rPr lang="de-DE" sz="2400" dirty="0"/>
              <a:t>			    1 / 2 = 0		Rest 1</a:t>
            </a:r>
          </a:p>
          <a:p>
            <a:pPr>
              <a:defRPr/>
            </a:pPr>
            <a:endParaRPr lang="de-DE" sz="2400" dirty="0"/>
          </a:p>
          <a:p>
            <a:pPr>
              <a:defRPr/>
            </a:pPr>
            <a:r>
              <a:rPr lang="de-DE" sz="2400" dirty="0"/>
              <a:t>167</a:t>
            </a:r>
            <a:r>
              <a:rPr lang="de-DE" sz="2400" baseline="-25000" dirty="0"/>
              <a:t>D</a:t>
            </a:r>
            <a:r>
              <a:rPr lang="de-DE" sz="2400" dirty="0"/>
              <a:t> = 10100111</a:t>
            </a:r>
            <a:r>
              <a:rPr lang="de-DE" sz="2400" baseline="-25000" dirty="0"/>
              <a:t>B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8</a:t>
            </a:fld>
            <a:endParaRPr lang="de-DE"/>
          </a:p>
        </p:txBody>
      </p:sp>
      <p:sp>
        <p:nvSpPr>
          <p:cNvPr id="203780" name="Line 4"/>
          <p:cNvSpPr>
            <a:spLocks noChangeShapeType="1"/>
          </p:cNvSpPr>
          <p:nvPr/>
        </p:nvSpPr>
        <p:spPr bwMode="auto">
          <a:xfrm flipV="1">
            <a:off x="4440336" y="2924944"/>
            <a:ext cx="0" cy="2304256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/>
          </a:p>
        </p:txBody>
      </p:sp>
      <p:grpSp>
        <p:nvGrpSpPr>
          <p:cNvPr id="2" name="Group 8"/>
          <p:cNvGrpSpPr>
            <a:grpSpLocks/>
          </p:cNvGrpSpPr>
          <p:nvPr/>
        </p:nvGrpSpPr>
        <p:grpSpPr bwMode="auto">
          <a:xfrm>
            <a:off x="5159971" y="2636912"/>
            <a:ext cx="3744914" cy="2692025"/>
            <a:chOff x="3299" y="1706"/>
            <a:chExt cx="2359" cy="1925"/>
          </a:xfrm>
        </p:grpSpPr>
        <p:sp>
          <p:nvSpPr>
            <p:cNvPr id="4103" name="AutoShape 5"/>
            <p:cNvSpPr>
              <a:spLocks noChangeArrowheads="1"/>
            </p:cNvSpPr>
            <p:nvPr/>
          </p:nvSpPr>
          <p:spPr bwMode="auto">
            <a:xfrm>
              <a:off x="3299" y="1706"/>
              <a:ext cx="2313" cy="450"/>
            </a:xfrm>
            <a:prstGeom prst="wedgeRoundRectCallout">
              <a:avLst>
                <a:gd name="adj1" fmla="val -63834"/>
                <a:gd name="adj2" fmla="val -20"/>
                <a:gd name="adj3" fmla="val 16667"/>
              </a:avLst>
            </a:prstGeom>
            <a:solidFill>
              <a:srgbClr val="3399FF">
                <a:alpha val="25000"/>
              </a:srgb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GB" i="1" dirty="0"/>
                <a:t>Niederwertigstes Bit</a:t>
              </a:r>
            </a:p>
            <a:p>
              <a:pPr>
                <a:defRPr/>
              </a:pPr>
              <a:r>
                <a:rPr lang="en-GB" i="1" dirty="0"/>
                <a:t>(</a:t>
              </a:r>
              <a:r>
                <a:rPr lang="en-GB" i="1" dirty="0">
                  <a:solidFill>
                    <a:schemeClr val="accent1">
                      <a:lumMod val="50000"/>
                    </a:schemeClr>
                  </a:solidFill>
                </a:rPr>
                <a:t>least significant bit</a:t>
              </a:r>
              <a:r>
                <a:rPr lang="en-GB" dirty="0">
                  <a:solidFill>
                    <a:schemeClr val="accent1">
                      <a:lumMod val="50000"/>
                    </a:schemeClr>
                  </a:solidFill>
                </a:rPr>
                <a:t> (LSB)</a:t>
              </a:r>
              <a:r>
                <a:rPr lang="en-GB" dirty="0"/>
                <a:t>)</a:t>
              </a:r>
              <a:endParaRPr lang="en-US" dirty="0"/>
            </a:p>
          </p:txBody>
        </p:sp>
        <p:sp>
          <p:nvSpPr>
            <p:cNvPr id="4104" name="AutoShape 6"/>
            <p:cNvSpPr>
              <a:spLocks noChangeArrowheads="1"/>
            </p:cNvSpPr>
            <p:nvPr/>
          </p:nvSpPr>
          <p:spPr bwMode="auto">
            <a:xfrm>
              <a:off x="3390" y="3181"/>
              <a:ext cx="2268" cy="450"/>
            </a:xfrm>
            <a:prstGeom prst="wedgeRoundRectCallout">
              <a:avLst>
                <a:gd name="adj1" fmla="val -63701"/>
                <a:gd name="adj2" fmla="val 28573"/>
                <a:gd name="adj3" fmla="val 16667"/>
              </a:avLst>
            </a:prstGeom>
            <a:solidFill>
              <a:srgbClr val="3399FF">
                <a:alpha val="25000"/>
              </a:srgb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GB" i="1" dirty="0"/>
                <a:t>Höchstwertigstes Bit</a:t>
              </a:r>
            </a:p>
            <a:p>
              <a:pPr>
                <a:defRPr/>
              </a:pPr>
              <a:r>
                <a:rPr lang="en-GB" i="1" dirty="0"/>
                <a:t>(</a:t>
              </a:r>
              <a:r>
                <a:rPr lang="en-GB" i="1" dirty="0">
                  <a:solidFill>
                    <a:schemeClr val="accent1">
                      <a:lumMod val="50000"/>
                    </a:schemeClr>
                  </a:solidFill>
                </a:rPr>
                <a:t>most significant bit</a:t>
              </a:r>
              <a:r>
                <a:rPr lang="en-GB" dirty="0">
                  <a:solidFill>
                    <a:schemeClr val="accent1">
                      <a:lumMod val="50000"/>
                    </a:schemeClr>
                  </a:solidFill>
                </a:rPr>
                <a:t> (MSB)</a:t>
              </a:r>
              <a:r>
                <a:rPr lang="en-GB" dirty="0"/>
                <a:t>)</a:t>
              </a:r>
              <a:endParaRPr lang="en-US" dirty="0"/>
            </a:p>
          </p:txBody>
        </p:sp>
      </p:grpSp>
      <p:graphicFrame>
        <p:nvGraphicFramePr>
          <p:cNvPr id="14338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29758703"/>
              </p:ext>
            </p:extLst>
          </p:nvPr>
        </p:nvGraphicFramePr>
        <p:xfrm>
          <a:off x="4871864" y="964582"/>
          <a:ext cx="6651625" cy="923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2" imgW="3111480" imgH="431640" progId="Equation.3">
                  <p:embed/>
                </p:oleObj>
              </mc:Choice>
              <mc:Fallback>
                <p:oleObj name="Equation" r:id="rId2" imgW="3111480" imgH="431640" progId="Equation.3">
                  <p:embed/>
                  <p:pic>
                    <p:nvPicPr>
                      <p:cNvPr id="14338" name="Object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871864" y="964582"/>
                        <a:ext cx="6651625" cy="923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feld 2"/>
          <p:cNvSpPr txBox="1"/>
          <p:nvPr/>
        </p:nvSpPr>
        <p:spPr>
          <a:xfrm>
            <a:off x="9120909" y="2564904"/>
            <a:ext cx="3095771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solidFill>
                  <a:srgbClr val="C00000"/>
                </a:solidFill>
              </a:rPr>
              <a:t>Rechnen Sie 202</a:t>
            </a:r>
            <a:r>
              <a:rPr lang="de-DE" sz="2000" b="1" baseline="-25000" dirty="0">
                <a:solidFill>
                  <a:srgbClr val="C00000"/>
                </a:solidFill>
              </a:rPr>
              <a:t>D </a:t>
            </a:r>
            <a:r>
              <a:rPr lang="de-DE" sz="2000" b="1" dirty="0">
                <a:solidFill>
                  <a:srgbClr val="C00000"/>
                </a:solidFill>
              </a:rPr>
              <a:t>in eine Binärzahl um!</a:t>
            </a:r>
          </a:p>
          <a:p>
            <a:r>
              <a:rPr lang="de-DE" sz="2000" b="1" dirty="0">
                <a:solidFill>
                  <a:srgbClr val="C00000"/>
                </a:solidFill>
              </a:rPr>
              <a:t> </a:t>
            </a:r>
          </a:p>
          <a:p>
            <a:r>
              <a:rPr lang="de-DE" sz="2000" b="1" dirty="0">
                <a:solidFill>
                  <a:srgbClr val="C00000"/>
                </a:solidFill>
              </a:rPr>
              <a:t>Wie viele Dezimalzahlen lassen sich mit einer 3-stelligen Binärzahl darstellen? </a:t>
            </a:r>
            <a:endParaRPr lang="de-DE" sz="2000" b="1" baseline="-250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68042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37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3780" grpId="0" animBg="1"/>
      <p:bldP spid="3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Konvertierung: Beispiel</a:t>
            </a:r>
          </a:p>
        </p:txBody>
      </p:sp>
      <p:sp>
        <p:nvSpPr>
          <p:cNvPr id="6" name="Textplatzhalter 5"/>
          <p:cNvSpPr>
            <a:spLocks noGrp="1"/>
          </p:cNvSpPr>
          <p:nvPr>
            <p:ph idx="1"/>
          </p:nvPr>
        </p:nvSpPr>
        <p:spPr/>
        <p:txBody>
          <a:bodyPr anchor="ctr">
            <a:noAutofit/>
          </a:bodyPr>
          <a:lstStyle/>
          <a:p>
            <a:pPr lvl="1">
              <a:buFont typeface="Arial" charset="0"/>
              <a:buNone/>
              <a:defRPr/>
            </a:pPr>
            <a:r>
              <a:rPr lang="de-DE" sz="2400" dirty="0"/>
              <a:t>202</a:t>
            </a:r>
            <a:r>
              <a:rPr lang="de-DE" sz="2400" baseline="-25000" dirty="0"/>
              <a:t>D</a:t>
            </a:r>
            <a:r>
              <a:rPr lang="de-DE" sz="2400" dirty="0"/>
              <a:t> </a:t>
            </a:r>
            <a:r>
              <a:rPr lang="de-DE" sz="2400" dirty="0">
                <a:sym typeface="Wingdings"/>
              </a:rPr>
              <a:t></a:t>
            </a:r>
            <a:r>
              <a:rPr lang="de-DE" sz="2400" dirty="0"/>
              <a:t>	202 / 2 = 101		Rest 0</a:t>
            </a:r>
          </a:p>
          <a:p>
            <a:pPr lvl="1">
              <a:buFont typeface="Arial" charset="0"/>
              <a:buNone/>
              <a:defRPr/>
            </a:pPr>
            <a:r>
              <a:rPr lang="de-DE" sz="2400" dirty="0"/>
              <a:t>			  	101 / 2 = 50		Rest 1</a:t>
            </a:r>
          </a:p>
          <a:p>
            <a:pPr lvl="1">
              <a:buFont typeface="Arial" charset="0"/>
              <a:buNone/>
              <a:defRPr/>
            </a:pPr>
            <a:r>
              <a:rPr lang="de-DE" sz="2400" dirty="0"/>
              <a:t>			  	50 / 2 = 25			Rest 0</a:t>
            </a:r>
          </a:p>
          <a:p>
            <a:pPr lvl="1">
              <a:buFont typeface="Arial" charset="0"/>
              <a:buNone/>
              <a:defRPr/>
            </a:pPr>
            <a:r>
              <a:rPr lang="de-DE" sz="2400" dirty="0"/>
              <a:t>			  	25 / 2 = 12			Rest 1</a:t>
            </a:r>
          </a:p>
          <a:p>
            <a:pPr lvl="1">
              <a:buFont typeface="Arial" charset="0"/>
              <a:buNone/>
              <a:defRPr/>
            </a:pPr>
            <a:r>
              <a:rPr lang="de-DE" sz="2400" dirty="0"/>
              <a:t>			  	12 / 2 = 6			Rest 0</a:t>
            </a:r>
          </a:p>
          <a:p>
            <a:pPr lvl="1">
              <a:buFont typeface="Arial" charset="0"/>
              <a:buNone/>
              <a:defRPr/>
            </a:pPr>
            <a:r>
              <a:rPr lang="de-DE" sz="2400" dirty="0"/>
              <a:t>			    	6 / 2 = 3			Rest 0</a:t>
            </a:r>
          </a:p>
          <a:p>
            <a:pPr lvl="1">
              <a:buFont typeface="Arial" charset="0"/>
              <a:buNone/>
              <a:defRPr/>
            </a:pPr>
            <a:r>
              <a:rPr lang="de-DE" sz="2400" dirty="0"/>
              <a:t>			    	3 / 2 = 1			Rest 1</a:t>
            </a:r>
          </a:p>
          <a:p>
            <a:pPr lvl="1">
              <a:buFont typeface="Arial" charset="0"/>
              <a:buNone/>
              <a:defRPr/>
            </a:pPr>
            <a:r>
              <a:rPr lang="de-DE" sz="2400" dirty="0"/>
              <a:t>			    	1 / 2 = 0			Rest 1</a:t>
            </a:r>
          </a:p>
          <a:p>
            <a:endParaRPr lang="de-DE" sz="2400" dirty="0"/>
          </a:p>
          <a:p>
            <a:r>
              <a:rPr lang="de-DE" sz="2400" dirty="0"/>
              <a:t>202</a:t>
            </a:r>
            <a:r>
              <a:rPr lang="de-DE" sz="2400" baseline="-25000" dirty="0"/>
              <a:t>D</a:t>
            </a:r>
            <a:r>
              <a:rPr lang="de-DE" sz="2400" dirty="0"/>
              <a:t> = 11001010</a:t>
            </a:r>
            <a:r>
              <a:rPr lang="de-DE" sz="2400" baseline="-25000" dirty="0"/>
              <a:t>B</a:t>
            </a:r>
            <a:endParaRPr lang="de-DE" sz="240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f. Dr. Sebastian Schlesinge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4BA04-7133-4637-8CEF-D92D06C9C327}" type="slidenum">
              <a:rPr lang="de-DE" smtClean="0"/>
              <a:t>9</a:t>
            </a:fld>
            <a:endParaRPr lang="de-DE"/>
          </a:p>
        </p:txBody>
      </p:sp>
      <p:sp>
        <p:nvSpPr>
          <p:cNvPr id="10" name="Line 4"/>
          <p:cNvSpPr>
            <a:spLocks noChangeShapeType="1"/>
          </p:cNvSpPr>
          <p:nvPr/>
        </p:nvSpPr>
        <p:spPr bwMode="auto">
          <a:xfrm flipV="1">
            <a:off x="5951984" y="1412776"/>
            <a:ext cx="0" cy="324036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066786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heme/theme1.xml><?xml version="1.0" encoding="utf-8"?>
<a:theme xmlns:a="http://schemas.openxmlformats.org/drawingml/2006/main" name="WWU Münster PowerPoint Master">
  <a:themeElements>
    <a:clrScheme name="WWU Münster Var3">
      <a:dk1>
        <a:srgbClr val="58585A"/>
      </a:dk1>
      <a:lt1>
        <a:srgbClr val="F4F4F4"/>
      </a:lt1>
      <a:dk2>
        <a:srgbClr val="F4F4F4"/>
      </a:dk2>
      <a:lt2>
        <a:srgbClr val="00568A"/>
      </a:lt2>
      <a:accent1>
        <a:srgbClr val="009DD1"/>
      </a:accent1>
      <a:accent2>
        <a:srgbClr val="67C5E4"/>
      </a:accent2>
      <a:accent3>
        <a:srgbClr val="008E96"/>
      </a:accent3>
      <a:accent4>
        <a:srgbClr val="65BBBF"/>
      </a:accent4>
      <a:accent5>
        <a:srgbClr val="00568A"/>
      </a:accent5>
      <a:accent6>
        <a:srgbClr val="679AB9"/>
      </a:accent6>
      <a:hlink>
        <a:srgbClr val="58585A"/>
      </a:hlink>
      <a:folHlink>
        <a:srgbClr val="58585A"/>
      </a:folHlink>
    </a:clrScheme>
    <a:fontScheme name="WWU Münster 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PT_WWU_Var3_Verdana_16x9_02.potx" id="{6573BB2B-CBB0-4289-96AA-D2B383CB64CC}" vid="{89C97FB1-900E-49E7-AA65-A68843C315A7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Org</Template>
  <TotalTime>199</TotalTime>
  <Words>5430</Words>
  <Application>Microsoft Macintosh PowerPoint</Application>
  <PresentationFormat>Widescreen</PresentationFormat>
  <Paragraphs>919</Paragraphs>
  <Slides>52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52</vt:i4>
      </vt:variant>
    </vt:vector>
  </HeadingPairs>
  <TitlesOfParts>
    <vt:vector size="64" baseType="lpstr">
      <vt:lpstr>Arial</vt:lpstr>
      <vt:lpstr>Calibri</vt:lpstr>
      <vt:lpstr>Cambria Math</vt:lpstr>
      <vt:lpstr>Courier</vt:lpstr>
      <vt:lpstr>Courier New</vt:lpstr>
      <vt:lpstr>Meta Offc Pro</vt:lpstr>
      <vt:lpstr>Symbol</vt:lpstr>
      <vt:lpstr>Verdana</vt:lpstr>
      <vt:lpstr>Wingdings</vt:lpstr>
      <vt:lpstr>WWU Münster PowerPoint Master</vt:lpstr>
      <vt:lpstr>Formel</vt:lpstr>
      <vt:lpstr>Equation</vt:lpstr>
      <vt:lpstr>IT-Infrastrukturen – Rechnerstrukturen   Thema 1: Zahlendarstellung und Rechnerarithmetik</vt:lpstr>
      <vt:lpstr>Lernziele</vt:lpstr>
      <vt:lpstr>Übersicht über die heutige Vorlesung</vt:lpstr>
      <vt:lpstr>Übersicht über die heutige Vorlesung</vt:lpstr>
      <vt:lpstr>Zahlenbasen</vt:lpstr>
      <vt:lpstr>Zahlenbasen</vt:lpstr>
      <vt:lpstr>Binärzahlen</vt:lpstr>
      <vt:lpstr>Konvertierung</vt:lpstr>
      <vt:lpstr>Konvertierung: Beispiel</vt:lpstr>
      <vt:lpstr>Bits und Bytes</vt:lpstr>
      <vt:lpstr>Weitere Zahlensysteme</vt:lpstr>
      <vt:lpstr>Konvertierung nach Oktal</vt:lpstr>
      <vt:lpstr>Hexadezimalzahlen</vt:lpstr>
      <vt:lpstr>Übersicht über die heutige Vorlesung</vt:lpstr>
      <vt:lpstr>Negative Zahlen</vt:lpstr>
      <vt:lpstr>Beispiel (3 Bit)</vt:lpstr>
      <vt:lpstr>Und  der Gewinner ist …</vt:lpstr>
      <vt:lpstr>Negation</vt:lpstr>
      <vt:lpstr>Übersicht über die heutige Vorlesung</vt:lpstr>
      <vt:lpstr>Binäre Addition</vt:lpstr>
      <vt:lpstr>Binäre Subtraktion</vt:lpstr>
      <vt:lpstr>Binäre Addition</vt:lpstr>
      <vt:lpstr>Binäre Subtraktion</vt:lpstr>
      <vt:lpstr>Subtraktion durch Addition der Negation</vt:lpstr>
      <vt:lpstr>Überlauf</vt:lpstr>
      <vt:lpstr>Überlauf</vt:lpstr>
      <vt:lpstr>Überlauf</vt:lpstr>
      <vt:lpstr>Überlauf</vt:lpstr>
      <vt:lpstr>Überlauf</vt:lpstr>
      <vt:lpstr>Multiplikation</vt:lpstr>
      <vt:lpstr>Division</vt:lpstr>
      <vt:lpstr>Division</vt:lpstr>
      <vt:lpstr>Division </vt:lpstr>
      <vt:lpstr>Division </vt:lpstr>
      <vt:lpstr>Division </vt:lpstr>
      <vt:lpstr>Division </vt:lpstr>
      <vt:lpstr>Multiplikation und Division</vt:lpstr>
      <vt:lpstr>Multiplikation und Division</vt:lpstr>
      <vt:lpstr>Übersicht über die heutige Vorlesung</vt:lpstr>
      <vt:lpstr>Rationale Zahlen</vt:lpstr>
      <vt:lpstr>Konvertierung</vt:lpstr>
      <vt:lpstr>Gleitkommazahlen (floating point)</vt:lpstr>
      <vt:lpstr>IEEE-754 Standard</vt:lpstr>
      <vt:lpstr>Beispiel</vt:lpstr>
      <vt:lpstr>Sonderfälle</vt:lpstr>
      <vt:lpstr>Addition von Gleitpunktzahlen / 1</vt:lpstr>
      <vt:lpstr>Addition von Gleitpunktzahlen / 2</vt:lpstr>
      <vt:lpstr>Addition von Gleitpunktzahlen / 3</vt:lpstr>
      <vt:lpstr>Addition von Gleitpunktzahlen / 4</vt:lpstr>
      <vt:lpstr>Übersicht über die heutige Vorlesung</vt:lpstr>
      <vt:lpstr>Pentium Bug</vt:lpstr>
      <vt:lpstr>Zusammenfassung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L 1: Zahlendarstellung</dc:title>
  <dc:creator>Paula Herber</dc:creator>
  <cp:lastModifiedBy>Schlesinger, Sebastian</cp:lastModifiedBy>
  <cp:revision>175</cp:revision>
  <cp:lastPrinted>2016-11-14T11:11:24Z</cp:lastPrinted>
  <dcterms:created xsi:type="dcterms:W3CDTF">2014-10-15T10:32:13Z</dcterms:created>
  <dcterms:modified xsi:type="dcterms:W3CDTF">2025-04-16T14:50:58Z</dcterms:modified>
</cp:coreProperties>
</file>